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8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9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0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tags/tag81.xml" ContentType="application/vnd.openxmlformats-officedocument.presentationml.tags+xml"/>
  <Override PartName="/ppt/notesSlides/notesSlide36.xml" ContentType="application/vnd.openxmlformats-officedocument.presentationml.notesSlide+xml"/>
  <Override PartName="/ppt/tags/tag82.xml" ContentType="application/vnd.openxmlformats-officedocument.presentationml.tags+xml"/>
  <Override PartName="/ppt/notesSlides/notesSlide37.xml" ContentType="application/vnd.openxmlformats-officedocument.presentationml.notesSlide+xml"/>
  <Override PartName="/ppt/tags/tag83.xml" ContentType="application/vnd.openxmlformats-officedocument.presentationml.tags+xml"/>
  <Override PartName="/ppt/notesSlides/notesSlide38.xml" ContentType="application/vnd.openxmlformats-officedocument.presentationml.notesSlide+xml"/>
  <Override PartName="/ppt/tags/tag84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tags/tag85.xml" ContentType="application/vnd.openxmlformats-officedocument.presentationml.tags+xml"/>
  <Override PartName="/ppt/notesSlides/notesSlide4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notesSlides/notesSlide45.xml" ContentType="application/vnd.openxmlformats-officedocument.presentationml.notesSlide+xml"/>
  <Override PartName="/ppt/tags/tag91.xml" ContentType="application/vnd.openxmlformats-officedocument.presentationml.tags+xml"/>
  <Override PartName="/ppt/notesSlides/notesSlide46.xml" ContentType="application/vnd.openxmlformats-officedocument.presentationml.notesSlide+xml"/>
  <Override PartName="/ppt/tags/tag92.xml" ContentType="application/vnd.openxmlformats-officedocument.presentationml.tags+xml"/>
  <Override PartName="/ppt/notesSlides/notesSlide47.xml" ContentType="application/vnd.openxmlformats-officedocument.presentationml.notesSlide+xml"/>
  <Override PartName="/ppt/tags/tag93.xml" ContentType="application/vnd.openxmlformats-officedocument.presentationml.tags+xml"/>
  <Override PartName="/ppt/notesSlides/notesSlide48.xml" ContentType="application/vnd.openxmlformats-officedocument.presentationml.notesSlide+xml"/>
  <Override PartName="/ppt/tags/tag94.xml" ContentType="application/vnd.openxmlformats-officedocument.presentationml.tags+xml"/>
  <Override PartName="/ppt/notesSlides/notesSlide49.xml" ContentType="application/vnd.openxmlformats-officedocument.presentationml.notesSlide+xml"/>
  <Override PartName="/ppt/tags/tag95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tags/tag96.xml" ContentType="application/vnd.openxmlformats-officedocument.presentationml.tags+xml"/>
  <Override PartName="/ppt/notesSlides/notesSlide64.xml" ContentType="application/vnd.openxmlformats-officedocument.presentationml.notesSlide+xml"/>
  <Override PartName="/ppt/tags/tag97.xml" ContentType="application/vnd.openxmlformats-officedocument.presentationml.tags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tags/tag98.xml" ContentType="application/vnd.openxmlformats-officedocument.presentationml.tags+xml"/>
  <Override PartName="/ppt/notesSlides/notesSlide67.xml" ContentType="application/vnd.openxmlformats-officedocument.presentationml.notesSlide+xml"/>
  <Override PartName="/ppt/tags/tag99.xml" ContentType="application/vnd.openxmlformats-officedocument.presentationml.tags+xml"/>
  <Override PartName="/ppt/notesSlides/notesSlide68.xml" ContentType="application/vnd.openxmlformats-officedocument.presentationml.notesSlide+xml"/>
  <Override PartName="/ppt/tags/tag100.xml" ContentType="application/vnd.openxmlformats-officedocument.presentationml.tags+xml"/>
  <Override PartName="/ppt/notesSlides/notesSlide69.xml" ContentType="application/vnd.openxmlformats-officedocument.presentationml.notesSlide+xml"/>
  <Override PartName="/ppt/tags/tag101.xml" ContentType="application/vnd.openxmlformats-officedocument.presentationml.tags+xml"/>
  <Override PartName="/ppt/notesSlides/notesSlide70.xml" ContentType="application/vnd.openxmlformats-officedocument.presentationml.notesSlide+xml"/>
  <Override PartName="/ppt/tags/tag102.xml" ContentType="application/vnd.openxmlformats-officedocument.presentationml.tags+xml"/>
  <Override PartName="/ppt/notesSlides/notesSlide71.xml" ContentType="application/vnd.openxmlformats-officedocument.presentationml.notesSlide+xml"/>
  <Override PartName="/ppt/tags/tag103.xml" ContentType="application/vnd.openxmlformats-officedocument.presentationml.tags+xml"/>
  <Override PartName="/ppt/notesSlides/notesSlide72.xml" ContentType="application/vnd.openxmlformats-officedocument.presentationml.notesSlide+xml"/>
  <Override PartName="/ppt/tags/tag104.xml" ContentType="application/vnd.openxmlformats-officedocument.presentationml.tags+xml"/>
  <Override PartName="/ppt/notesSlides/notesSlide73.xml" ContentType="application/vnd.openxmlformats-officedocument.presentationml.notesSlide+xml"/>
  <Override PartName="/ppt/tags/tag105.xml" ContentType="application/vnd.openxmlformats-officedocument.presentationml.tags+xml"/>
  <Override PartName="/ppt/notesSlides/notesSlide74.xml" ContentType="application/vnd.openxmlformats-officedocument.presentationml.notesSlide+xml"/>
  <Override PartName="/ppt/tags/tag106.xml" ContentType="application/vnd.openxmlformats-officedocument.presentationml.tags+xml"/>
  <Override PartName="/ppt/notesSlides/notesSlide75.xml" ContentType="application/vnd.openxmlformats-officedocument.presentationml.notesSlide+xml"/>
  <Override PartName="/ppt/tags/tag107.xml" ContentType="application/vnd.openxmlformats-officedocument.presentationml.tags+xml"/>
  <Override PartName="/ppt/notesSlides/notesSlide76.xml" ContentType="application/vnd.openxmlformats-officedocument.presentationml.notesSlide+xml"/>
  <Override PartName="/ppt/tags/tag108.xml" ContentType="application/vnd.openxmlformats-officedocument.presentationml.tags+xml"/>
  <Override PartName="/ppt/notesSlides/notesSlide77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tags/tag113.xml" ContentType="application/vnd.openxmlformats-officedocument.presentationml.tags+xml"/>
  <Override PartName="/ppt/notesSlides/notesSlide80.xml" ContentType="application/vnd.openxmlformats-officedocument.presentationml.notesSlide+xml"/>
  <Override PartName="/ppt/tags/tag114.xml" ContentType="application/vnd.openxmlformats-officedocument.presentationml.tags+xml"/>
  <Override PartName="/ppt/notesSlides/notesSlide81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tags/tag122.xml" ContentType="application/vnd.openxmlformats-officedocument.presentationml.tags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tags/tag123.xml" ContentType="application/vnd.openxmlformats-officedocument.presentationml.tags+xml"/>
  <Override PartName="/ppt/notesSlides/notesSlide86.xml" ContentType="application/vnd.openxmlformats-officedocument.presentationml.notesSlide+xml"/>
  <Override PartName="/ppt/tags/tag124.xml" ContentType="application/vnd.openxmlformats-officedocument.presentationml.tags+xml"/>
  <Override PartName="/ppt/notesSlides/notesSlide87.xml" ContentType="application/vnd.openxmlformats-officedocument.presentationml.notesSlide+xml"/>
  <Override PartName="/ppt/tags/tag125.xml" ContentType="application/vnd.openxmlformats-officedocument.presentationml.tags+xml"/>
  <Override PartName="/ppt/notesSlides/notesSlide88.xml" ContentType="application/vnd.openxmlformats-officedocument.presentationml.notesSlide+xml"/>
  <Override PartName="/ppt/tags/tag126.xml" ContentType="application/vnd.openxmlformats-officedocument.presentationml.tags+xml"/>
  <Override PartName="/ppt/notesSlides/notesSlide89.xml" ContentType="application/vnd.openxmlformats-officedocument.presentationml.notesSlide+xml"/>
  <Override PartName="/ppt/tags/tag127.xml" ContentType="application/vnd.openxmlformats-officedocument.presentationml.tags+xml"/>
  <Override PartName="/ppt/notesSlides/notesSlide90.xml" ContentType="application/vnd.openxmlformats-officedocument.presentationml.notesSlide+xml"/>
  <Override PartName="/ppt/tags/tag128.xml" ContentType="application/vnd.openxmlformats-officedocument.presentationml.tags+xml"/>
  <Override PartName="/ppt/notesSlides/notesSlide91.xml" ContentType="application/vnd.openxmlformats-officedocument.presentationml.notesSlide+xml"/>
  <Override PartName="/ppt/tags/tag129.xml" ContentType="application/vnd.openxmlformats-officedocument.presentationml.tags+xml"/>
  <Override PartName="/ppt/notesSlides/notesSlide92.xml" ContentType="application/vnd.openxmlformats-officedocument.presentationml.notesSlide+xml"/>
  <Override PartName="/ppt/tags/tag130.xml" ContentType="application/vnd.openxmlformats-officedocument.presentationml.tags+xml"/>
  <Override PartName="/ppt/notesSlides/notesSlide93.xml" ContentType="application/vnd.openxmlformats-officedocument.presentationml.notesSlide+xml"/>
  <Override PartName="/ppt/tags/tag131.xml" ContentType="application/vnd.openxmlformats-officedocument.presentationml.tags+xml"/>
  <Override PartName="/ppt/notesSlides/notesSlide94.xml" ContentType="application/vnd.openxmlformats-officedocument.presentationml.notesSlide+xml"/>
  <Override PartName="/ppt/tags/tag132.xml" ContentType="application/vnd.openxmlformats-officedocument.presentationml.tags+xml"/>
  <Override PartName="/ppt/notesSlides/notesSlide95.xml" ContentType="application/vnd.openxmlformats-officedocument.presentationml.notesSlide+xml"/>
  <Override PartName="/ppt/tags/tag133.xml" ContentType="application/vnd.openxmlformats-officedocument.presentationml.tags+xml"/>
  <Override PartName="/ppt/notesSlides/notesSlide96.xml" ContentType="application/vnd.openxmlformats-officedocument.presentationml.notesSlide+xml"/>
  <Override PartName="/ppt/tags/tag134.xml" ContentType="application/vnd.openxmlformats-officedocument.presentationml.tags+xml"/>
  <Override PartName="/ppt/notesSlides/notesSlide97.xml" ContentType="application/vnd.openxmlformats-officedocument.presentationml.notesSlide+xml"/>
  <Override PartName="/ppt/tags/tag135.xml" ContentType="application/vnd.openxmlformats-officedocument.presentationml.tags+xml"/>
  <Override PartName="/ppt/notesSlides/notesSlide98.xml" ContentType="application/vnd.openxmlformats-officedocument.presentationml.notesSlide+xml"/>
  <Override PartName="/ppt/tags/tag136.xml" ContentType="application/vnd.openxmlformats-officedocument.presentationml.tags+xml"/>
  <Override PartName="/ppt/notesSlides/notesSlide99.xml" ContentType="application/vnd.openxmlformats-officedocument.presentationml.notesSlide+xml"/>
  <Override PartName="/ppt/tags/tag137.xml" ContentType="application/vnd.openxmlformats-officedocument.presentationml.tags+xml"/>
  <Override PartName="/ppt/notesSlides/notesSlide100.xml" ContentType="application/vnd.openxmlformats-officedocument.presentationml.notesSlide+xml"/>
  <Override PartName="/ppt/tags/tag138.xml" ContentType="application/vnd.openxmlformats-officedocument.presentationml.tags+xml"/>
  <Override PartName="/ppt/notesSlides/notesSlide101.xml" ContentType="application/vnd.openxmlformats-officedocument.presentationml.notesSlide+xml"/>
  <Override PartName="/ppt/tags/tag139.xml" ContentType="application/vnd.openxmlformats-officedocument.presentationml.tags+xml"/>
  <Override PartName="/ppt/notesSlides/notesSlide102.xml" ContentType="application/vnd.openxmlformats-officedocument.presentationml.notesSlide+xml"/>
  <Override PartName="/ppt/tags/tag140.xml" ContentType="application/vnd.openxmlformats-officedocument.presentationml.tags+xml"/>
  <Override PartName="/ppt/notesSlides/notesSlide103.xml" ContentType="application/vnd.openxmlformats-officedocument.presentationml.notesSlide+xml"/>
  <Override PartName="/ppt/tags/tag141.xml" ContentType="application/vnd.openxmlformats-officedocument.presentationml.tags+xml"/>
  <Override PartName="/ppt/notesSlides/notesSlide104.xml" ContentType="application/vnd.openxmlformats-officedocument.presentationml.notesSlide+xml"/>
  <Override PartName="/ppt/tags/tag142.xml" ContentType="application/vnd.openxmlformats-officedocument.presentationml.tags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tags/tag143.xml" ContentType="application/vnd.openxmlformats-officedocument.presentationml.tags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tags/tag144.xml" ContentType="application/vnd.openxmlformats-officedocument.presentationml.tags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tags/tag145.xml" ContentType="application/vnd.openxmlformats-officedocument.presentationml.tags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tags/tag146.xml" ContentType="application/vnd.openxmlformats-officedocument.presentationml.tags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tags/tag147.xml" ContentType="application/vnd.openxmlformats-officedocument.presentationml.tags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tags/tag148.xml" ContentType="application/vnd.openxmlformats-officedocument.presentationml.tags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tags/tag149.xml" ContentType="application/vnd.openxmlformats-officedocument.presentationml.tags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28.xml" ContentType="application/vnd.openxmlformats-officedocument.presentationml.notesSlide+xml"/>
  <Override PartName="/ppt/tags/tag152.xml" ContentType="application/vnd.openxmlformats-officedocument.presentationml.tags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tags/tag153.xml" ContentType="application/vnd.openxmlformats-officedocument.presentationml.tags+xml"/>
  <Override PartName="/ppt/notesSlides/notesSlide132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33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134.xml" ContentType="application/vnd.openxmlformats-officedocument.presentationml.notesSlide+xml"/>
  <Override PartName="/ppt/tags/tag163.xml" ContentType="application/vnd.openxmlformats-officedocument.presentationml.tags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tags/tag164.xml" ContentType="application/vnd.openxmlformats-officedocument.presentationml.tags+xml"/>
  <Override PartName="/ppt/notesSlides/notesSlide137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138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39.xml" ContentType="application/vnd.openxmlformats-officedocument.presentationml.notesSlide+xml"/>
  <Override PartName="/ppt/tags/tag174.xml" ContentType="application/vnd.openxmlformats-officedocument.presentationml.tags+xml"/>
  <Override PartName="/ppt/notesSlides/notesSlide140.xml" ContentType="application/vnd.openxmlformats-officedocument.presentationml.notesSlide+xml"/>
  <Override PartName="/ppt/tags/tag175.xml" ContentType="application/vnd.openxmlformats-officedocument.presentationml.tags+xml"/>
  <Override PartName="/ppt/notesSlides/notesSlide141.xml" ContentType="application/vnd.openxmlformats-officedocument.presentationml.notesSlide+xml"/>
  <Override PartName="/ppt/tags/tag176.xml" ContentType="application/vnd.openxmlformats-officedocument.presentationml.tags+xml"/>
  <Override PartName="/ppt/notesSlides/notesSlide142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143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44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45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46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147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48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49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50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5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52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53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154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55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56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57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58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59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60.xml" ContentType="application/vnd.openxmlformats-officedocument.presentationml.notesSlide+xml"/>
  <Override PartName="/ppt/tags/tag218.xml" ContentType="application/vnd.openxmlformats-officedocument.presentationml.tags+xml"/>
  <Override PartName="/ppt/notesSlides/notesSlide161.xml" ContentType="application/vnd.openxmlformats-officedocument.presentationml.notesSlide+xml"/>
  <Override PartName="/ppt/tags/tag219.xml" ContentType="application/vnd.openxmlformats-officedocument.presentationml.tags+xml"/>
  <Override PartName="/ppt/notesSlides/notesSlide162.xml" ContentType="application/vnd.openxmlformats-officedocument.presentationml.notesSlide+xml"/>
  <Override PartName="/ppt/tags/tag220.xml" ContentType="application/vnd.openxmlformats-officedocument.presentationml.tags+xml"/>
  <Override PartName="/ppt/notesSlides/notesSlide163.xml" ContentType="application/vnd.openxmlformats-officedocument.presentationml.notesSlide+xml"/>
  <Override PartName="/ppt/tags/tag221.xml" ContentType="application/vnd.openxmlformats-officedocument.presentationml.tags+xml"/>
  <Override PartName="/ppt/notesSlides/notesSlide164.xml" ContentType="application/vnd.openxmlformats-officedocument.presentationml.notesSlide+xml"/>
  <Override PartName="/ppt/tags/tag222.xml" ContentType="application/vnd.openxmlformats-officedocument.presentationml.tags+xml"/>
  <Override PartName="/ppt/notesSlides/notesSlide165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166.xml" ContentType="application/vnd.openxmlformats-officedocument.presentationml.notesSlid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67.xml" ContentType="application/vnd.openxmlformats-officedocument.presentationml.notesSlide+xml"/>
  <Override PartName="/ppt/tags/tag232.xml" ContentType="application/vnd.openxmlformats-officedocument.presentationml.tags+xml"/>
  <Override PartName="/ppt/notesSlides/notesSlide168.xml" ContentType="application/vnd.openxmlformats-officedocument.presentationml.notesSlide+xml"/>
  <Override PartName="/ppt/tags/tag233.xml" ContentType="application/vnd.openxmlformats-officedocument.presentationml.tags+xml"/>
  <Override PartName="/ppt/notesSlides/notesSlide169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70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notesSlides/notesSlide171.xml" ContentType="application/vnd.openxmlformats-officedocument.presentationml.notesSlide+xml"/>
  <Override PartName="/ppt/tags/tag243.xml" ContentType="application/vnd.openxmlformats-officedocument.presentationml.tags+xml"/>
  <Override PartName="/ppt/notesSlides/notesSlide172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73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74.xml" ContentType="application/vnd.openxmlformats-officedocument.presentationml.notesSlide+xml"/>
  <Override PartName="/ppt/tags/tag258.xml" ContentType="application/vnd.openxmlformats-officedocument.presentationml.tags+xml"/>
  <Override PartName="/ppt/notesSlides/notesSlide175.xml" ContentType="application/vnd.openxmlformats-officedocument.presentationml.notesSlide+xml"/>
  <Override PartName="/ppt/tags/tag259.xml" ContentType="application/vnd.openxmlformats-officedocument.presentationml.tags+xml"/>
  <Override PartName="/ppt/notesSlides/notesSlide176.xml" ContentType="application/vnd.openxmlformats-officedocument.presentationml.notesSlide+xml"/>
  <Override PartName="/ppt/notesSlides/notesSlide177.xml" ContentType="application/vnd.openxmlformats-officedocument.presentationml.notesSlide+xml"/>
  <Override PartName="/ppt/tags/tag260.xml" ContentType="application/vnd.openxmlformats-officedocument.presentationml.tags+xml"/>
  <Override PartName="/ppt/notesSlides/notesSlide178.xml" ContentType="application/vnd.openxmlformats-officedocument.presentationml.notesSlide+xml"/>
  <Override PartName="/ppt/notesSlides/notesSlide179.xml" ContentType="application/vnd.openxmlformats-officedocument.presentationml.notesSlide+xml"/>
  <Override PartName="/ppt/tags/tag261.xml" ContentType="application/vnd.openxmlformats-officedocument.presentationml.tags+xml"/>
  <Override PartName="/ppt/notesSlides/notesSlide180.xml" ContentType="application/vnd.openxmlformats-officedocument.presentationml.notesSlide+xml"/>
  <Override PartName="/ppt/tags/tag262.xml" ContentType="application/vnd.openxmlformats-officedocument.presentationml.tags+xml"/>
  <Override PartName="/ppt/notesSlides/notesSlide181.xml" ContentType="application/vnd.openxmlformats-officedocument.presentationml.notesSlide+xml"/>
  <Override PartName="/ppt/notesSlides/notesSlide182.xml" ContentType="application/vnd.openxmlformats-officedocument.presentationml.notesSlide+xml"/>
  <Override PartName="/ppt/tags/tag263.xml" ContentType="application/vnd.openxmlformats-officedocument.presentationml.tags+xml"/>
  <Override PartName="/ppt/notesSlides/notesSlide183.xml" ContentType="application/vnd.openxmlformats-officedocument.presentationml.notesSlide+xml"/>
  <Override PartName="/ppt/notesSlides/notesSlide184.xml" ContentType="application/vnd.openxmlformats-officedocument.presentationml.notesSlide+xml"/>
  <Override PartName="/ppt/notesSlides/notesSlide185.xml" ContentType="application/vnd.openxmlformats-officedocument.presentationml.notesSlide+xml"/>
  <Override PartName="/ppt/tags/tag264.xml" ContentType="application/vnd.openxmlformats-officedocument.presentationml.tags+xml"/>
  <Override PartName="/ppt/notesSlides/notesSlide186.xml" ContentType="application/vnd.openxmlformats-officedocument.presentationml.notesSlide+xml"/>
  <Override PartName="/ppt/notesSlides/notesSlide187.xml" ContentType="application/vnd.openxmlformats-officedocument.presentationml.notesSlide+xml"/>
  <Override PartName="/ppt/tags/tag265.xml" ContentType="application/vnd.openxmlformats-officedocument.presentationml.tags+xml"/>
  <Override PartName="/ppt/notesSlides/notesSlide188.xml" ContentType="application/vnd.openxmlformats-officedocument.presentationml.notesSlide+xml"/>
  <Override PartName="/ppt/notesSlides/notesSlide189.xml" ContentType="application/vnd.openxmlformats-officedocument.presentationml.notesSlide+xml"/>
  <Override PartName="/ppt/tags/tag266.xml" ContentType="application/vnd.openxmlformats-officedocument.presentationml.tags+xml"/>
  <Override PartName="/ppt/notesSlides/notesSlide190.xml" ContentType="application/vnd.openxmlformats-officedocument.presentationml.notesSlide+xml"/>
  <Override PartName="/ppt/notesSlides/notesSlide191.xml" ContentType="application/vnd.openxmlformats-officedocument.presentationml.notesSlide+xml"/>
  <Override PartName="/ppt/tags/tag267.xml" ContentType="application/vnd.openxmlformats-officedocument.presentationml.tags+xml"/>
  <Override PartName="/ppt/notesSlides/notesSlide192.xml" ContentType="application/vnd.openxmlformats-officedocument.presentationml.notesSlide+xml"/>
  <Override PartName="/ppt/tags/tag268.xml" ContentType="application/vnd.openxmlformats-officedocument.presentationml.tags+xml"/>
  <Override PartName="/ppt/notesSlides/notesSlide193.xml" ContentType="application/vnd.openxmlformats-officedocument.presentationml.notesSlide+xml"/>
  <Override PartName="/ppt/tags/tag269.xml" ContentType="application/vnd.openxmlformats-officedocument.presentationml.tags+xml"/>
  <Override PartName="/ppt/notesSlides/notesSlide194.xml" ContentType="application/vnd.openxmlformats-officedocument.presentationml.notesSlide+xml"/>
  <Override PartName="/ppt/notesSlides/notesSlide195.xml" ContentType="application/vnd.openxmlformats-officedocument.presentationml.notesSlide+xml"/>
  <Override PartName="/ppt/tags/tag270.xml" ContentType="application/vnd.openxmlformats-officedocument.presentationml.tags+xml"/>
  <Override PartName="/ppt/notesSlides/notesSlide196.xml" ContentType="application/vnd.openxmlformats-officedocument.presentationml.notesSlide+xml"/>
  <Override PartName="/ppt/tags/tag271.xml" ContentType="application/vnd.openxmlformats-officedocument.presentationml.tags+xml"/>
  <Override PartName="/ppt/notesSlides/notesSlide197.xml" ContentType="application/vnd.openxmlformats-officedocument.presentationml.notesSlide+xml"/>
  <Override PartName="/ppt/tags/tag272.xml" ContentType="application/vnd.openxmlformats-officedocument.presentationml.tags+xml"/>
  <Override PartName="/ppt/notesSlides/notesSlide198.xml" ContentType="application/vnd.openxmlformats-officedocument.presentationml.notesSlide+xml"/>
  <Override PartName="/ppt/tags/tag273.xml" ContentType="application/vnd.openxmlformats-officedocument.presentationml.tags+xml"/>
  <Override PartName="/ppt/notesSlides/notesSlide199.xml" ContentType="application/vnd.openxmlformats-officedocument.presentationml.notesSlide+xml"/>
  <Override PartName="/ppt/notesSlides/notesSlide200.xml" ContentType="application/vnd.openxmlformats-officedocument.presentationml.notesSlide+xml"/>
  <Override PartName="/ppt/notesSlides/notesSlide20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0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274.xml" ContentType="application/vnd.openxmlformats-officedocument.presentationml.tags+xml"/>
  <Override PartName="/ppt/notesSlides/notesSlide203.xml" ContentType="application/vnd.openxmlformats-officedocument.presentationml.notesSlide+xml"/>
  <Override PartName="/ppt/notesSlides/notesSlide204.xml" ContentType="application/vnd.openxmlformats-officedocument.presentationml.notesSlide+xml"/>
  <Override PartName="/ppt/notesSlides/notesSlide205.xml" ContentType="application/vnd.openxmlformats-officedocument.presentationml.notesSlide+xml"/>
  <Override PartName="/ppt/notesSlides/notesSlide206.xml" ContentType="application/vnd.openxmlformats-officedocument.presentationml.notesSlide+xml"/>
  <Override PartName="/ppt/notesSlides/notesSlide207.xml" ContentType="application/vnd.openxmlformats-officedocument.presentationml.notesSlide+xml"/>
  <Override PartName="/ppt/notesSlides/notesSlide208.xml" ContentType="application/vnd.openxmlformats-officedocument.presentationml.notesSlide+xml"/>
  <Override PartName="/ppt/notesSlides/notesSlide209.xml" ContentType="application/vnd.openxmlformats-officedocument.presentationml.notesSlide+xml"/>
  <Override PartName="/ppt/notesSlides/notesSlide210.xml" ContentType="application/vnd.openxmlformats-officedocument.presentationml.notesSlide+xml"/>
  <Override PartName="/ppt/notesSlides/notesSlide211.xml" ContentType="application/vnd.openxmlformats-officedocument.presentationml.notesSlide+xml"/>
  <Override PartName="/ppt/notesSlides/notesSlide212.xml" ContentType="application/vnd.openxmlformats-officedocument.presentationml.notesSlide+xml"/>
  <Override PartName="/ppt/notesSlides/notesSlide213.xml" ContentType="application/vnd.openxmlformats-officedocument.presentationml.notesSlide+xml"/>
  <Override PartName="/ppt/notesSlides/notesSlide214.xml" ContentType="application/vnd.openxmlformats-officedocument.presentationml.notesSlide+xml"/>
  <Override PartName="/ppt/notesSlides/notesSlide215.xml" ContentType="application/vnd.openxmlformats-officedocument.presentationml.notesSl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216.xml" ContentType="application/vnd.openxmlformats-officedocument.presentationml.notesSlide+xml"/>
  <Override PartName="/ppt/tags/tag278.xml" ContentType="application/vnd.openxmlformats-officedocument.presentationml.tags+xml"/>
  <Override PartName="/ppt/notesSlides/notesSlide217.xml" ContentType="application/vnd.openxmlformats-officedocument.presentationml.notesSlide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218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219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220.xml" ContentType="application/vnd.openxmlformats-officedocument.presentationml.notesSlide+xml"/>
  <Override PartName="/ppt/notesSlides/notesSlide221.xml" ContentType="application/vnd.openxmlformats-officedocument.presentationml.notesSlide+xml"/>
  <Override PartName="/ppt/notesSlides/notesSlide222.xml" ContentType="application/vnd.openxmlformats-officedocument.presentationml.notesSlide+xml"/>
  <Override PartName="/ppt/notesSlides/notesSlide223.xml" ContentType="application/vnd.openxmlformats-officedocument.presentationml.notesSlide+xml"/>
  <Override PartName="/ppt/notesSlides/notesSlide224.xml" ContentType="application/vnd.openxmlformats-officedocument.presentationml.notesSlide+xml"/>
  <Override PartName="/ppt/notesSlides/notesSlide225.xml" ContentType="application/vnd.openxmlformats-officedocument.presentationml.notesSlid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226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227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228.xml" ContentType="application/vnd.openxmlformats-officedocument.presentationml.notesSlide+xml"/>
  <Override PartName="/ppt/notesSlides/notesSlide229.xml" ContentType="application/vnd.openxmlformats-officedocument.presentationml.notesSl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230.xml" ContentType="application/vnd.openxmlformats-officedocument.presentationml.notesSlide+xml"/>
  <Override PartName="/ppt/notesSlides/notesSlide231.xml" ContentType="application/vnd.openxmlformats-officedocument.presentationml.notesSlide+xml"/>
  <Override PartName="/ppt/notesSlides/notesSlide232.xml" ContentType="application/vnd.openxmlformats-officedocument.presentationml.notesSlide+xml"/>
  <Override PartName="/ppt/notesSlides/notesSlide233.xml" ContentType="application/vnd.openxmlformats-officedocument.presentationml.notesSlide+xml"/>
  <Override PartName="/ppt/notesSlides/notesSlide234.xml" ContentType="application/vnd.openxmlformats-officedocument.presentationml.notesSlide+xml"/>
  <Override PartName="/ppt/tags/tag296.xml" ContentType="application/vnd.openxmlformats-officedocument.presentationml.tags+xml"/>
  <Override PartName="/ppt/notesSlides/notesSlide2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  <p:sldMasterId id="2147483820" r:id="rId2"/>
    <p:sldMasterId id="2147483831" r:id="rId3"/>
  </p:sldMasterIdLst>
  <p:notesMasterIdLst>
    <p:notesMasterId r:id="rId246"/>
  </p:notesMasterIdLst>
  <p:handoutMasterIdLst>
    <p:handoutMasterId r:id="rId247"/>
  </p:handoutMasterIdLst>
  <p:sldIdLst>
    <p:sldId id="286" r:id="rId4"/>
    <p:sldId id="2147471450" r:id="rId5"/>
    <p:sldId id="2147471478" r:id="rId6"/>
    <p:sldId id="2147471513" r:id="rId7"/>
    <p:sldId id="2147471514" r:id="rId8"/>
    <p:sldId id="2147471519" r:id="rId9"/>
    <p:sldId id="2147471348" r:id="rId10"/>
    <p:sldId id="2147471349" r:id="rId11"/>
    <p:sldId id="2147471078" r:id="rId12"/>
    <p:sldId id="2147471079" r:id="rId13"/>
    <p:sldId id="2147471361" r:id="rId14"/>
    <p:sldId id="2147471179" r:id="rId15"/>
    <p:sldId id="2147471217" r:id="rId16"/>
    <p:sldId id="2147471234" r:id="rId17"/>
    <p:sldId id="2147471474" r:id="rId18"/>
    <p:sldId id="2147471489" r:id="rId19"/>
    <p:sldId id="2147470985" r:id="rId20"/>
    <p:sldId id="2147471228" r:id="rId21"/>
    <p:sldId id="2147471490" r:id="rId22"/>
    <p:sldId id="2147471224" r:id="rId23"/>
    <p:sldId id="2147471230" r:id="rId24"/>
    <p:sldId id="2147471358" r:id="rId25"/>
    <p:sldId id="2147471344" r:id="rId26"/>
    <p:sldId id="2147471249" r:id="rId27"/>
    <p:sldId id="2147471251" r:id="rId28"/>
    <p:sldId id="2147471325" r:id="rId29"/>
    <p:sldId id="2147471326" r:id="rId30"/>
    <p:sldId id="2147471327" r:id="rId31"/>
    <p:sldId id="2147471285" r:id="rId32"/>
    <p:sldId id="2147471340" r:id="rId33"/>
    <p:sldId id="2147471459" r:id="rId34"/>
    <p:sldId id="2147471460" r:id="rId35"/>
    <p:sldId id="2147471353" r:id="rId36"/>
    <p:sldId id="2147471517" r:id="rId37"/>
    <p:sldId id="2147471518" r:id="rId38"/>
    <p:sldId id="2147471341" r:id="rId39"/>
    <p:sldId id="2147471333" r:id="rId40"/>
    <p:sldId id="2147471334" r:id="rId41"/>
    <p:sldId id="2147471336" r:id="rId42"/>
    <p:sldId id="2147471335" r:id="rId43"/>
    <p:sldId id="2147471354" r:id="rId44"/>
    <p:sldId id="2147471337" r:id="rId45"/>
    <p:sldId id="2147471289" r:id="rId46"/>
    <p:sldId id="2147471329" r:id="rId47"/>
    <p:sldId id="2147471346" r:id="rId48"/>
    <p:sldId id="2147471347" r:id="rId49"/>
    <p:sldId id="2147471432" r:id="rId50"/>
    <p:sldId id="2147471487" r:id="rId51"/>
    <p:sldId id="2147471434" r:id="rId52"/>
    <p:sldId id="2147471435" r:id="rId53"/>
    <p:sldId id="2147471388" r:id="rId54"/>
    <p:sldId id="2147471428" r:id="rId55"/>
    <p:sldId id="2147471243" r:id="rId56"/>
    <p:sldId id="2147471295" r:id="rId57"/>
    <p:sldId id="2147471298" r:id="rId58"/>
    <p:sldId id="2147471268" r:id="rId59"/>
    <p:sldId id="2147471265" r:id="rId60"/>
    <p:sldId id="2147471264" r:id="rId61"/>
    <p:sldId id="2147471266" r:id="rId62"/>
    <p:sldId id="2147471271" r:id="rId63"/>
    <p:sldId id="2147471273" r:id="rId64"/>
    <p:sldId id="2147471272" r:id="rId65"/>
    <p:sldId id="2147471293" r:id="rId66"/>
    <p:sldId id="2147471515" r:id="rId67"/>
    <p:sldId id="2147471516" r:id="rId68"/>
    <p:sldId id="2147471290" r:id="rId69"/>
    <p:sldId id="2147471492" r:id="rId70"/>
    <p:sldId id="2147471256" r:id="rId71"/>
    <p:sldId id="2147471257" r:id="rId72"/>
    <p:sldId id="2147471063" r:id="rId73"/>
    <p:sldId id="2147471352" r:id="rId74"/>
    <p:sldId id="2147471448" r:id="rId75"/>
    <p:sldId id="2147471356" r:id="rId76"/>
    <p:sldId id="2147471357" r:id="rId77"/>
    <p:sldId id="2147471406" r:id="rId78"/>
    <p:sldId id="2147471351" r:id="rId79"/>
    <p:sldId id="2147471319" r:id="rId80"/>
    <p:sldId id="2147471322" r:id="rId81"/>
    <p:sldId id="2147471095" r:id="rId82"/>
    <p:sldId id="2147471449" r:id="rId83"/>
    <p:sldId id="2147471479" r:id="rId84"/>
    <p:sldId id="2147471480" r:id="rId85"/>
    <p:sldId id="2147471481" r:id="rId86"/>
    <p:sldId id="2147471482" r:id="rId87"/>
    <p:sldId id="2147471520" r:id="rId88"/>
    <p:sldId id="2147471452" r:id="rId89"/>
    <p:sldId id="2147471097" r:id="rId90"/>
    <p:sldId id="2147471508" r:id="rId91"/>
    <p:sldId id="2147471117" r:id="rId92"/>
    <p:sldId id="2147471118" r:id="rId93"/>
    <p:sldId id="2147471416" r:id="rId94"/>
    <p:sldId id="2147471438" r:id="rId95"/>
    <p:sldId id="2147471418" r:id="rId96"/>
    <p:sldId id="2147471509" r:id="rId97"/>
    <p:sldId id="2147471491" r:id="rId98"/>
    <p:sldId id="2147471510" r:id="rId99"/>
    <p:sldId id="2147471324" r:id="rId100"/>
    <p:sldId id="2147471493" r:id="rId101"/>
    <p:sldId id="2147471511" r:id="rId102"/>
    <p:sldId id="2147471421" r:id="rId103"/>
    <p:sldId id="2147471422" r:id="rId104"/>
    <p:sldId id="2147471423" r:id="rId105"/>
    <p:sldId id="2147471439" r:id="rId106"/>
    <p:sldId id="2147471440" r:id="rId107"/>
    <p:sldId id="2147471441" r:id="rId108"/>
    <p:sldId id="2147471442" r:id="rId109"/>
    <p:sldId id="2147470999" r:id="rId110"/>
    <p:sldId id="2147471170" r:id="rId111"/>
    <p:sldId id="2147471171" r:id="rId112"/>
    <p:sldId id="2147471172" r:id="rId113"/>
    <p:sldId id="2147471181" r:id="rId114"/>
    <p:sldId id="2147471126" r:id="rId115"/>
    <p:sldId id="2147471392" r:id="rId116"/>
    <p:sldId id="2147471393" r:id="rId117"/>
    <p:sldId id="2147471394" r:id="rId118"/>
    <p:sldId id="2147471396" r:id="rId119"/>
    <p:sldId id="2147471397" r:id="rId120"/>
    <p:sldId id="2147471398" r:id="rId121"/>
    <p:sldId id="2147471399" r:id="rId122"/>
    <p:sldId id="2147471400" r:id="rId123"/>
    <p:sldId id="2147471401" r:id="rId124"/>
    <p:sldId id="2147471494" r:id="rId125"/>
    <p:sldId id="2147471495" r:id="rId126"/>
    <p:sldId id="2147471496" r:id="rId127"/>
    <p:sldId id="2147471497" r:id="rId128"/>
    <p:sldId id="2147471498" r:id="rId129"/>
    <p:sldId id="2147471499" r:id="rId130"/>
    <p:sldId id="2147471360" r:id="rId131"/>
    <p:sldId id="2147471453" r:id="rId132"/>
    <p:sldId id="2147471074" r:id="rId133"/>
    <p:sldId id="2147471252" r:id="rId134"/>
    <p:sldId id="2147471310" r:id="rId135"/>
    <p:sldId id="2147471104" r:id="rId136"/>
    <p:sldId id="2147471098" r:id="rId137"/>
    <p:sldId id="2147471099" r:id="rId138"/>
    <p:sldId id="2147471105" r:id="rId139"/>
    <p:sldId id="2147471455" r:id="rId140"/>
    <p:sldId id="2147471500" r:id="rId141"/>
    <p:sldId id="2147471106" r:id="rId142"/>
    <p:sldId id="2147471108" r:id="rId143"/>
    <p:sldId id="2147471501" r:id="rId144"/>
    <p:sldId id="2147471109" r:id="rId145"/>
    <p:sldId id="2147471258" r:id="rId146"/>
    <p:sldId id="2147471299" r:id="rId147"/>
    <p:sldId id="2147471300" r:id="rId148"/>
    <p:sldId id="2147471502" r:id="rId149"/>
    <p:sldId id="2147471503" r:id="rId150"/>
    <p:sldId id="2147471404" r:id="rId151"/>
    <p:sldId id="2147471389" r:id="rId152"/>
    <p:sldId id="2147471381" r:id="rId153"/>
    <p:sldId id="2147471383" r:id="rId154"/>
    <p:sldId id="2147471384" r:id="rId155"/>
    <p:sldId id="2147471385" r:id="rId156"/>
    <p:sldId id="2147471371" r:id="rId157"/>
    <p:sldId id="2147471372" r:id="rId158"/>
    <p:sldId id="2147471373" r:id="rId159"/>
    <p:sldId id="2147471374" r:id="rId160"/>
    <p:sldId id="2147471375" r:id="rId161"/>
    <p:sldId id="2147471376" r:id="rId162"/>
    <p:sldId id="2147471377" r:id="rId163"/>
    <p:sldId id="2147471378" r:id="rId164"/>
    <p:sldId id="2147471488" r:id="rId165"/>
    <p:sldId id="2147471429" r:id="rId166"/>
    <p:sldId id="2147471437" r:id="rId167"/>
    <p:sldId id="2147471260" r:id="rId168"/>
    <p:sldId id="2147471128" r:id="rId169"/>
    <p:sldId id="2147471261" r:id="rId170"/>
    <p:sldId id="2147471262" r:id="rId171"/>
    <p:sldId id="2147471263" r:id="rId172"/>
    <p:sldId id="2147471504" r:id="rId173"/>
    <p:sldId id="2147471408" r:id="rId174"/>
    <p:sldId id="2147471259" r:id="rId175"/>
    <p:sldId id="2147471301" r:id="rId176"/>
    <p:sldId id="2147471505" r:id="rId177"/>
    <p:sldId id="2147471409" r:id="rId178"/>
    <p:sldId id="2147471267" r:id="rId179"/>
    <p:sldId id="2147471302" r:id="rId180"/>
    <p:sldId id="2147471506" r:id="rId181"/>
    <p:sldId id="2147471410" r:id="rId182"/>
    <p:sldId id="2147471188" r:id="rId183"/>
    <p:sldId id="2147471122" r:id="rId184"/>
    <p:sldId id="2147471189" r:id="rId185"/>
    <p:sldId id="2147471483" r:id="rId186"/>
    <p:sldId id="2147471512" r:id="rId187"/>
    <p:sldId id="2147471484" r:id="rId188"/>
    <p:sldId id="2147471485" r:id="rId189"/>
    <p:sldId id="2147471486" r:id="rId190"/>
    <p:sldId id="2147471390" r:id="rId191"/>
    <p:sldId id="2147471430" r:id="rId192"/>
    <p:sldId id="2147471431" r:id="rId193"/>
    <p:sldId id="2147471121" r:id="rId194"/>
    <p:sldId id="2147471198" r:id="rId195"/>
    <p:sldId id="2147471147" r:id="rId196"/>
    <p:sldId id="2147471151" r:id="rId197"/>
    <p:sldId id="2147471152" r:id="rId198"/>
    <p:sldId id="2147471155" r:id="rId199"/>
    <p:sldId id="2147471153" r:id="rId200"/>
    <p:sldId id="2147471156" r:id="rId201"/>
    <p:sldId id="2147471157" r:id="rId202"/>
    <p:sldId id="2147471158" r:id="rId203"/>
    <p:sldId id="2147471196" r:id="rId204"/>
    <p:sldId id="2147471176" r:id="rId205"/>
    <p:sldId id="2147471177" r:id="rId206"/>
    <p:sldId id="2147471160" r:id="rId207"/>
    <p:sldId id="2147471089" r:id="rId208"/>
    <p:sldId id="2147471162" r:id="rId209"/>
    <p:sldId id="2147471476" r:id="rId210"/>
    <p:sldId id="2147471477" r:id="rId211"/>
    <p:sldId id="2147470979" r:id="rId212"/>
    <p:sldId id="2147471185" r:id="rId213"/>
    <p:sldId id="2147471110" r:id="rId214"/>
    <p:sldId id="2147471111" r:id="rId215"/>
    <p:sldId id="2147471087" r:id="rId216"/>
    <p:sldId id="2147471411" r:id="rId217"/>
    <p:sldId id="2147471088" r:id="rId218"/>
    <p:sldId id="2147471412" r:id="rId219"/>
    <p:sldId id="2147471417" r:id="rId220"/>
    <p:sldId id="2147471194" r:id="rId221"/>
    <p:sldId id="2147471507" r:id="rId222"/>
    <p:sldId id="2147471445" r:id="rId223"/>
    <p:sldId id="2147471446" r:id="rId224"/>
    <p:sldId id="2147471447" r:id="rId225"/>
    <p:sldId id="2147471253" r:id="rId226"/>
    <p:sldId id="2147471269" r:id="rId227"/>
    <p:sldId id="2147471462" r:id="rId228"/>
    <p:sldId id="2147471463" r:id="rId229"/>
    <p:sldId id="2147471254" r:id="rId230"/>
    <p:sldId id="2147471368" r:id="rId231"/>
    <p:sldId id="2147471363" r:id="rId232"/>
    <p:sldId id="2147471405" r:id="rId233"/>
    <p:sldId id="2147471369" r:id="rId234"/>
    <p:sldId id="2147471362" r:id="rId235"/>
    <p:sldId id="2147471270" r:id="rId236"/>
    <p:sldId id="2147471303" r:id="rId237"/>
    <p:sldId id="2147471304" r:id="rId238"/>
    <p:sldId id="2147471457" r:id="rId239"/>
    <p:sldId id="2147471521" r:id="rId240"/>
    <p:sldId id="2147471471" r:id="rId241"/>
    <p:sldId id="2147471470" r:id="rId242"/>
    <p:sldId id="2147471472" r:id="rId243"/>
    <p:sldId id="2147471473" r:id="rId244"/>
    <p:sldId id="274" r:id="rId245"/>
  </p:sldIdLst>
  <p:sldSz cx="12192000" cy="6858000"/>
  <p:notesSz cx="6858000" cy="9144000"/>
  <p:custDataLst>
    <p:tags r:id="rId248"/>
  </p:custDataLst>
  <p:defaultTextStyle>
    <a:defPPr>
      <a:defRPr lang="en-US"/>
    </a:defPPr>
    <a:lvl1pPr marL="0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1pPr>
    <a:lvl2pPr marL="488586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2pPr>
    <a:lvl3pPr marL="977172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3pPr>
    <a:lvl4pPr marL="1465758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4pPr>
    <a:lvl5pPr marL="1954344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5pPr>
    <a:lvl6pPr marL="2442930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6pPr>
    <a:lvl7pPr marL="2931517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7pPr>
    <a:lvl8pPr marL="3420102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8pPr>
    <a:lvl9pPr marL="3908689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DEC528A7-D41A-45F7-8D6F-7D59EA6E737B}">
          <p14:sldIdLst>
            <p14:sldId id="286"/>
            <p14:sldId id="2147471450"/>
            <p14:sldId id="2147471478"/>
            <p14:sldId id="2147471513"/>
            <p14:sldId id="2147471514"/>
            <p14:sldId id="2147471519"/>
            <p14:sldId id="2147471348"/>
            <p14:sldId id="2147471349"/>
            <p14:sldId id="2147471078"/>
            <p14:sldId id="2147471079"/>
            <p14:sldId id="2147471361"/>
            <p14:sldId id="2147471179"/>
          </p14:sldIdLst>
        </p14:section>
        <p14:section name="1. Home" id="{FE9E858F-531B-4054-9691-345103C7145A}">
          <p14:sldIdLst>
            <p14:sldId id="2147471217"/>
          </p14:sldIdLst>
        </p14:section>
        <p14:section name="1-1. Home" id="{28187BD9-3C4F-4A76-B908-872B682BB0D4}">
          <p14:sldIdLst>
            <p14:sldId id="2147471234"/>
            <p14:sldId id="2147471474"/>
            <p14:sldId id="2147471489"/>
            <p14:sldId id="2147470985"/>
            <p14:sldId id="2147471228"/>
            <p14:sldId id="2147471490"/>
            <p14:sldId id="2147471224"/>
            <p14:sldId id="2147471230"/>
            <p14:sldId id="2147471358"/>
            <p14:sldId id="2147471344"/>
            <p14:sldId id="2147471249"/>
            <p14:sldId id="2147471251"/>
          </p14:sldIdLst>
        </p14:section>
        <p14:section name="1-2. 로그인" id="{C4A6116F-A9F4-459D-813D-6DDC3F5FA76A}">
          <p14:sldIdLst>
            <p14:sldId id="2147471325"/>
            <p14:sldId id="2147471326"/>
            <p14:sldId id="2147471327"/>
            <p14:sldId id="2147471285"/>
          </p14:sldIdLst>
        </p14:section>
        <p14:section name="1-3. 회원가입" id="{0EDF9983-6C33-483B-8B4A-1D73132357EE}">
          <p14:sldIdLst>
            <p14:sldId id="2147471340"/>
            <p14:sldId id="2147471459"/>
            <p14:sldId id="2147471460"/>
            <p14:sldId id="2147471353"/>
            <p14:sldId id="2147471517"/>
            <p14:sldId id="2147471518"/>
            <p14:sldId id="2147471341"/>
          </p14:sldIdLst>
        </p14:section>
        <p14:section name="1-4. 마이페이지" id="{2AC74F88-9E74-4985-B5DA-7BB6D9564209}">
          <p14:sldIdLst>
            <p14:sldId id="2147471333"/>
            <p14:sldId id="2147471334"/>
            <p14:sldId id="2147471336"/>
            <p14:sldId id="2147471335"/>
            <p14:sldId id="2147471354"/>
            <p14:sldId id="2147471337"/>
            <p14:sldId id="2147471289"/>
            <p14:sldId id="2147471329"/>
            <p14:sldId id="2147471346"/>
            <p14:sldId id="2147471347"/>
          </p14:sldIdLst>
        </p14:section>
        <p14:section name="1-5. 플랫폼 소개" id="{5178AA83-8027-4A00-AC5E-C7FAF25F15A3}">
          <p14:sldIdLst>
            <p14:sldId id="2147471432"/>
            <p14:sldId id="2147471487"/>
            <p14:sldId id="2147471434"/>
            <p14:sldId id="2147471435"/>
            <p14:sldId id="2147471388"/>
            <p14:sldId id="2147471428"/>
          </p14:sldIdLst>
        </p14:section>
        <p14:section name="1-6. 통합검색" id="{194F3A9C-B9E9-4D83-8338-DD2B3B6468A4}">
          <p14:sldIdLst>
            <p14:sldId id="2147471243"/>
            <p14:sldId id="2147471295"/>
            <p14:sldId id="2147471298"/>
            <p14:sldId id="2147471268"/>
            <p14:sldId id="2147471265"/>
            <p14:sldId id="2147471264"/>
            <p14:sldId id="2147471266"/>
            <p14:sldId id="2147471271"/>
            <p14:sldId id="2147471273"/>
            <p14:sldId id="2147471272"/>
            <p14:sldId id="2147471293"/>
            <p14:sldId id="2147471515"/>
            <p14:sldId id="2147471516"/>
            <p14:sldId id="2147471290"/>
          </p14:sldIdLst>
        </p14:section>
        <p14:section name="1-7. 주요 일정 관리" id="{849BE76D-35D5-442E-841F-617AAC08D4C6}">
          <p14:sldIdLst>
            <p14:sldId id="2147471492"/>
            <p14:sldId id="2147471256"/>
            <p14:sldId id="2147471257"/>
          </p14:sldIdLst>
        </p14:section>
        <p14:section name="2. ESG 진단계획" id="{2E3588EF-037C-4B66-915A-1E69C31D71FD}">
          <p14:sldIdLst>
            <p14:sldId id="2147471063"/>
          </p14:sldIdLst>
        </p14:section>
        <p14:section name="2-1. ESG 자가진단" id="{2F266472-ABE9-4D77-BF72-5E3573394385}">
          <p14:sldIdLst>
            <p14:sldId id="2147471352"/>
            <p14:sldId id="2147471448"/>
            <p14:sldId id="2147471356"/>
            <p14:sldId id="2147471357"/>
            <p14:sldId id="2147471406"/>
            <p14:sldId id="2147471351"/>
            <p14:sldId id="2147471319"/>
            <p14:sldId id="2147471322"/>
            <p14:sldId id="2147471095"/>
            <p14:sldId id="2147471449"/>
            <p14:sldId id="2147471479"/>
            <p14:sldId id="2147471480"/>
            <p14:sldId id="2147471481"/>
            <p14:sldId id="2147471482"/>
            <p14:sldId id="2147471520"/>
          </p14:sldIdLst>
        </p14:section>
        <p14:section name="2-2. ESG 경영활동가이드" id="{FC67FFF8-23C7-4B32-9AF4-A0A79D5E3D55}">
          <p14:sldIdLst>
            <p14:sldId id="2147471452"/>
            <p14:sldId id="2147471097"/>
            <p14:sldId id="2147471508"/>
          </p14:sldIdLst>
        </p14:section>
        <p14:section name="2-3. ESG 전략계획" id="{258B7BBB-89A7-47CD-9BD5-79D324299841}">
          <p14:sldIdLst>
            <p14:sldId id="2147471117"/>
            <p14:sldId id="2147471118"/>
            <p14:sldId id="2147471416"/>
            <p14:sldId id="2147471438"/>
            <p14:sldId id="2147471418"/>
          </p14:sldIdLst>
        </p14:section>
        <p14:section name="2-4. ESG 과제이행" id="{6C11C4E0-1F2A-4FF5-805D-69E1D39DDC89}">
          <p14:sldIdLst>
            <p14:sldId id="2147471509"/>
            <p14:sldId id="2147471491"/>
            <p14:sldId id="2147471510"/>
            <p14:sldId id="2147471324"/>
            <p14:sldId id="2147471493"/>
            <p14:sldId id="2147471511"/>
            <p14:sldId id="2147471421"/>
            <p14:sldId id="2147471422"/>
            <p14:sldId id="2147471423"/>
          </p14:sldIdLst>
        </p14:section>
        <p14:section name="2-5. ESG 공시/인증" id="{7B726DEE-521E-4B18-B68D-CCDFCE899AFF}">
          <p14:sldIdLst>
            <p14:sldId id="2147471439"/>
            <p14:sldId id="2147471440"/>
            <p14:sldId id="2147471441"/>
            <p14:sldId id="2147471442"/>
          </p14:sldIdLst>
        </p14:section>
        <p14:section name="3. ESG 실행" id="{152722CE-CC38-46A1-BAC3-76E2FB5F3C2D}">
          <p14:sldIdLst>
            <p14:sldId id="2147470999"/>
            <p14:sldId id="2147471170"/>
          </p14:sldIdLst>
        </p14:section>
        <p14:section name="3-1. Envirionment (환경)" id="{A4433920-B2FF-4318-AA7E-FD5021E022EE}">
          <p14:sldIdLst>
            <p14:sldId id="2147471171"/>
            <p14:sldId id="2147471172"/>
            <p14:sldId id="2147471181"/>
            <p14:sldId id="2147471126"/>
          </p14:sldIdLst>
        </p14:section>
        <p14:section name="3-2. Social (사회)" id="{4C35C22A-2381-4CD5-99F9-DD8A0351D66D}">
          <p14:sldIdLst>
            <p14:sldId id="2147471392"/>
            <p14:sldId id="2147471393"/>
            <p14:sldId id="2147471394"/>
          </p14:sldIdLst>
        </p14:section>
        <p14:section name="Governance (거버넌스)" id="{22AFF893-A940-43BA-B3AA-CC09481B4867}">
          <p14:sldIdLst>
            <p14:sldId id="2147471396"/>
            <p14:sldId id="2147471397"/>
            <p14:sldId id="2147471398"/>
          </p14:sldIdLst>
        </p14:section>
        <p14:section name="Finance (금융)" id="{6517B261-8C35-4072-87E8-742DD26CDAD0}">
          <p14:sldIdLst>
            <p14:sldId id="2147471399"/>
            <p14:sldId id="2147471400"/>
            <p14:sldId id="2147471401"/>
          </p14:sldIdLst>
        </p14:section>
        <p14:section name="ESG Tax" id="{20F95482-13A2-401F-A4DF-4D7B04B001D9}">
          <p14:sldIdLst>
            <p14:sldId id="2147471494"/>
            <p14:sldId id="2147471495"/>
            <p14:sldId id="2147471496"/>
          </p14:sldIdLst>
        </p14:section>
        <p14:section name="ESG Deal" id="{4D107F72-C775-4D46-9284-9B2863B90EFE}">
          <p14:sldIdLst>
            <p14:sldId id="2147471497"/>
            <p14:sldId id="2147471498"/>
            <p14:sldId id="2147471499"/>
          </p14:sldIdLst>
        </p14:section>
        <p14:section name="4. ESG 공시/평가/인증" id="{AB04D669-1532-46AF-949A-01A8A0B91159}">
          <p14:sldIdLst>
            <p14:sldId id="2147471360"/>
            <p14:sldId id="2147471453"/>
          </p14:sldIdLst>
        </p14:section>
        <p14:section name="4-1. ESG 공시" id="{DB56585D-A251-479C-BAC4-08BA757D5899}">
          <p14:sldIdLst>
            <p14:sldId id="2147471074"/>
            <p14:sldId id="2147471252"/>
            <p14:sldId id="2147471310"/>
            <p14:sldId id="2147471104"/>
            <p14:sldId id="2147471098"/>
            <p14:sldId id="2147471099"/>
            <p14:sldId id="2147471105"/>
            <p14:sldId id="2147471455"/>
            <p14:sldId id="2147471500"/>
            <p14:sldId id="2147471106"/>
            <p14:sldId id="2147471108"/>
            <p14:sldId id="2147471501"/>
            <p14:sldId id="2147471109"/>
            <p14:sldId id="2147471258"/>
            <p14:sldId id="2147471299"/>
            <p14:sldId id="2147471300"/>
            <p14:sldId id="2147471502"/>
            <p14:sldId id="2147471503"/>
            <p14:sldId id="2147471404"/>
            <p14:sldId id="2147471389"/>
            <p14:sldId id="2147471381"/>
            <p14:sldId id="2147471383"/>
            <p14:sldId id="2147471384"/>
            <p14:sldId id="2147471385"/>
            <p14:sldId id="2147471371"/>
            <p14:sldId id="2147471372"/>
            <p14:sldId id="2147471373"/>
            <p14:sldId id="2147471374"/>
            <p14:sldId id="2147471375"/>
            <p14:sldId id="2147471376"/>
            <p14:sldId id="2147471377"/>
            <p14:sldId id="2147471378"/>
            <p14:sldId id="2147471488"/>
            <p14:sldId id="2147471429"/>
            <p14:sldId id="2147471437"/>
            <p14:sldId id="2147471260"/>
            <p14:sldId id="2147471128"/>
            <p14:sldId id="2147471261"/>
            <p14:sldId id="2147471262"/>
            <p14:sldId id="2147471263"/>
            <p14:sldId id="2147471504"/>
            <p14:sldId id="2147471408"/>
            <p14:sldId id="2147471259"/>
            <p14:sldId id="2147471301"/>
            <p14:sldId id="2147471505"/>
            <p14:sldId id="2147471409"/>
            <p14:sldId id="2147471267"/>
            <p14:sldId id="2147471302"/>
            <p14:sldId id="2147471506"/>
            <p14:sldId id="2147471410"/>
          </p14:sldIdLst>
        </p14:section>
        <p14:section name="4-2. ESG 평가" id="{C0A8BDEF-C884-4DFD-9307-B3F57E2AA8AC}">
          <p14:sldIdLst>
            <p14:sldId id="2147471188"/>
            <p14:sldId id="2147471122"/>
            <p14:sldId id="2147471189"/>
            <p14:sldId id="2147471483"/>
            <p14:sldId id="2147471512"/>
            <p14:sldId id="2147471484"/>
            <p14:sldId id="2147471485"/>
            <p14:sldId id="2147471486"/>
          </p14:sldIdLst>
        </p14:section>
        <p14:section name="4-3. ESG 인증" id="{12F20A9B-2A5A-4541-ABFB-EEAEEFE6E4A7}">
          <p14:sldIdLst>
            <p14:sldId id="2147471390"/>
            <p14:sldId id="2147471430"/>
            <p14:sldId id="2147471431"/>
          </p14:sldIdLst>
        </p14:section>
        <p14:section name="5. ESG 자료동향" id="{B3727129-355F-4F00-A47C-5A0E393B1901}">
          <p14:sldIdLst>
            <p14:sldId id="2147471121"/>
            <p14:sldId id="2147471198"/>
            <p14:sldId id="2147471147"/>
          </p14:sldIdLst>
        </p14:section>
        <p14:section name="5-1. 삼일인사이트" id="{EF1AB2F6-91FC-4A70-9604-865764B03EAC}">
          <p14:sldIdLst>
            <p14:sldId id="2147471151"/>
            <p14:sldId id="2147471152"/>
            <p14:sldId id="2147471155"/>
            <p14:sldId id="2147471153"/>
            <p14:sldId id="2147471156"/>
            <p14:sldId id="2147471157"/>
          </p14:sldIdLst>
        </p14:section>
        <p14:section name="5-2. ESG 자료" id="{2E73D050-E722-47DF-A5CC-8A51849F987A}">
          <p14:sldIdLst>
            <p14:sldId id="2147471158"/>
            <p14:sldId id="2147471196"/>
            <p14:sldId id="2147471176"/>
            <p14:sldId id="2147471177"/>
            <p14:sldId id="2147471160"/>
          </p14:sldIdLst>
        </p14:section>
        <p14:section name="5-3. ESG 뉴스" id="{CD14610A-7CD0-4650-AD97-4A7FB3D4CF43}">
          <p14:sldIdLst>
            <p14:sldId id="2147471089"/>
            <p14:sldId id="2147471162"/>
            <p14:sldId id="2147471476"/>
            <p14:sldId id="2147471477"/>
            <p14:sldId id="2147470979"/>
          </p14:sldIdLst>
        </p14:section>
        <p14:section name="5-4. ESG 교육" id="{A26FD5CD-CAE5-4F03-B39A-6A40E0D95EEF}">
          <p14:sldIdLst>
            <p14:sldId id="2147471185"/>
            <p14:sldId id="2147471110"/>
            <p14:sldId id="2147471111"/>
          </p14:sldIdLst>
        </p14:section>
        <p14:section name="5-5. 자료 상세보기" id="{B6DBCDEC-8F8E-4AB5-9D78-6B69FCCAA491}">
          <p14:sldIdLst>
            <p14:sldId id="2147471087"/>
            <p14:sldId id="2147471411"/>
            <p14:sldId id="2147471088"/>
            <p14:sldId id="2147471412"/>
            <p14:sldId id="2147471417"/>
            <p14:sldId id="2147471194"/>
          </p14:sldIdLst>
        </p14:section>
        <p14:section name="5-6. 필터" id="{8A038033-8A65-4C02-A524-588BFD375C04}">
          <p14:sldIdLst>
            <p14:sldId id="2147471507"/>
            <p14:sldId id="2147471445"/>
            <p14:sldId id="2147471446"/>
            <p14:sldId id="2147471447"/>
          </p14:sldIdLst>
        </p14:section>
        <p14:section name="6. 문의/요청" id="{F188C3DA-2A03-4CBE-931D-869E4FAD42CA}">
          <p14:sldIdLst/>
        </p14:section>
        <p14:section name="6-1. 문의/요청 등록" id="{3CA072AB-BDDA-44D0-9A05-93BA98EA1E38}">
          <p14:sldIdLst>
            <p14:sldId id="2147471253"/>
          </p14:sldIdLst>
        </p14:section>
        <p14:section name="6-2. 문의/요청 조회" id="{6B619D8C-F783-44B5-985D-C0E0BE6811D9}">
          <p14:sldIdLst>
            <p14:sldId id="2147471269"/>
            <p14:sldId id="2147471462"/>
            <p14:sldId id="2147471463"/>
            <p14:sldId id="2147471254"/>
          </p14:sldIdLst>
        </p14:section>
        <p14:section name="7. 기타" id="{EC57041D-0747-4358-9784-AB97CB35E7E4}">
          <p14:sldIdLst>
            <p14:sldId id="2147471368"/>
            <p14:sldId id="2147471363"/>
            <p14:sldId id="2147471405"/>
            <p14:sldId id="2147471369"/>
            <p14:sldId id="2147471362"/>
            <p14:sldId id="2147471270"/>
            <p14:sldId id="2147471303"/>
            <p14:sldId id="2147471304"/>
            <p14:sldId id="2147471457"/>
            <p14:sldId id="2147471521"/>
          </p14:sldIdLst>
        </p14:section>
        <p14:section name="이메일탬플릿" id="{5A1E6F20-267C-4519-833D-DB857A6D4B8A}">
          <p14:sldIdLst>
            <p14:sldId id="2147471471"/>
            <p14:sldId id="2147471470"/>
            <p14:sldId id="2147471472"/>
            <p14:sldId id="2147471473"/>
          </p14:sldIdLst>
        </p14:section>
        <p14:section name="EoD" id="{21B87A4B-41E9-48F5-ABE8-1AA395195D35}">
          <p14:sldIdLst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4600"/>
    <a:srgbClr val="C1C1C1"/>
    <a:srgbClr val="767171"/>
    <a:srgbClr val="F2F2F2"/>
    <a:srgbClr val="D9D9D9"/>
    <a:srgbClr val="404040"/>
    <a:srgbClr val="E0301E"/>
    <a:srgbClr val="FF0000"/>
    <a:srgbClr val="7D2C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82" autoAdjust="0"/>
    <p:restoredTop sz="94027" autoAdjust="0"/>
  </p:normalViewPr>
  <p:slideViewPr>
    <p:cSldViewPr snapToObjects="1" showGuides="1">
      <p:cViewPr>
        <p:scale>
          <a:sx n="100" d="100"/>
          <a:sy n="100" d="100"/>
        </p:scale>
        <p:origin x="58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34968"/>
    </p:cViewPr>
  </p:sorterViewPr>
  <p:notesViewPr>
    <p:cSldViewPr snapToObjects="1" showGuides="1">
      <p:cViewPr varScale="1">
        <p:scale>
          <a:sx n="72" d="100"/>
          <a:sy n="72" d="100"/>
        </p:scale>
        <p:origin x="208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4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63" Type="http://schemas.openxmlformats.org/officeDocument/2006/relationships/slide" Target="slides/slide60.xml"/><Relationship Id="rId84" Type="http://schemas.openxmlformats.org/officeDocument/2006/relationships/slide" Target="slides/slide81.xml"/><Relationship Id="rId138" Type="http://schemas.openxmlformats.org/officeDocument/2006/relationships/slide" Target="slides/slide135.xml"/><Relationship Id="rId159" Type="http://schemas.openxmlformats.org/officeDocument/2006/relationships/slide" Target="slides/slide156.xml"/><Relationship Id="rId170" Type="http://schemas.openxmlformats.org/officeDocument/2006/relationships/slide" Target="slides/slide167.xml"/><Relationship Id="rId191" Type="http://schemas.openxmlformats.org/officeDocument/2006/relationships/slide" Target="slides/slide188.xml"/><Relationship Id="rId205" Type="http://schemas.openxmlformats.org/officeDocument/2006/relationships/slide" Target="slides/slide202.xml"/><Relationship Id="rId226" Type="http://schemas.openxmlformats.org/officeDocument/2006/relationships/slide" Target="slides/slide223.xml"/><Relationship Id="rId247" Type="http://schemas.openxmlformats.org/officeDocument/2006/relationships/handoutMaster" Target="handoutMasters/handoutMaster1.xml"/><Relationship Id="rId107" Type="http://schemas.openxmlformats.org/officeDocument/2006/relationships/slide" Target="slides/slide104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53" Type="http://schemas.openxmlformats.org/officeDocument/2006/relationships/slide" Target="slides/slide50.xml"/><Relationship Id="rId74" Type="http://schemas.openxmlformats.org/officeDocument/2006/relationships/slide" Target="slides/slide71.xml"/><Relationship Id="rId128" Type="http://schemas.openxmlformats.org/officeDocument/2006/relationships/slide" Target="slides/slide125.xml"/><Relationship Id="rId149" Type="http://schemas.openxmlformats.org/officeDocument/2006/relationships/slide" Target="slides/slide146.xml"/><Relationship Id="rId5" Type="http://schemas.openxmlformats.org/officeDocument/2006/relationships/slide" Target="slides/slide2.xml"/><Relationship Id="rId95" Type="http://schemas.openxmlformats.org/officeDocument/2006/relationships/slide" Target="slides/slide92.xml"/><Relationship Id="rId160" Type="http://schemas.openxmlformats.org/officeDocument/2006/relationships/slide" Target="slides/slide157.xml"/><Relationship Id="rId181" Type="http://schemas.openxmlformats.org/officeDocument/2006/relationships/slide" Target="slides/slide178.xml"/><Relationship Id="rId216" Type="http://schemas.openxmlformats.org/officeDocument/2006/relationships/slide" Target="slides/slide213.xml"/><Relationship Id="rId237" Type="http://schemas.openxmlformats.org/officeDocument/2006/relationships/slide" Target="slides/slide234.xml"/><Relationship Id="rId22" Type="http://schemas.openxmlformats.org/officeDocument/2006/relationships/slide" Target="slides/slide19.xml"/><Relationship Id="rId43" Type="http://schemas.openxmlformats.org/officeDocument/2006/relationships/slide" Target="slides/slide40.xml"/><Relationship Id="rId64" Type="http://schemas.openxmlformats.org/officeDocument/2006/relationships/slide" Target="slides/slide61.xml"/><Relationship Id="rId118" Type="http://schemas.openxmlformats.org/officeDocument/2006/relationships/slide" Target="slides/slide115.xml"/><Relationship Id="rId139" Type="http://schemas.openxmlformats.org/officeDocument/2006/relationships/slide" Target="slides/slide136.xml"/><Relationship Id="rId85" Type="http://schemas.openxmlformats.org/officeDocument/2006/relationships/slide" Target="slides/slide82.xml"/><Relationship Id="rId150" Type="http://schemas.openxmlformats.org/officeDocument/2006/relationships/slide" Target="slides/slide147.xml"/><Relationship Id="rId171" Type="http://schemas.openxmlformats.org/officeDocument/2006/relationships/slide" Target="slides/slide168.xml"/><Relationship Id="rId192" Type="http://schemas.openxmlformats.org/officeDocument/2006/relationships/slide" Target="slides/slide189.xml"/><Relationship Id="rId206" Type="http://schemas.openxmlformats.org/officeDocument/2006/relationships/slide" Target="slides/slide203.xml"/><Relationship Id="rId227" Type="http://schemas.openxmlformats.org/officeDocument/2006/relationships/slide" Target="slides/slide224.xml"/><Relationship Id="rId248" Type="http://schemas.openxmlformats.org/officeDocument/2006/relationships/tags" Target="tags/tag1.xml"/><Relationship Id="rId12" Type="http://schemas.openxmlformats.org/officeDocument/2006/relationships/slide" Target="slides/slide9.xml"/><Relationship Id="rId33" Type="http://schemas.openxmlformats.org/officeDocument/2006/relationships/slide" Target="slides/slide30.xml"/><Relationship Id="rId108" Type="http://schemas.openxmlformats.org/officeDocument/2006/relationships/slide" Target="slides/slide105.xml"/><Relationship Id="rId129" Type="http://schemas.openxmlformats.org/officeDocument/2006/relationships/slide" Target="slides/slide126.xml"/><Relationship Id="rId54" Type="http://schemas.openxmlformats.org/officeDocument/2006/relationships/slide" Target="slides/slide51.xml"/><Relationship Id="rId75" Type="http://schemas.openxmlformats.org/officeDocument/2006/relationships/slide" Target="slides/slide72.xml"/><Relationship Id="rId96" Type="http://schemas.openxmlformats.org/officeDocument/2006/relationships/slide" Target="slides/slide93.xml"/><Relationship Id="rId140" Type="http://schemas.openxmlformats.org/officeDocument/2006/relationships/slide" Target="slides/slide137.xml"/><Relationship Id="rId161" Type="http://schemas.openxmlformats.org/officeDocument/2006/relationships/slide" Target="slides/slide158.xml"/><Relationship Id="rId182" Type="http://schemas.openxmlformats.org/officeDocument/2006/relationships/slide" Target="slides/slide179.xml"/><Relationship Id="rId217" Type="http://schemas.openxmlformats.org/officeDocument/2006/relationships/slide" Target="slides/slide214.xml"/><Relationship Id="rId6" Type="http://schemas.openxmlformats.org/officeDocument/2006/relationships/slide" Target="slides/slide3.xml"/><Relationship Id="rId238" Type="http://schemas.openxmlformats.org/officeDocument/2006/relationships/slide" Target="slides/slide235.xml"/><Relationship Id="rId23" Type="http://schemas.openxmlformats.org/officeDocument/2006/relationships/slide" Target="slides/slide20.xml"/><Relationship Id="rId119" Type="http://schemas.openxmlformats.org/officeDocument/2006/relationships/slide" Target="slides/slide116.xml"/><Relationship Id="rId44" Type="http://schemas.openxmlformats.org/officeDocument/2006/relationships/slide" Target="slides/slide41.xml"/><Relationship Id="rId65" Type="http://schemas.openxmlformats.org/officeDocument/2006/relationships/slide" Target="slides/slide62.xml"/><Relationship Id="rId86" Type="http://schemas.openxmlformats.org/officeDocument/2006/relationships/slide" Target="slides/slide83.xml"/><Relationship Id="rId130" Type="http://schemas.openxmlformats.org/officeDocument/2006/relationships/slide" Target="slides/slide127.xml"/><Relationship Id="rId151" Type="http://schemas.openxmlformats.org/officeDocument/2006/relationships/slide" Target="slides/slide148.xml"/><Relationship Id="rId172" Type="http://schemas.openxmlformats.org/officeDocument/2006/relationships/slide" Target="slides/slide169.xml"/><Relationship Id="rId193" Type="http://schemas.openxmlformats.org/officeDocument/2006/relationships/slide" Target="slides/slide190.xml"/><Relationship Id="rId207" Type="http://schemas.openxmlformats.org/officeDocument/2006/relationships/slide" Target="slides/slide204.xml"/><Relationship Id="rId228" Type="http://schemas.openxmlformats.org/officeDocument/2006/relationships/slide" Target="slides/slide225.xml"/><Relationship Id="rId249" Type="http://schemas.openxmlformats.org/officeDocument/2006/relationships/presProps" Target="presProps.xml"/><Relationship Id="rId13" Type="http://schemas.openxmlformats.org/officeDocument/2006/relationships/slide" Target="slides/slide10.xml"/><Relationship Id="rId109" Type="http://schemas.openxmlformats.org/officeDocument/2006/relationships/slide" Target="slides/slide106.xml"/><Relationship Id="rId34" Type="http://schemas.openxmlformats.org/officeDocument/2006/relationships/slide" Target="slides/slide31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20" Type="http://schemas.openxmlformats.org/officeDocument/2006/relationships/slide" Target="slides/slide117.xml"/><Relationship Id="rId141" Type="http://schemas.openxmlformats.org/officeDocument/2006/relationships/slide" Target="slides/slide138.xml"/><Relationship Id="rId7" Type="http://schemas.openxmlformats.org/officeDocument/2006/relationships/slide" Target="slides/slide4.xml"/><Relationship Id="rId162" Type="http://schemas.openxmlformats.org/officeDocument/2006/relationships/slide" Target="slides/slide159.xml"/><Relationship Id="rId183" Type="http://schemas.openxmlformats.org/officeDocument/2006/relationships/slide" Target="slides/slide180.xml"/><Relationship Id="rId218" Type="http://schemas.openxmlformats.org/officeDocument/2006/relationships/slide" Target="slides/slide215.xml"/><Relationship Id="rId239" Type="http://schemas.openxmlformats.org/officeDocument/2006/relationships/slide" Target="slides/slide236.xml"/><Relationship Id="rId250" Type="http://schemas.openxmlformats.org/officeDocument/2006/relationships/viewProps" Target="viewProps.xml"/><Relationship Id="rId24" Type="http://schemas.openxmlformats.org/officeDocument/2006/relationships/slide" Target="slides/slide21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110" Type="http://schemas.openxmlformats.org/officeDocument/2006/relationships/slide" Target="slides/slide107.xml"/><Relationship Id="rId131" Type="http://schemas.openxmlformats.org/officeDocument/2006/relationships/slide" Target="slides/slide128.xml"/><Relationship Id="rId152" Type="http://schemas.openxmlformats.org/officeDocument/2006/relationships/slide" Target="slides/slide149.xml"/><Relationship Id="rId173" Type="http://schemas.openxmlformats.org/officeDocument/2006/relationships/slide" Target="slides/slide170.xml"/><Relationship Id="rId194" Type="http://schemas.openxmlformats.org/officeDocument/2006/relationships/slide" Target="slides/slide191.xml"/><Relationship Id="rId208" Type="http://schemas.openxmlformats.org/officeDocument/2006/relationships/slide" Target="slides/slide205.xml"/><Relationship Id="rId229" Type="http://schemas.openxmlformats.org/officeDocument/2006/relationships/slide" Target="slides/slide226.xml"/><Relationship Id="rId240" Type="http://schemas.openxmlformats.org/officeDocument/2006/relationships/slide" Target="slides/slide237.xml"/><Relationship Id="rId14" Type="http://schemas.openxmlformats.org/officeDocument/2006/relationships/slide" Target="slides/slide11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8" Type="http://schemas.openxmlformats.org/officeDocument/2006/relationships/slide" Target="slides/slide5.xml"/><Relationship Id="rId98" Type="http://schemas.openxmlformats.org/officeDocument/2006/relationships/slide" Target="slides/slide95.xml"/><Relationship Id="rId121" Type="http://schemas.openxmlformats.org/officeDocument/2006/relationships/slide" Target="slides/slide118.xml"/><Relationship Id="rId142" Type="http://schemas.openxmlformats.org/officeDocument/2006/relationships/slide" Target="slides/slide139.xml"/><Relationship Id="rId163" Type="http://schemas.openxmlformats.org/officeDocument/2006/relationships/slide" Target="slides/slide160.xml"/><Relationship Id="rId184" Type="http://schemas.openxmlformats.org/officeDocument/2006/relationships/slide" Target="slides/slide181.xml"/><Relationship Id="rId219" Type="http://schemas.openxmlformats.org/officeDocument/2006/relationships/slide" Target="slides/slide216.xml"/><Relationship Id="rId230" Type="http://schemas.openxmlformats.org/officeDocument/2006/relationships/slide" Target="slides/slide227.xml"/><Relationship Id="rId251" Type="http://schemas.openxmlformats.org/officeDocument/2006/relationships/theme" Target="theme/theme1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88" Type="http://schemas.openxmlformats.org/officeDocument/2006/relationships/slide" Target="slides/slide85.xml"/><Relationship Id="rId111" Type="http://schemas.openxmlformats.org/officeDocument/2006/relationships/slide" Target="slides/slide108.xml"/><Relationship Id="rId132" Type="http://schemas.openxmlformats.org/officeDocument/2006/relationships/slide" Target="slides/slide129.xml"/><Relationship Id="rId153" Type="http://schemas.openxmlformats.org/officeDocument/2006/relationships/slide" Target="slides/slide150.xml"/><Relationship Id="rId174" Type="http://schemas.openxmlformats.org/officeDocument/2006/relationships/slide" Target="slides/slide171.xml"/><Relationship Id="rId195" Type="http://schemas.openxmlformats.org/officeDocument/2006/relationships/slide" Target="slides/slide192.xml"/><Relationship Id="rId209" Type="http://schemas.openxmlformats.org/officeDocument/2006/relationships/slide" Target="slides/slide206.xml"/><Relationship Id="rId220" Type="http://schemas.openxmlformats.org/officeDocument/2006/relationships/slide" Target="slides/slide217.xml"/><Relationship Id="rId241" Type="http://schemas.openxmlformats.org/officeDocument/2006/relationships/slide" Target="slides/slide238.xml"/><Relationship Id="rId15" Type="http://schemas.openxmlformats.org/officeDocument/2006/relationships/slide" Target="slides/slide12.xml"/><Relationship Id="rId36" Type="http://schemas.openxmlformats.org/officeDocument/2006/relationships/slide" Target="slides/slide33.xml"/><Relationship Id="rId57" Type="http://schemas.openxmlformats.org/officeDocument/2006/relationships/slide" Target="slides/slide54.xml"/><Relationship Id="rId78" Type="http://schemas.openxmlformats.org/officeDocument/2006/relationships/slide" Target="slides/slide75.xml"/><Relationship Id="rId99" Type="http://schemas.openxmlformats.org/officeDocument/2006/relationships/slide" Target="slides/slide96.xml"/><Relationship Id="rId101" Type="http://schemas.openxmlformats.org/officeDocument/2006/relationships/slide" Target="slides/slide98.xml"/><Relationship Id="rId122" Type="http://schemas.openxmlformats.org/officeDocument/2006/relationships/slide" Target="slides/slide119.xml"/><Relationship Id="rId143" Type="http://schemas.openxmlformats.org/officeDocument/2006/relationships/slide" Target="slides/slide140.xml"/><Relationship Id="rId164" Type="http://schemas.openxmlformats.org/officeDocument/2006/relationships/slide" Target="slides/slide161.xml"/><Relationship Id="rId185" Type="http://schemas.openxmlformats.org/officeDocument/2006/relationships/slide" Target="slides/slide18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80" Type="http://schemas.openxmlformats.org/officeDocument/2006/relationships/slide" Target="slides/slide177.xml"/><Relationship Id="rId210" Type="http://schemas.openxmlformats.org/officeDocument/2006/relationships/slide" Target="slides/slide207.xml"/><Relationship Id="rId215" Type="http://schemas.openxmlformats.org/officeDocument/2006/relationships/slide" Target="slides/slide212.xml"/><Relationship Id="rId236" Type="http://schemas.openxmlformats.org/officeDocument/2006/relationships/slide" Target="slides/slide233.xml"/><Relationship Id="rId26" Type="http://schemas.openxmlformats.org/officeDocument/2006/relationships/slide" Target="slides/slide23.xml"/><Relationship Id="rId231" Type="http://schemas.openxmlformats.org/officeDocument/2006/relationships/slide" Target="slides/slide228.xml"/><Relationship Id="rId252" Type="http://schemas.openxmlformats.org/officeDocument/2006/relationships/tableStyles" Target="tableStyles.xml"/><Relationship Id="rId47" Type="http://schemas.openxmlformats.org/officeDocument/2006/relationships/slide" Target="slides/slide44.xml"/><Relationship Id="rId68" Type="http://schemas.openxmlformats.org/officeDocument/2006/relationships/slide" Target="slides/slide65.xml"/><Relationship Id="rId89" Type="http://schemas.openxmlformats.org/officeDocument/2006/relationships/slide" Target="slides/slide86.xml"/><Relationship Id="rId112" Type="http://schemas.openxmlformats.org/officeDocument/2006/relationships/slide" Target="slides/slide109.xml"/><Relationship Id="rId133" Type="http://schemas.openxmlformats.org/officeDocument/2006/relationships/slide" Target="slides/slide130.xml"/><Relationship Id="rId154" Type="http://schemas.openxmlformats.org/officeDocument/2006/relationships/slide" Target="slides/slide151.xml"/><Relationship Id="rId175" Type="http://schemas.openxmlformats.org/officeDocument/2006/relationships/slide" Target="slides/slide172.xml"/><Relationship Id="rId196" Type="http://schemas.openxmlformats.org/officeDocument/2006/relationships/slide" Target="slides/slide193.xml"/><Relationship Id="rId200" Type="http://schemas.openxmlformats.org/officeDocument/2006/relationships/slide" Target="slides/slide197.xml"/><Relationship Id="rId16" Type="http://schemas.openxmlformats.org/officeDocument/2006/relationships/slide" Target="slides/slide13.xml"/><Relationship Id="rId221" Type="http://schemas.openxmlformats.org/officeDocument/2006/relationships/slide" Target="slides/slide218.xml"/><Relationship Id="rId242" Type="http://schemas.openxmlformats.org/officeDocument/2006/relationships/slide" Target="slides/slide239.xml"/><Relationship Id="rId37" Type="http://schemas.openxmlformats.org/officeDocument/2006/relationships/slide" Target="slides/slide34.xml"/><Relationship Id="rId58" Type="http://schemas.openxmlformats.org/officeDocument/2006/relationships/slide" Target="slides/slide55.xml"/><Relationship Id="rId79" Type="http://schemas.openxmlformats.org/officeDocument/2006/relationships/slide" Target="slides/slide76.xml"/><Relationship Id="rId102" Type="http://schemas.openxmlformats.org/officeDocument/2006/relationships/slide" Target="slides/slide99.xml"/><Relationship Id="rId123" Type="http://schemas.openxmlformats.org/officeDocument/2006/relationships/slide" Target="slides/slide120.xml"/><Relationship Id="rId144" Type="http://schemas.openxmlformats.org/officeDocument/2006/relationships/slide" Target="slides/slide141.xml"/><Relationship Id="rId90" Type="http://schemas.openxmlformats.org/officeDocument/2006/relationships/slide" Target="slides/slide87.xml"/><Relationship Id="rId165" Type="http://schemas.openxmlformats.org/officeDocument/2006/relationships/slide" Target="slides/slide162.xml"/><Relationship Id="rId186" Type="http://schemas.openxmlformats.org/officeDocument/2006/relationships/slide" Target="slides/slide183.xml"/><Relationship Id="rId211" Type="http://schemas.openxmlformats.org/officeDocument/2006/relationships/slide" Target="slides/slide208.xml"/><Relationship Id="rId232" Type="http://schemas.openxmlformats.org/officeDocument/2006/relationships/slide" Target="slides/slide229.xml"/><Relationship Id="rId27" Type="http://schemas.openxmlformats.org/officeDocument/2006/relationships/slide" Target="slides/slide24.xml"/><Relationship Id="rId48" Type="http://schemas.openxmlformats.org/officeDocument/2006/relationships/slide" Target="slides/slide45.xml"/><Relationship Id="rId69" Type="http://schemas.openxmlformats.org/officeDocument/2006/relationships/slide" Target="slides/slide66.xml"/><Relationship Id="rId113" Type="http://schemas.openxmlformats.org/officeDocument/2006/relationships/slide" Target="slides/slide110.xml"/><Relationship Id="rId134" Type="http://schemas.openxmlformats.org/officeDocument/2006/relationships/slide" Target="slides/slide131.xml"/><Relationship Id="rId80" Type="http://schemas.openxmlformats.org/officeDocument/2006/relationships/slide" Target="slides/slide77.xml"/><Relationship Id="rId155" Type="http://schemas.openxmlformats.org/officeDocument/2006/relationships/slide" Target="slides/slide152.xml"/><Relationship Id="rId176" Type="http://schemas.openxmlformats.org/officeDocument/2006/relationships/slide" Target="slides/slide173.xml"/><Relationship Id="rId197" Type="http://schemas.openxmlformats.org/officeDocument/2006/relationships/slide" Target="slides/slide194.xml"/><Relationship Id="rId201" Type="http://schemas.openxmlformats.org/officeDocument/2006/relationships/slide" Target="slides/slide198.xml"/><Relationship Id="rId222" Type="http://schemas.openxmlformats.org/officeDocument/2006/relationships/slide" Target="slides/slide219.xml"/><Relationship Id="rId243" Type="http://schemas.openxmlformats.org/officeDocument/2006/relationships/slide" Target="slides/slide240.xml"/><Relationship Id="rId17" Type="http://schemas.openxmlformats.org/officeDocument/2006/relationships/slide" Target="slides/slide14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slide" Target="slides/slide100.xml"/><Relationship Id="rId124" Type="http://schemas.openxmlformats.org/officeDocument/2006/relationships/slide" Target="slides/slide121.xml"/><Relationship Id="rId70" Type="http://schemas.openxmlformats.org/officeDocument/2006/relationships/slide" Target="slides/slide67.xml"/><Relationship Id="rId91" Type="http://schemas.openxmlformats.org/officeDocument/2006/relationships/slide" Target="slides/slide88.xml"/><Relationship Id="rId145" Type="http://schemas.openxmlformats.org/officeDocument/2006/relationships/slide" Target="slides/slide142.xml"/><Relationship Id="rId166" Type="http://schemas.openxmlformats.org/officeDocument/2006/relationships/slide" Target="slides/slide163.xml"/><Relationship Id="rId187" Type="http://schemas.openxmlformats.org/officeDocument/2006/relationships/slide" Target="slides/slide184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09.xml"/><Relationship Id="rId233" Type="http://schemas.openxmlformats.org/officeDocument/2006/relationships/slide" Target="slides/slide230.xml"/><Relationship Id="rId28" Type="http://schemas.openxmlformats.org/officeDocument/2006/relationships/slide" Target="slides/slide25.xml"/><Relationship Id="rId49" Type="http://schemas.openxmlformats.org/officeDocument/2006/relationships/slide" Target="slides/slide46.xml"/><Relationship Id="rId114" Type="http://schemas.openxmlformats.org/officeDocument/2006/relationships/slide" Target="slides/slide111.xml"/><Relationship Id="rId60" Type="http://schemas.openxmlformats.org/officeDocument/2006/relationships/slide" Target="slides/slide57.xml"/><Relationship Id="rId81" Type="http://schemas.openxmlformats.org/officeDocument/2006/relationships/slide" Target="slides/slide78.xml"/><Relationship Id="rId135" Type="http://schemas.openxmlformats.org/officeDocument/2006/relationships/slide" Target="slides/slide132.xml"/><Relationship Id="rId156" Type="http://schemas.openxmlformats.org/officeDocument/2006/relationships/slide" Target="slides/slide153.xml"/><Relationship Id="rId177" Type="http://schemas.openxmlformats.org/officeDocument/2006/relationships/slide" Target="slides/slide174.xml"/><Relationship Id="rId198" Type="http://schemas.openxmlformats.org/officeDocument/2006/relationships/slide" Target="slides/slide195.xml"/><Relationship Id="rId202" Type="http://schemas.openxmlformats.org/officeDocument/2006/relationships/slide" Target="slides/slide199.xml"/><Relationship Id="rId223" Type="http://schemas.openxmlformats.org/officeDocument/2006/relationships/slide" Target="slides/slide220.xml"/><Relationship Id="rId244" Type="http://schemas.openxmlformats.org/officeDocument/2006/relationships/slide" Target="slides/slide241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50" Type="http://schemas.openxmlformats.org/officeDocument/2006/relationships/slide" Target="slides/slide47.xml"/><Relationship Id="rId104" Type="http://schemas.openxmlformats.org/officeDocument/2006/relationships/slide" Target="slides/slide101.xml"/><Relationship Id="rId125" Type="http://schemas.openxmlformats.org/officeDocument/2006/relationships/slide" Target="slides/slide122.xml"/><Relationship Id="rId146" Type="http://schemas.openxmlformats.org/officeDocument/2006/relationships/slide" Target="slides/slide143.xml"/><Relationship Id="rId167" Type="http://schemas.openxmlformats.org/officeDocument/2006/relationships/slide" Target="slides/slide164.xml"/><Relationship Id="rId188" Type="http://schemas.openxmlformats.org/officeDocument/2006/relationships/slide" Target="slides/slide185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13" Type="http://schemas.openxmlformats.org/officeDocument/2006/relationships/slide" Target="slides/slide210.xml"/><Relationship Id="rId234" Type="http://schemas.openxmlformats.org/officeDocument/2006/relationships/slide" Target="slides/slide23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40" Type="http://schemas.openxmlformats.org/officeDocument/2006/relationships/slide" Target="slides/slide37.xml"/><Relationship Id="rId115" Type="http://schemas.openxmlformats.org/officeDocument/2006/relationships/slide" Target="slides/slide112.xml"/><Relationship Id="rId136" Type="http://schemas.openxmlformats.org/officeDocument/2006/relationships/slide" Target="slides/slide133.xml"/><Relationship Id="rId157" Type="http://schemas.openxmlformats.org/officeDocument/2006/relationships/slide" Target="slides/slide154.xml"/><Relationship Id="rId178" Type="http://schemas.openxmlformats.org/officeDocument/2006/relationships/slide" Target="slides/slide175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9" Type="http://schemas.openxmlformats.org/officeDocument/2006/relationships/slide" Target="slides/slide196.xml"/><Relationship Id="rId203" Type="http://schemas.openxmlformats.org/officeDocument/2006/relationships/slide" Target="slides/slide200.xml"/><Relationship Id="rId19" Type="http://schemas.openxmlformats.org/officeDocument/2006/relationships/slide" Target="slides/slide16.xml"/><Relationship Id="rId224" Type="http://schemas.openxmlformats.org/officeDocument/2006/relationships/slide" Target="slides/slide221.xml"/><Relationship Id="rId245" Type="http://schemas.openxmlformats.org/officeDocument/2006/relationships/slide" Target="slides/slide242.xml"/><Relationship Id="rId30" Type="http://schemas.openxmlformats.org/officeDocument/2006/relationships/slide" Target="slides/slide27.xml"/><Relationship Id="rId105" Type="http://schemas.openxmlformats.org/officeDocument/2006/relationships/slide" Target="slides/slide102.xml"/><Relationship Id="rId126" Type="http://schemas.openxmlformats.org/officeDocument/2006/relationships/slide" Target="slides/slide123.xml"/><Relationship Id="rId147" Type="http://schemas.openxmlformats.org/officeDocument/2006/relationships/slide" Target="slides/slide144.xml"/><Relationship Id="rId168" Type="http://schemas.openxmlformats.org/officeDocument/2006/relationships/slide" Target="slides/slide16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189" Type="http://schemas.openxmlformats.org/officeDocument/2006/relationships/slide" Target="slides/slide186.xml"/><Relationship Id="rId3" Type="http://schemas.openxmlformats.org/officeDocument/2006/relationships/slideMaster" Target="slideMasters/slideMaster3.xml"/><Relationship Id="rId214" Type="http://schemas.openxmlformats.org/officeDocument/2006/relationships/slide" Target="slides/slide211.xml"/><Relationship Id="rId235" Type="http://schemas.openxmlformats.org/officeDocument/2006/relationships/slide" Target="slides/slide232.xml"/><Relationship Id="rId116" Type="http://schemas.openxmlformats.org/officeDocument/2006/relationships/slide" Target="slides/slide113.xml"/><Relationship Id="rId137" Type="http://schemas.openxmlformats.org/officeDocument/2006/relationships/slide" Target="slides/slide134.xml"/><Relationship Id="rId158" Type="http://schemas.openxmlformats.org/officeDocument/2006/relationships/slide" Target="slides/slide155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slide" Target="slides/slide80.xml"/><Relationship Id="rId179" Type="http://schemas.openxmlformats.org/officeDocument/2006/relationships/slide" Target="slides/slide176.xml"/><Relationship Id="rId190" Type="http://schemas.openxmlformats.org/officeDocument/2006/relationships/slide" Target="slides/slide187.xml"/><Relationship Id="rId204" Type="http://schemas.openxmlformats.org/officeDocument/2006/relationships/slide" Target="slides/slide201.xml"/><Relationship Id="rId225" Type="http://schemas.openxmlformats.org/officeDocument/2006/relationships/slide" Target="slides/slide222.xml"/><Relationship Id="rId246" Type="http://schemas.openxmlformats.org/officeDocument/2006/relationships/notesMaster" Target="notesMasters/notesMaster1.xml"/><Relationship Id="rId106" Type="http://schemas.openxmlformats.org/officeDocument/2006/relationships/slide" Target="slides/slide103.xml"/><Relationship Id="rId127" Type="http://schemas.openxmlformats.org/officeDocument/2006/relationships/slide" Target="slides/slide12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52" Type="http://schemas.openxmlformats.org/officeDocument/2006/relationships/slide" Target="slides/slide49.xml"/><Relationship Id="rId73" Type="http://schemas.openxmlformats.org/officeDocument/2006/relationships/slide" Target="slides/slide70.xml"/><Relationship Id="rId94" Type="http://schemas.openxmlformats.org/officeDocument/2006/relationships/slide" Target="slides/slide91.xml"/><Relationship Id="rId148" Type="http://schemas.openxmlformats.org/officeDocument/2006/relationships/slide" Target="slides/slide145.xml"/><Relationship Id="rId169" Type="http://schemas.openxmlformats.org/officeDocument/2006/relationships/slide" Target="slides/slide16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뉴스건수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8월 3일</c:v>
                </c:pt>
                <c:pt idx="1">
                  <c:v>8월 4일</c:v>
                </c:pt>
                <c:pt idx="2">
                  <c:v>8월 5일</c:v>
                </c:pt>
                <c:pt idx="3">
                  <c:v>8월 6일</c:v>
                </c:pt>
                <c:pt idx="4">
                  <c:v>8월 7일</c:v>
                </c:pt>
                <c:pt idx="5">
                  <c:v>8월 8일</c:v>
                </c:pt>
                <c:pt idx="6">
                  <c:v>8월 9일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35</c:v>
                </c:pt>
                <c:pt idx="1">
                  <c:v>17</c:v>
                </c:pt>
                <c:pt idx="2">
                  <c:v>5</c:v>
                </c:pt>
                <c:pt idx="3">
                  <c:v>10</c:v>
                </c:pt>
                <c:pt idx="4">
                  <c:v>43</c:v>
                </c:pt>
                <c:pt idx="5">
                  <c:v>56</c:v>
                </c:pt>
                <c:pt idx="6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DE-4C4A-B1AF-A3201950A6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9948191"/>
        <c:axId val="769944863"/>
      </c:barChart>
      <c:catAx>
        <c:axId val="7699481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769944863"/>
        <c:crosses val="autoZero"/>
        <c:auto val="1"/>
        <c:lblAlgn val="ctr"/>
        <c:lblOffset val="100"/>
        <c:noMultiLvlLbl val="0"/>
      </c:catAx>
      <c:valAx>
        <c:axId val="7699448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7699481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438605112252481"/>
          <c:y val="0"/>
          <c:w val="0.13581254504485257"/>
          <c:h val="4.27116937336443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5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기후변화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8월 2일</c:v>
                </c:pt>
                <c:pt idx="1">
                  <c:v>8월 3일</c:v>
                </c:pt>
                <c:pt idx="2">
                  <c:v>8월 4일</c:v>
                </c:pt>
                <c:pt idx="3">
                  <c:v>8월 5일</c:v>
                </c:pt>
                <c:pt idx="4">
                  <c:v>8월 6일</c:v>
                </c:pt>
                <c:pt idx="5">
                  <c:v>8월 7일</c:v>
                </c:pt>
                <c:pt idx="6">
                  <c:v>8월 8일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32</c:v>
                </c:pt>
                <c:pt idx="1">
                  <c:v>128</c:v>
                </c:pt>
                <c:pt idx="2">
                  <c:v>58</c:v>
                </c:pt>
                <c:pt idx="3">
                  <c:v>19</c:v>
                </c:pt>
                <c:pt idx="4">
                  <c:v>23</c:v>
                </c:pt>
                <c:pt idx="5">
                  <c:v>78</c:v>
                </c:pt>
                <c:pt idx="6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C3-44A5-A7E7-19C65D1C24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에너지전환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8월 2일</c:v>
                </c:pt>
                <c:pt idx="1">
                  <c:v>8월 3일</c:v>
                </c:pt>
                <c:pt idx="2">
                  <c:v>8월 4일</c:v>
                </c:pt>
                <c:pt idx="3">
                  <c:v>8월 5일</c:v>
                </c:pt>
                <c:pt idx="4">
                  <c:v>8월 6일</c:v>
                </c:pt>
                <c:pt idx="5">
                  <c:v>8월 7일</c:v>
                </c:pt>
                <c:pt idx="6">
                  <c:v>8월 8일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3</c:v>
                </c:pt>
                <c:pt idx="3">
                  <c:v>0</c:v>
                </c:pt>
                <c:pt idx="4">
                  <c:v>5</c:v>
                </c:pt>
                <c:pt idx="5">
                  <c:v>3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3-44A5-A7E7-19C65D1C243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자원및순환경제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8월 2일</c:v>
                </c:pt>
                <c:pt idx="1">
                  <c:v>8월 3일</c:v>
                </c:pt>
                <c:pt idx="2">
                  <c:v>8월 4일</c:v>
                </c:pt>
                <c:pt idx="3">
                  <c:v>8월 5일</c:v>
                </c:pt>
                <c:pt idx="4">
                  <c:v>8월 6일</c:v>
                </c:pt>
                <c:pt idx="5">
                  <c:v>8월 7일</c:v>
                </c:pt>
                <c:pt idx="6">
                  <c:v>8월 8일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5</c:v>
                </c:pt>
                <c:pt idx="1">
                  <c:v>49</c:v>
                </c:pt>
                <c:pt idx="2">
                  <c:v>28</c:v>
                </c:pt>
                <c:pt idx="3">
                  <c:v>2</c:v>
                </c:pt>
                <c:pt idx="4">
                  <c:v>9</c:v>
                </c:pt>
                <c:pt idx="5">
                  <c:v>10</c:v>
                </c:pt>
                <c:pt idx="6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3-44A5-A7E7-19C65D1C243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오염및폐기물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8월 2일</c:v>
                </c:pt>
                <c:pt idx="1">
                  <c:v>8월 3일</c:v>
                </c:pt>
                <c:pt idx="2">
                  <c:v>8월 4일</c:v>
                </c:pt>
                <c:pt idx="3">
                  <c:v>8월 5일</c:v>
                </c:pt>
                <c:pt idx="4">
                  <c:v>8월 6일</c:v>
                </c:pt>
                <c:pt idx="5">
                  <c:v>8월 7일</c:v>
                </c:pt>
                <c:pt idx="6">
                  <c:v>8월 8일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  <c:pt idx="0">
                  <c:v>248</c:v>
                </c:pt>
                <c:pt idx="1">
                  <c:v>204</c:v>
                </c:pt>
                <c:pt idx="2">
                  <c:v>132</c:v>
                </c:pt>
                <c:pt idx="3">
                  <c:v>28</c:v>
                </c:pt>
                <c:pt idx="4">
                  <c:v>12</c:v>
                </c:pt>
                <c:pt idx="5">
                  <c:v>65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CC3-44A5-A7E7-19C65D1C2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177165439"/>
        <c:axId val="1177157951"/>
      </c:barChart>
      <c:catAx>
        <c:axId val="1177165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177157951"/>
        <c:crosses val="autoZero"/>
        <c:auto val="1"/>
        <c:lblAlgn val="ctr"/>
        <c:lblOffset val="100"/>
        <c:noMultiLvlLbl val="0"/>
      </c:catAx>
      <c:valAx>
        <c:axId val="11771579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177165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635958890778194"/>
          <c:y val="0"/>
          <c:w val="0.6421837056811518"/>
          <c:h val="0.7544903234202179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판매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83-449F-B8C3-E2E01482C3F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83-449F-B8C3-E2E01482C3F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83-449F-B8C3-E2E01482C3F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83-449F-B8C3-E2E01482C3F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4AC-4447-80A6-F7F941F6568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4AC-4447-80A6-F7F941F6568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4AC-4447-80A6-F7F941F6568C}"/>
              </c:ext>
            </c:extLst>
          </c:dPt>
          <c:cat>
            <c:strRef>
              <c:f>Sheet1!$A$2:$A$8</c:f>
              <c:strCache>
                <c:ptCount val="7"/>
                <c:pt idx="0">
                  <c:v>환경(E)</c:v>
                </c:pt>
                <c:pt idx="1">
                  <c:v>사회(S)</c:v>
                </c:pt>
                <c:pt idx="2">
                  <c:v>거버넌스(G)</c:v>
                </c:pt>
                <c:pt idx="3">
                  <c:v>금융</c:v>
                </c:pt>
                <c:pt idx="4">
                  <c:v>ESG Tax</c:v>
                </c:pt>
                <c:pt idx="5">
                  <c:v>ESG Deal</c:v>
                </c:pt>
                <c:pt idx="6">
                  <c:v>공시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2</c:v>
                </c:pt>
                <c:pt idx="1">
                  <c:v>480</c:v>
                </c:pt>
                <c:pt idx="2">
                  <c:v>250</c:v>
                </c:pt>
                <c:pt idx="3">
                  <c:v>120</c:v>
                </c:pt>
                <c:pt idx="4">
                  <c:v>69</c:v>
                </c:pt>
                <c:pt idx="5">
                  <c:v>58</c:v>
                </c:pt>
                <c:pt idx="6">
                  <c:v>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A83-449F-B8C3-E2E01482C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altLang="ko-KR" smtClean="0"/>
              <a:t>10/17/2023</a:t>
            </a:fld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altLang="ko-KR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fld id="{7850AB23-24A6-494C-BA00-B87242B78CB4}" type="datetimeFigureOut">
              <a:rPr lang="en-US" altLang="ko-KR" smtClean="0"/>
              <a:pPr/>
              <a:t>10/17/2023</a:t>
            </a:fld>
            <a:endParaRPr lang="ko-KR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  <a:endParaRPr lang="ko-KR" altLang="en-US"/>
          </a:p>
          <a:p>
            <a:pPr lvl="2"/>
            <a:r>
              <a:rPr lang="en-US" altLang="ko-KR"/>
              <a:t>Third level</a:t>
            </a:r>
            <a:endParaRPr lang="ko-KR" altLang="en-US"/>
          </a:p>
          <a:p>
            <a:pPr lvl="3"/>
            <a:r>
              <a:rPr lang="en-US" altLang="ko-KR"/>
              <a:t>Fourth level</a:t>
            </a:r>
            <a:endParaRPr lang="ko-KR" altLang="en-US"/>
          </a:p>
          <a:p>
            <a:pPr lvl="4"/>
            <a:r>
              <a:rPr lang="en-US" altLang="ko-KR"/>
              <a:t>Fifth level</a:t>
            </a:r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fld id="{20CA530D-631F-4981-98F0-E6C07C67E1A3}" type="slidenum">
              <a:rPr lang="en-US" altLang="ko-KR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1pPr>
    <a:lvl2pPr marL="488586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2pPr>
    <a:lvl3pPr marL="977172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3pPr>
    <a:lvl4pPr marL="1465758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4pPr>
    <a:lvl5pPr marL="1954344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5pPr>
    <a:lvl6pPr marL="2442930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6pPr>
    <a:lvl7pPr marL="2931517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7pPr>
    <a:lvl8pPr marL="3420102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8pPr>
    <a:lvl9pPr marL="3908689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1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1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1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1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1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1.xml"/><Relationship Id="rId1" Type="http://schemas.openxmlformats.org/officeDocument/2006/relationships/notesMaster" Target="../notesMasters/notesMaster1.xml"/></Relationships>
</file>

<file path=ppt/notesSlides/_rels/notesSlide1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2.xml"/><Relationship Id="rId1" Type="http://schemas.openxmlformats.org/officeDocument/2006/relationships/notesMaster" Target="../notesMasters/notesMaster1.xml"/></Relationships>
</file>

<file path=ppt/notesSlides/_rels/notesSlide1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1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1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6.xml"/><Relationship Id="rId1" Type="http://schemas.openxmlformats.org/officeDocument/2006/relationships/notesMaster" Target="../notesMasters/notesMaster1.xml"/></Relationships>
</file>

<file path=ppt/notesSlides/_rels/notesSlide1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7.xml"/><Relationship Id="rId1" Type="http://schemas.openxmlformats.org/officeDocument/2006/relationships/notesMaster" Target="../notesMasters/notesMaster1.xml"/></Relationships>
</file>

<file path=ppt/notesSlides/_rels/notesSlide1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8.xml"/><Relationship Id="rId1" Type="http://schemas.openxmlformats.org/officeDocument/2006/relationships/notesMaster" Target="../notesMasters/notesMaster1.xml"/></Relationships>
</file>

<file path=ppt/notesSlides/_rels/notesSlide1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9.xml"/><Relationship Id="rId1" Type="http://schemas.openxmlformats.org/officeDocument/2006/relationships/notesMaster" Target="../notesMasters/notesMaster1.xml"/></Relationships>
</file>

<file path=ppt/notesSlides/_rels/notesSlide1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0.xml"/><Relationship Id="rId1" Type="http://schemas.openxmlformats.org/officeDocument/2006/relationships/notesMaster" Target="../notesMasters/notesMaster1.xml"/></Relationships>
</file>

<file path=ppt/notesSlides/_rels/notesSlide1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1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2.xml"/><Relationship Id="rId1" Type="http://schemas.openxmlformats.org/officeDocument/2006/relationships/notesMaster" Target="../notesMasters/notesMaster1.xml"/></Relationships>
</file>

<file path=ppt/notesSlides/_rels/notesSlide1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1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1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6.xml"/><Relationship Id="rId1" Type="http://schemas.openxmlformats.org/officeDocument/2006/relationships/notesMaster" Target="../notesMasters/notesMaster1.xml"/></Relationships>
</file>

<file path=ppt/notesSlides/_rels/notesSlide1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7.xml"/><Relationship Id="rId1" Type="http://schemas.openxmlformats.org/officeDocument/2006/relationships/notesMaster" Target="../notesMasters/notesMaster1.xml"/></Relationships>
</file>

<file path=ppt/notesSlides/_rels/notesSlide1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1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1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0.xml"/><Relationship Id="rId1" Type="http://schemas.openxmlformats.org/officeDocument/2006/relationships/notesMaster" Target="../notesMasters/notesMaster1.xml"/></Relationships>
</file>

<file path=ppt/notesSlides/_rels/notesSlide1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1.xml"/><Relationship Id="rId1" Type="http://schemas.openxmlformats.org/officeDocument/2006/relationships/notesMaster" Target="../notesMasters/notesMaster1.xml"/></Relationships>
</file>

<file path=ppt/notesSlides/_rels/notesSlide1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2.xml"/><Relationship Id="rId1" Type="http://schemas.openxmlformats.org/officeDocument/2006/relationships/notesMaster" Target="../notesMasters/notesMaster1.xml"/></Relationships>
</file>

<file path=ppt/notesSlides/_rels/notesSlide1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3.xml"/><Relationship Id="rId1" Type="http://schemas.openxmlformats.org/officeDocument/2006/relationships/notesMaster" Target="../notesMasters/notesMaster1.xml"/></Relationships>
</file>

<file path=ppt/notesSlides/_rels/notesSlide1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5.xml"/><Relationship Id="rId1" Type="http://schemas.openxmlformats.org/officeDocument/2006/relationships/notesMaster" Target="../notesMasters/notesMaster1.xml"/></Relationships>
</file>

<file path=ppt/notesSlides/_rels/notesSlide1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6.xml"/><Relationship Id="rId1" Type="http://schemas.openxmlformats.org/officeDocument/2006/relationships/notesMaster" Target="../notesMasters/notesMaster1.xml"/></Relationships>
</file>

<file path=ppt/notesSlides/_rels/notesSlide1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7.xml"/><Relationship Id="rId1" Type="http://schemas.openxmlformats.org/officeDocument/2006/relationships/notesMaster" Target="../notesMasters/notesMaster1.xml"/></Relationships>
</file>

<file path=ppt/notesSlides/_rels/notesSlide1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8.xml"/><Relationship Id="rId1" Type="http://schemas.openxmlformats.org/officeDocument/2006/relationships/notesMaster" Target="../notesMasters/notesMaster1.xml"/></Relationships>
</file>

<file path=ppt/notesSlides/_rels/notesSlide1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9.xml"/><Relationship Id="rId1" Type="http://schemas.openxmlformats.org/officeDocument/2006/relationships/notesMaster" Target="../notesMasters/notesMaster1.xml"/></Relationships>
</file>

<file path=ppt/notesSlides/_rels/notesSlide1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0.xml"/><Relationship Id="rId1" Type="http://schemas.openxmlformats.org/officeDocument/2006/relationships/notesMaster" Target="../notesMasters/notesMaster1.xml"/></Relationships>
</file>

<file path=ppt/notesSlides/_rels/notesSlide1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1.xml"/><Relationship Id="rId1" Type="http://schemas.openxmlformats.org/officeDocument/2006/relationships/notesMaster" Target="../notesMasters/notesMaster1.xml"/></Relationships>
</file>

<file path=ppt/notesSlides/_rels/notesSlide1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2.xml"/><Relationship Id="rId1" Type="http://schemas.openxmlformats.org/officeDocument/2006/relationships/notesMaster" Target="../notesMasters/notesMaster1.xml"/></Relationships>
</file>

<file path=ppt/notesSlides/_rels/notesSlide1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3.xml"/><Relationship Id="rId1" Type="http://schemas.openxmlformats.org/officeDocument/2006/relationships/notesMaster" Target="../notesMasters/notesMaster1.xml"/></Relationships>
</file>

<file path=ppt/notesSlides/_rels/notesSlide1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5.xml"/><Relationship Id="rId1" Type="http://schemas.openxmlformats.org/officeDocument/2006/relationships/notesMaster" Target="../notesMasters/notesMaster1.xml"/></Relationships>
</file>

<file path=ppt/notesSlides/_rels/notesSlide1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1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7.xml"/><Relationship Id="rId1" Type="http://schemas.openxmlformats.org/officeDocument/2006/relationships/notesMaster" Target="../notesMasters/notesMaster1.xml"/></Relationships>
</file>

<file path=ppt/notesSlides/_rels/notesSlide1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8.xml"/><Relationship Id="rId1" Type="http://schemas.openxmlformats.org/officeDocument/2006/relationships/notesMaster" Target="../notesMasters/notesMaster1.xml"/></Relationships>
</file>

<file path=ppt/notesSlides/_rels/notesSlide1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9.xml"/><Relationship Id="rId1" Type="http://schemas.openxmlformats.org/officeDocument/2006/relationships/notesMaster" Target="../notesMasters/notesMaster1.xml"/></Relationships>
</file>

<file path=ppt/notesSlides/_rels/notesSlide1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0.xml"/><Relationship Id="rId1" Type="http://schemas.openxmlformats.org/officeDocument/2006/relationships/notesMaster" Target="../notesMasters/notesMaster1.xml"/></Relationships>
</file>

<file path=ppt/notesSlides/_rels/notesSlide1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1.xml"/><Relationship Id="rId1" Type="http://schemas.openxmlformats.org/officeDocument/2006/relationships/notesMaster" Target="../notesMasters/notesMaster1.xml"/></Relationships>
</file>

<file path=ppt/notesSlides/_rels/notesSlide1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3.xml"/><Relationship Id="rId1" Type="http://schemas.openxmlformats.org/officeDocument/2006/relationships/notesMaster" Target="../notesMasters/notesMaster1.xml"/></Relationships>
</file>

<file path=ppt/notesSlides/_rels/notesSlide1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4.xml"/><Relationship Id="rId1" Type="http://schemas.openxmlformats.org/officeDocument/2006/relationships/notesMaster" Target="../notesMasters/notesMaster1.xml"/></Relationships>
</file>

<file path=ppt/notesSlides/_rels/notesSlide1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6.xml"/><Relationship Id="rId1" Type="http://schemas.openxmlformats.org/officeDocument/2006/relationships/notesMaster" Target="../notesMasters/notesMaster1.xml"/></Relationships>
</file>

<file path=ppt/notesSlides/_rels/notesSlide1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7.xml"/><Relationship Id="rId1" Type="http://schemas.openxmlformats.org/officeDocument/2006/relationships/notesMaster" Target="../notesMasters/notesMaster1.xml"/></Relationships>
</file>

<file path=ppt/notesSlides/_rels/notesSlide1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8.xml"/><Relationship Id="rId1" Type="http://schemas.openxmlformats.org/officeDocument/2006/relationships/notesMaster" Target="../notesMasters/notesMaster1.xml"/></Relationships>
</file>

<file path=ppt/notesSlides/_rels/notesSlide1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9.xml"/><Relationship Id="rId1" Type="http://schemas.openxmlformats.org/officeDocument/2006/relationships/notesMaster" Target="../notesMasters/notesMaster1.xml"/></Relationships>
</file>

<file path=ppt/notesSlides/_rels/notesSlide1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0.xml"/><Relationship Id="rId1" Type="http://schemas.openxmlformats.org/officeDocument/2006/relationships/notesMaster" Target="../notesMasters/notesMaster1.xml"/></Relationships>
</file>

<file path=ppt/notesSlides/_rels/notesSlide1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1.xml"/><Relationship Id="rId1" Type="http://schemas.openxmlformats.org/officeDocument/2006/relationships/notesMaster" Target="../notesMasters/notesMaster1.xml"/></Relationships>
</file>

<file path=ppt/notesSlides/_rels/notesSlide1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2.xml"/><Relationship Id="rId1" Type="http://schemas.openxmlformats.org/officeDocument/2006/relationships/notesMaster" Target="../notesMasters/notesMaster1.xml"/></Relationships>
</file>

<file path=ppt/notesSlides/_rels/notesSlide1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3.xml"/><Relationship Id="rId1" Type="http://schemas.openxmlformats.org/officeDocument/2006/relationships/notesMaster" Target="../notesMasters/notesMaster1.xml"/></Relationships>
</file>

<file path=ppt/notesSlides/_rels/notesSlide1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4.xml"/><Relationship Id="rId1" Type="http://schemas.openxmlformats.org/officeDocument/2006/relationships/notesMaster" Target="../notesMasters/notesMaster1.xml"/></Relationships>
</file>

<file path=ppt/notesSlides/_rels/notesSlide1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6.xml"/><Relationship Id="rId1" Type="http://schemas.openxmlformats.org/officeDocument/2006/relationships/notesMaster" Target="../notesMasters/notesMaster1.xml"/></Relationships>
</file>

<file path=ppt/notesSlides/_rels/notesSlide2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7.xml"/><Relationship Id="rId1" Type="http://schemas.openxmlformats.org/officeDocument/2006/relationships/notesMaster" Target="../notesMasters/notesMaster1.xml"/></Relationships>
</file>

<file path=ppt/notesSlides/_rels/notesSlide2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8.xml"/><Relationship Id="rId1" Type="http://schemas.openxmlformats.org/officeDocument/2006/relationships/notesMaster" Target="../notesMasters/notesMaster1.xml"/></Relationships>
</file>

<file path=ppt/notesSlides/_rels/notesSlide2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.xml"/></Relationships>
</file>

<file path=ppt/notesSlides/_rels/notesSlide2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1.xml"/><Relationship Id="rId1" Type="http://schemas.openxmlformats.org/officeDocument/2006/relationships/notesMaster" Target="../notesMasters/notesMaster1.xml"/></Relationships>
</file>

<file path=ppt/notesSlides/_rels/notesSlide2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2.xml"/><Relationship Id="rId1" Type="http://schemas.openxmlformats.org/officeDocument/2006/relationships/notesMaster" Target="../notesMasters/notesMaster1.xml"/></Relationships>
</file>

<file path=ppt/notesSlides/_rels/notesSlide2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3.xml"/><Relationship Id="rId1" Type="http://schemas.openxmlformats.org/officeDocument/2006/relationships/notesMaster" Target="../notesMasters/notesMaster1.xml"/></Relationships>
</file>

<file path=ppt/notesSlides/_rels/notesSlide2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4.xml"/><Relationship Id="rId1" Type="http://schemas.openxmlformats.org/officeDocument/2006/relationships/notesMaster" Target="../notesMasters/notesMaster1.xml"/></Relationships>
</file>

<file path=ppt/notesSlides/_rels/notesSlide2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5.xml"/><Relationship Id="rId1" Type="http://schemas.openxmlformats.org/officeDocument/2006/relationships/notesMaster" Target="../notesMasters/notesMaster1.xml"/></Relationships>
</file>

<file path=ppt/notesSlides/_rels/notesSlide2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7.xml"/><Relationship Id="rId1" Type="http://schemas.openxmlformats.org/officeDocument/2006/relationships/notesMaster" Target="../notesMasters/notesMaster1.xml"/></Relationships>
</file>

<file path=ppt/notesSlides/_rels/notesSlide2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8.xml"/><Relationship Id="rId1" Type="http://schemas.openxmlformats.org/officeDocument/2006/relationships/notesMaster" Target="../notesMasters/notesMaster1.xml"/></Relationships>
</file>

<file path=ppt/notesSlides/_rels/notesSlide2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9.xml"/><Relationship Id="rId1" Type="http://schemas.openxmlformats.org/officeDocument/2006/relationships/notesMaster" Target="../notesMasters/notesMaster1.xml"/></Relationships>
</file>

<file path=ppt/notesSlides/_rels/notesSlide2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0.xml"/><Relationship Id="rId1" Type="http://schemas.openxmlformats.org/officeDocument/2006/relationships/notesMaster" Target="../notesMasters/notesMaster1.xml"/></Relationships>
</file>

<file path=ppt/notesSlides/_rels/notesSlide2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1.xml"/><Relationship Id="rId1" Type="http://schemas.openxmlformats.org/officeDocument/2006/relationships/notesMaster" Target="../notesMasters/notesMaster1.xml"/></Relationships>
</file>

<file path=ppt/notesSlides/_rels/notesSlide2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2.xml"/><Relationship Id="rId1" Type="http://schemas.openxmlformats.org/officeDocument/2006/relationships/notesMaster" Target="../notesMasters/notesMaster1.xml"/></Relationships>
</file>

<file path=ppt/notesSlides/_rels/notesSlide2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3.xml"/><Relationship Id="rId1" Type="http://schemas.openxmlformats.org/officeDocument/2006/relationships/notesMaster" Target="../notesMasters/notesMaster1.xml"/></Relationships>
</file>

<file path=ppt/notesSlides/_rels/notesSlide2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4.xml"/><Relationship Id="rId1" Type="http://schemas.openxmlformats.org/officeDocument/2006/relationships/notesMaster" Target="../notesMasters/notesMaster1.xml"/></Relationships>
</file>

<file path=ppt/notesSlides/_rels/notesSlide2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5.xml"/><Relationship Id="rId1" Type="http://schemas.openxmlformats.org/officeDocument/2006/relationships/notesMaster" Target="../notesMasters/notesMaster1.xml"/></Relationships>
</file>

<file path=ppt/notesSlides/_rels/notesSlide2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7.xml"/><Relationship Id="rId1" Type="http://schemas.openxmlformats.org/officeDocument/2006/relationships/notesMaster" Target="../notesMasters/notesMaster1.xml"/></Relationships>
</file>

<file path=ppt/notesSlides/_rels/notesSlide2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8.xml"/><Relationship Id="rId1" Type="http://schemas.openxmlformats.org/officeDocument/2006/relationships/notesMaster" Target="../notesMasters/notesMaster1.xml"/></Relationships>
</file>

<file path=ppt/notesSlides/_rels/notesSlide2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9.xml"/><Relationship Id="rId1" Type="http://schemas.openxmlformats.org/officeDocument/2006/relationships/notesMaster" Target="../notesMasters/notesMaster1.xml"/></Relationships>
</file>

<file path=ppt/notesSlides/_rels/notesSlide2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0.xml"/><Relationship Id="rId1" Type="http://schemas.openxmlformats.org/officeDocument/2006/relationships/notesMaster" Target="../notesMasters/notesMaster1.xml"/></Relationships>
</file>

<file path=ppt/notesSlides/_rels/notesSlide2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1.xml"/><Relationship Id="rId1" Type="http://schemas.openxmlformats.org/officeDocument/2006/relationships/notesMaster" Target="../notesMasters/notesMaster1.xml"/></Relationships>
</file>

<file path=ppt/notesSlides/_rels/notesSlide2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2.xml"/><Relationship Id="rId1" Type="http://schemas.openxmlformats.org/officeDocument/2006/relationships/notesMaster" Target="../notesMasters/notesMaster1.xml"/></Relationships>
</file>

<file path=ppt/notesSlides/_rels/notesSlide2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3.xml"/><Relationship Id="rId1" Type="http://schemas.openxmlformats.org/officeDocument/2006/relationships/notesMaster" Target="../notesMasters/notesMaster1.xml"/></Relationships>
</file>

<file path=ppt/notesSlides/_rels/notesSlide2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4.xml"/><Relationship Id="rId1" Type="http://schemas.openxmlformats.org/officeDocument/2006/relationships/notesMaster" Target="../notesMasters/notesMaster1.xml"/></Relationships>
</file>

<file path=ppt/notesSlides/_rels/notesSlide2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5.xml"/><Relationship Id="rId1" Type="http://schemas.openxmlformats.org/officeDocument/2006/relationships/notesMaster" Target="../notesMasters/notesMaster1.xml"/></Relationships>
</file>

<file path=ppt/notesSlides/_rels/notesSlide2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7.xml"/><Relationship Id="rId1" Type="http://schemas.openxmlformats.org/officeDocument/2006/relationships/notesMaster" Target="../notesMasters/notesMaster1.xml"/></Relationships>
</file>

<file path=ppt/notesSlides/_rels/notesSlide2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8.xml"/><Relationship Id="rId1" Type="http://schemas.openxmlformats.org/officeDocument/2006/relationships/notesMaster" Target="../notesMasters/notesMaster1.xml"/></Relationships>
</file>

<file path=ppt/notesSlides/_rels/notesSlide2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9.xml"/><Relationship Id="rId1" Type="http://schemas.openxmlformats.org/officeDocument/2006/relationships/notesMaster" Target="../notesMasters/notesMaster1.xml"/></Relationships>
</file>

<file path=ppt/notesSlides/_rels/notesSlide2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0.xml"/><Relationship Id="rId1" Type="http://schemas.openxmlformats.org/officeDocument/2006/relationships/notesMaster" Target="../notesMasters/notesMaster1.xml"/></Relationships>
</file>

<file path=ppt/notesSlides/_rels/notesSlide2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1.xml"/><Relationship Id="rId1" Type="http://schemas.openxmlformats.org/officeDocument/2006/relationships/notesMaster" Target="../notesMasters/notesMaster1.xml"/></Relationships>
</file>

<file path=ppt/notesSlides/_rels/notesSlide2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00847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95123138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49560699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39547372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96845358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51773890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0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0829958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72999382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86365249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8864173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9543320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60435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6636691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29939125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1153773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9717039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7440353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65438172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4865202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3396514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62819847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8271819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8655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31724593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38589503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77793165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60197442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63154291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2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57674563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70042012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9097592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3674332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46994576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07250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52723510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71960608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88941556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7710930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5001615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42310802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94554164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87155607"/>
      </p:ext>
    </p:extLst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4212258"/>
      </p:ext>
    </p:extLst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4505963"/>
      </p:ext>
    </p:extLst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843315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1756762"/>
      </p:ext>
    </p:extLst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90026787"/>
      </p:ext>
    </p:extLst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68096604"/>
      </p:ext>
    </p:extLst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82540418"/>
      </p:ext>
    </p:extLst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64022885"/>
      </p:ext>
    </p:extLst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61312942"/>
      </p:ext>
    </p:extLst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31822718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61894802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8334088"/>
      </p:ext>
    </p:extLst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3772604"/>
      </p:ext>
    </p:extLst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1225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4124645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36805191"/>
      </p:ext>
    </p:extLst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85073945"/>
      </p:ext>
    </p:extLst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5283474"/>
      </p:ext>
    </p:extLst>
  </p:cSld>
  <p:clrMapOvr>
    <a:masterClrMapping/>
  </p:clrMapOvr>
</p:note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16766246"/>
      </p:ext>
    </p:extLst>
  </p:cSld>
  <p:clrMapOvr>
    <a:masterClrMapping/>
  </p:clrMapOvr>
</p:note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34986587"/>
      </p:ext>
    </p:extLst>
  </p:cSld>
  <p:clrMapOvr>
    <a:masterClrMapping/>
  </p:clrMapOvr>
</p:note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10794208"/>
      </p:ext>
    </p:extLst>
  </p:cSld>
  <p:clrMapOvr>
    <a:masterClrMapping/>
  </p:clrMapOvr>
</p:note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47927025"/>
      </p:ext>
    </p:extLst>
  </p:cSld>
  <p:clrMapOvr>
    <a:masterClrMapping/>
  </p:clrMapOvr>
</p:note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43111592"/>
      </p:ext>
    </p:extLst>
  </p:cSld>
  <p:clrMapOvr>
    <a:masterClrMapping/>
  </p:clrMapOvr>
</p:note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87692863"/>
      </p:ext>
    </p:extLst>
  </p:cSld>
  <p:clrMapOvr>
    <a:masterClrMapping/>
  </p:clrMapOvr>
</p:note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061511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77222303"/>
      </p:ext>
    </p:extLst>
  </p:cSld>
  <p:clrMapOvr>
    <a:masterClrMapping/>
  </p:clrMapOvr>
</p:note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794034"/>
      </p:ext>
    </p:extLst>
  </p:cSld>
  <p:clrMapOvr>
    <a:masterClrMapping/>
  </p:clrMapOvr>
</p:notes>
</file>

<file path=ppt/notesSlides/notesSlide1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4348157"/>
      </p:ext>
    </p:extLst>
  </p:cSld>
  <p:clrMapOvr>
    <a:masterClrMapping/>
  </p:clrMapOvr>
</p:notes>
</file>

<file path=ppt/notesSlides/notesSlide1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7286355"/>
      </p:ext>
    </p:extLst>
  </p:cSld>
  <p:clrMapOvr>
    <a:masterClrMapping/>
  </p:clrMapOvr>
</p:notes>
</file>

<file path=ppt/notesSlides/notesSlide1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00324859"/>
      </p:ext>
    </p:extLst>
  </p:cSld>
  <p:clrMapOvr>
    <a:masterClrMapping/>
  </p:clrMapOvr>
</p:notes>
</file>

<file path=ppt/notesSlides/notesSlide1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02689558"/>
      </p:ext>
    </p:extLst>
  </p:cSld>
  <p:clrMapOvr>
    <a:masterClrMapping/>
  </p:clrMapOvr>
</p:notes>
</file>

<file path=ppt/notesSlides/notesSlide1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1801919"/>
      </p:ext>
    </p:extLst>
  </p:cSld>
  <p:clrMapOvr>
    <a:masterClrMapping/>
  </p:clrMapOvr>
</p:notes>
</file>

<file path=ppt/notesSlides/notesSlide1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69631046"/>
      </p:ext>
    </p:extLst>
  </p:cSld>
  <p:clrMapOvr>
    <a:masterClrMapping/>
  </p:clrMapOvr>
</p:notes>
</file>

<file path=ppt/notesSlides/notesSlide1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19872738"/>
      </p:ext>
    </p:extLst>
  </p:cSld>
  <p:clrMapOvr>
    <a:masterClrMapping/>
  </p:clrMapOvr>
</p:notes>
</file>

<file path=ppt/notesSlides/notesSlide1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31673789"/>
      </p:ext>
    </p:extLst>
  </p:cSld>
  <p:clrMapOvr>
    <a:masterClrMapping/>
  </p:clrMapOvr>
</p:notes>
</file>

<file path=ppt/notesSlides/notesSlide1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591422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3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68491797"/>
      </p:ext>
    </p:extLst>
  </p:cSld>
  <p:clrMapOvr>
    <a:masterClrMapping/>
  </p:clrMapOvr>
</p:notes>
</file>

<file path=ppt/notesSlides/notesSlide1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18282243"/>
      </p:ext>
    </p:extLst>
  </p:cSld>
  <p:clrMapOvr>
    <a:masterClrMapping/>
  </p:clrMapOvr>
</p:notes>
</file>

<file path=ppt/notesSlides/notesSlide1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4650617"/>
      </p:ext>
    </p:extLst>
  </p:cSld>
  <p:clrMapOvr>
    <a:masterClrMapping/>
  </p:clrMapOvr>
</p:notes>
</file>

<file path=ppt/notesSlides/notesSlide1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48797532"/>
      </p:ext>
    </p:extLst>
  </p:cSld>
  <p:clrMapOvr>
    <a:masterClrMapping/>
  </p:clrMapOvr>
</p:notes>
</file>

<file path=ppt/notesSlides/notesSlide1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50667852"/>
      </p:ext>
    </p:extLst>
  </p:cSld>
  <p:clrMapOvr>
    <a:masterClrMapping/>
  </p:clrMapOvr>
</p:notes>
</file>

<file path=ppt/notesSlides/notesSlide1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80775700"/>
      </p:ext>
    </p:extLst>
  </p:cSld>
  <p:clrMapOvr>
    <a:masterClrMapping/>
  </p:clrMapOvr>
</p:notes>
</file>

<file path=ppt/notesSlides/notesSlide1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51428604"/>
      </p:ext>
    </p:extLst>
  </p:cSld>
  <p:clrMapOvr>
    <a:masterClrMapping/>
  </p:clrMapOvr>
</p:notes>
</file>

<file path=ppt/notesSlides/notesSlide1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7897024"/>
      </p:ext>
    </p:extLst>
  </p:cSld>
  <p:clrMapOvr>
    <a:masterClrMapping/>
  </p:clrMapOvr>
</p:notes>
</file>

<file path=ppt/notesSlides/notesSlide1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90359836"/>
      </p:ext>
    </p:extLst>
  </p:cSld>
  <p:clrMapOvr>
    <a:masterClrMapping/>
  </p:clrMapOvr>
</p:notes>
</file>

<file path=ppt/notesSlides/notesSlide1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54893984"/>
      </p:ext>
    </p:extLst>
  </p:cSld>
  <p:clrMapOvr>
    <a:masterClrMapping/>
  </p:clrMapOvr>
</p:notes>
</file>

<file path=ppt/notesSlides/notesSlide1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872352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88181466"/>
      </p:ext>
    </p:extLst>
  </p:cSld>
  <p:clrMapOvr>
    <a:masterClrMapping/>
  </p:clrMapOvr>
</p:notes>
</file>

<file path=ppt/notesSlides/notesSlide1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89927917"/>
      </p:ext>
    </p:extLst>
  </p:cSld>
  <p:clrMapOvr>
    <a:masterClrMapping/>
  </p:clrMapOvr>
</p:notes>
</file>

<file path=ppt/notesSlides/notesSlide1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94699659"/>
      </p:ext>
    </p:extLst>
  </p:cSld>
  <p:clrMapOvr>
    <a:masterClrMapping/>
  </p:clrMapOvr>
</p:notes>
</file>

<file path=ppt/notesSlides/notesSlide1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5148722"/>
      </p:ext>
    </p:extLst>
  </p:cSld>
  <p:clrMapOvr>
    <a:masterClrMapping/>
  </p:clrMapOvr>
</p:notes>
</file>

<file path=ppt/notesSlides/notesSlide1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1094813"/>
      </p:ext>
    </p:extLst>
  </p:cSld>
  <p:clrMapOvr>
    <a:masterClrMapping/>
  </p:clrMapOvr>
</p:notes>
</file>

<file path=ppt/notesSlides/notesSlide1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2627593"/>
      </p:ext>
    </p:extLst>
  </p:cSld>
  <p:clrMapOvr>
    <a:masterClrMapping/>
  </p:clrMapOvr>
</p:notes>
</file>

<file path=ppt/notesSlides/notesSlide1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3435275"/>
      </p:ext>
    </p:extLst>
  </p:cSld>
  <p:clrMapOvr>
    <a:masterClrMapping/>
  </p:clrMapOvr>
</p:notes>
</file>

<file path=ppt/notesSlides/notesSlide1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9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93423223"/>
      </p:ext>
    </p:extLst>
  </p:cSld>
  <p:clrMapOvr>
    <a:masterClrMapping/>
  </p:clrMapOvr>
</p:notes>
</file>

<file path=ppt/notesSlides/notesSlide1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7260308"/>
      </p:ext>
    </p:extLst>
  </p:cSld>
  <p:clrMapOvr>
    <a:masterClrMapping/>
  </p:clrMapOvr>
</p:notes>
</file>

<file path=ppt/notesSlides/notesSlide1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04606142"/>
      </p:ext>
    </p:extLst>
  </p:cSld>
  <p:clrMapOvr>
    <a:masterClrMapping/>
  </p:clrMapOvr>
</p:notes>
</file>

<file path=ppt/notesSlides/notesSlide1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465396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58285607"/>
      </p:ext>
    </p:extLst>
  </p:cSld>
  <p:clrMapOvr>
    <a:masterClrMapping/>
  </p:clrMapOvr>
</p:notes>
</file>

<file path=ppt/notesSlides/notesSlide1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90817215"/>
      </p:ext>
    </p:extLst>
  </p:cSld>
  <p:clrMapOvr>
    <a:masterClrMapping/>
  </p:clrMapOvr>
</p:notes>
</file>

<file path=ppt/notesSlides/notesSlide1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687436"/>
      </p:ext>
    </p:extLst>
  </p:cSld>
  <p:clrMapOvr>
    <a:masterClrMapping/>
  </p:clrMapOvr>
</p:notes>
</file>

<file path=ppt/notesSlides/notesSlide1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7420857"/>
      </p:ext>
    </p:extLst>
  </p:cSld>
  <p:clrMapOvr>
    <a:masterClrMapping/>
  </p:clrMapOvr>
</p:notes>
</file>

<file path=ppt/notesSlides/notesSlide1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2587587"/>
      </p:ext>
    </p:extLst>
  </p:cSld>
  <p:clrMapOvr>
    <a:masterClrMapping/>
  </p:clrMapOvr>
</p:notes>
</file>

<file path=ppt/notesSlides/notesSlide1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16411956"/>
      </p:ext>
    </p:extLst>
  </p:cSld>
  <p:clrMapOvr>
    <a:masterClrMapping/>
  </p:clrMapOvr>
</p:notes>
</file>

<file path=ppt/notesSlides/notesSlide1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58239524"/>
      </p:ext>
    </p:extLst>
  </p:cSld>
  <p:clrMapOvr>
    <a:masterClrMapping/>
  </p:clrMapOvr>
</p:notes>
</file>

<file path=ppt/notesSlides/notesSlide1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10547014"/>
      </p:ext>
    </p:extLst>
  </p:cSld>
  <p:clrMapOvr>
    <a:masterClrMapping/>
  </p:clrMapOvr>
</p:notes>
</file>

<file path=ppt/notesSlides/notesSlide1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73503215"/>
      </p:ext>
    </p:extLst>
  </p:cSld>
  <p:clrMapOvr>
    <a:masterClrMapping/>
  </p:clrMapOvr>
</p:notes>
</file>

<file path=ppt/notesSlides/notesSlide1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15802044"/>
      </p:ext>
    </p:extLst>
  </p:cSld>
  <p:clrMapOvr>
    <a:masterClrMapping/>
  </p:clrMapOvr>
</p:notes>
</file>

<file path=ppt/notesSlides/notesSlide1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38356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73063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3561143"/>
      </p:ext>
    </p:extLst>
  </p:cSld>
  <p:clrMapOvr>
    <a:masterClrMapping/>
  </p:clrMapOvr>
</p:notes>
</file>

<file path=ppt/notesSlides/notesSlide2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38789958"/>
      </p:ext>
    </p:extLst>
  </p:cSld>
  <p:clrMapOvr>
    <a:masterClrMapping/>
  </p:clrMapOvr>
</p:notes>
</file>

<file path=ppt/notesSlides/notesSlide2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02424801"/>
      </p:ext>
    </p:extLst>
  </p:cSld>
  <p:clrMapOvr>
    <a:masterClrMapping/>
  </p:clrMapOvr>
</p:notes>
</file>

<file path=ppt/notesSlides/notesSlide2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62577029"/>
      </p:ext>
    </p:extLst>
  </p:cSld>
  <p:clrMapOvr>
    <a:masterClrMapping/>
  </p:clrMapOvr>
</p:notes>
</file>

<file path=ppt/notesSlides/notesSlide2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93859428"/>
      </p:ext>
    </p:extLst>
  </p:cSld>
  <p:clrMapOvr>
    <a:masterClrMapping/>
  </p:clrMapOvr>
</p:notes>
</file>

<file path=ppt/notesSlides/notesSlide2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932388"/>
      </p:ext>
    </p:extLst>
  </p:cSld>
  <p:clrMapOvr>
    <a:masterClrMapping/>
  </p:clrMapOvr>
</p:notes>
</file>

<file path=ppt/notesSlides/notesSlide2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40065207"/>
      </p:ext>
    </p:extLst>
  </p:cSld>
  <p:clrMapOvr>
    <a:masterClrMapping/>
  </p:clrMapOvr>
</p:notes>
</file>

<file path=ppt/notesSlides/notesSlide2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49664364"/>
      </p:ext>
    </p:extLst>
  </p:cSld>
  <p:clrMapOvr>
    <a:masterClrMapping/>
  </p:clrMapOvr>
</p:notes>
</file>

<file path=ppt/notesSlides/notesSlide2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85447196"/>
      </p:ext>
    </p:extLst>
  </p:cSld>
  <p:clrMapOvr>
    <a:masterClrMapping/>
  </p:clrMapOvr>
</p:notes>
</file>

<file path=ppt/notesSlides/notesSlide2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1299673"/>
      </p:ext>
    </p:extLst>
  </p:cSld>
  <p:clrMapOvr>
    <a:masterClrMapping/>
  </p:clrMapOvr>
</p:notes>
</file>

<file path=ppt/notesSlides/notesSlide2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840286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33807304"/>
      </p:ext>
    </p:extLst>
  </p:cSld>
  <p:clrMapOvr>
    <a:masterClrMapping/>
  </p:clrMapOvr>
</p:notes>
</file>

<file path=ppt/notesSlides/notesSlide2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81361599"/>
      </p:ext>
    </p:extLst>
  </p:cSld>
  <p:clrMapOvr>
    <a:masterClrMapping/>
  </p:clrMapOvr>
</p:notes>
</file>

<file path=ppt/notesSlides/notesSlide2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04515546"/>
      </p:ext>
    </p:extLst>
  </p:cSld>
  <p:clrMapOvr>
    <a:masterClrMapping/>
  </p:clrMapOvr>
</p:notes>
</file>

<file path=ppt/notesSlides/notesSlide2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806742"/>
      </p:ext>
    </p:extLst>
  </p:cSld>
  <p:clrMapOvr>
    <a:masterClrMapping/>
  </p:clrMapOvr>
</p:notes>
</file>

<file path=ppt/notesSlides/notesSlide2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72343084"/>
      </p:ext>
    </p:extLst>
  </p:cSld>
  <p:clrMapOvr>
    <a:masterClrMapping/>
  </p:clrMapOvr>
</p:notes>
</file>

<file path=ppt/notesSlides/notesSlide2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9648148"/>
      </p:ext>
    </p:extLst>
  </p:cSld>
  <p:clrMapOvr>
    <a:masterClrMapping/>
  </p:clrMapOvr>
</p:notes>
</file>

<file path=ppt/notesSlides/notesSlide2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0718757"/>
      </p:ext>
    </p:extLst>
  </p:cSld>
  <p:clrMapOvr>
    <a:masterClrMapping/>
  </p:clrMapOvr>
</p:notes>
</file>

<file path=ppt/notesSlides/notesSlide2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49821274"/>
      </p:ext>
    </p:extLst>
  </p:cSld>
  <p:clrMapOvr>
    <a:masterClrMapping/>
  </p:clrMapOvr>
</p:notes>
</file>

<file path=ppt/notesSlides/notesSlide2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12556569"/>
      </p:ext>
    </p:extLst>
  </p:cSld>
  <p:clrMapOvr>
    <a:masterClrMapping/>
  </p:clrMapOvr>
</p:notes>
</file>

<file path=ppt/notesSlides/notesSlide2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8012632"/>
      </p:ext>
    </p:extLst>
  </p:cSld>
  <p:clrMapOvr>
    <a:masterClrMapping/>
  </p:clrMapOvr>
</p:notes>
</file>

<file path=ppt/notesSlides/notesSlide2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0090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97746391"/>
      </p:ext>
    </p:extLst>
  </p:cSld>
  <p:clrMapOvr>
    <a:masterClrMapping/>
  </p:clrMapOvr>
</p:notes>
</file>

<file path=ppt/notesSlides/notesSlide2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2089089"/>
      </p:ext>
    </p:extLst>
  </p:cSld>
  <p:clrMapOvr>
    <a:masterClrMapping/>
  </p:clrMapOvr>
</p:notes>
</file>

<file path=ppt/notesSlides/notesSlide2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32958123"/>
      </p:ext>
    </p:extLst>
  </p:cSld>
  <p:clrMapOvr>
    <a:masterClrMapping/>
  </p:clrMapOvr>
</p:notes>
</file>

<file path=ppt/notesSlides/notesSlide2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64198645"/>
      </p:ext>
    </p:extLst>
  </p:cSld>
  <p:clrMapOvr>
    <a:masterClrMapping/>
  </p:clrMapOvr>
</p:notes>
</file>

<file path=ppt/notesSlides/notesSlide2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62353612"/>
      </p:ext>
    </p:extLst>
  </p:cSld>
  <p:clrMapOvr>
    <a:masterClrMapping/>
  </p:clrMapOvr>
</p:notes>
</file>

<file path=ppt/notesSlides/notesSlide2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93868241"/>
      </p:ext>
    </p:extLst>
  </p:cSld>
  <p:clrMapOvr>
    <a:masterClrMapping/>
  </p:clrMapOvr>
</p:notes>
</file>

<file path=ppt/notesSlides/notesSlide2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84637174"/>
      </p:ext>
    </p:extLst>
  </p:cSld>
  <p:clrMapOvr>
    <a:masterClrMapping/>
  </p:clrMapOvr>
</p:notes>
</file>

<file path=ppt/notesSlides/notesSlide2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7600020"/>
      </p:ext>
    </p:extLst>
  </p:cSld>
  <p:clrMapOvr>
    <a:masterClrMapping/>
  </p:clrMapOvr>
</p:notes>
</file>

<file path=ppt/notesSlides/notesSlide2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55569737"/>
      </p:ext>
    </p:extLst>
  </p:cSld>
  <p:clrMapOvr>
    <a:masterClrMapping/>
  </p:clrMapOvr>
</p:notes>
</file>

<file path=ppt/notesSlides/notesSlide2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31427796"/>
      </p:ext>
    </p:extLst>
  </p:cSld>
  <p:clrMapOvr>
    <a:masterClrMapping/>
  </p:clrMapOvr>
</p:notes>
</file>

<file path=ppt/notesSlides/notesSlide2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43522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1978571"/>
      </p:ext>
    </p:extLst>
  </p:cSld>
  <p:clrMapOvr>
    <a:masterClrMapping/>
  </p:clrMapOvr>
</p:notes>
</file>

<file path=ppt/notesSlides/notesSlide2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84128426"/>
      </p:ext>
    </p:extLst>
  </p:cSld>
  <p:clrMapOvr>
    <a:masterClrMapping/>
  </p:clrMapOvr>
</p:notes>
</file>

<file path=ppt/notesSlides/notesSlide2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8064964"/>
      </p:ext>
    </p:extLst>
  </p:cSld>
  <p:clrMapOvr>
    <a:masterClrMapping/>
  </p:clrMapOvr>
</p:notes>
</file>

<file path=ppt/notesSlides/notesSlide2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70075341"/>
      </p:ext>
    </p:extLst>
  </p:cSld>
  <p:clrMapOvr>
    <a:masterClrMapping/>
  </p:clrMapOvr>
</p:notes>
</file>

<file path=ppt/notesSlides/notesSlide2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4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46844154"/>
      </p:ext>
    </p:extLst>
  </p:cSld>
  <p:clrMapOvr>
    <a:masterClrMapping/>
  </p:clrMapOvr>
</p:notes>
</file>

<file path=ppt/notesSlides/notesSlide2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 err="1"/>
              <a:t>ㄷ</a:t>
            </a:r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4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05196914"/>
      </p:ext>
    </p:extLst>
  </p:cSld>
  <p:clrMapOvr>
    <a:masterClrMapping/>
  </p:clrMapOvr>
</p:notes>
</file>

<file path=ppt/notesSlides/notesSlide2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24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71893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48770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18558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79894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09350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993445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60288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588542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521106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199806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6558537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132890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582297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363609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6969910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7507141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5257072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1418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38604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4741121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377294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48607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7583092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1831230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8982626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277359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35139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822094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12475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4353683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531486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679191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8991584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5871031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1750932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4697259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9461468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9538683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7202377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73813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342752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2456815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3627079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9029930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00" dirty="0"/>
              <a:t>ㄷ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9867117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0307603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162938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049070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7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0481594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6156032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47552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593125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267283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3552339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870896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14208594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6156032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0568469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9370205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1139726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62049102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332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338168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04246625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101189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69121341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407354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3688680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81469739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8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2048515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66898330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83702907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010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5162808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25141306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20485157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48044008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64245593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10672945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02961121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32614758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45473608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28720671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9776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5.wmf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w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wmf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48F0CB18-26EC-4779-9DB5-6EC353736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070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48F0CB18-26EC-4779-9DB5-6EC353736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hape 14">
            <a:extLst>
              <a:ext uri="{FF2B5EF4-FFF2-40B4-BE49-F238E27FC236}">
                <a16:creationId xmlns:a16="http://schemas.microsoft.com/office/drawing/2014/main" id="{D750D1C8-56CD-43EF-97CC-2AF1CC9F46C2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6009148" y="-4719241"/>
            <a:ext cx="152399" cy="11121231"/>
          </a:xfrm>
          <a:prstGeom prst="bentConnector2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10">
            <a:extLst>
              <a:ext uri="{FF2B5EF4-FFF2-40B4-BE49-F238E27FC236}">
                <a16:creationId xmlns:a16="http://schemas.microsoft.com/office/drawing/2014/main" id="{6BE06D0F-9264-403C-A9B2-9479962D5E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203" y="429540"/>
            <a:ext cx="6898757" cy="302753"/>
          </a:xfrm>
          <a:prstGeom prst="rect">
            <a:avLst/>
          </a:prstGeom>
        </p:spPr>
        <p:txBody>
          <a:bodyPr wrap="none"/>
          <a:lstStyle>
            <a:lvl1pPr marL="0" marR="0" indent="-151171" algn="l" defTabSz="95964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30"/>
              </a:spcAft>
              <a:buClr>
                <a:prstClr val="black"/>
              </a:buClr>
              <a:buSzTx/>
              <a:buFontTx/>
              <a:buNone/>
              <a:tabLst/>
              <a:defRPr lang="ko-KR" altLang="en-US" sz="1400" b="1" kern="1200" spc="0" baseline="0" dirty="0">
                <a:ln>
                  <a:noFill/>
                </a:ln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defRPr>
            </a:lvl1pPr>
          </a:lstStyle>
          <a:p>
            <a:pPr marL="0" marR="0" lvl="0" indent="0" algn="l" defTabSz="9144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38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r>
              <a:rPr lang="ko-KR" altLang="en-US" dirty="0"/>
              <a:t>슬라이드 제목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9F70F65-FD76-4408-AB42-4FDE7EFE66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905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3427104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 userDrawn="1"/>
        </p:nvGrpSpPr>
        <p:grpSpPr>
          <a:xfrm>
            <a:off x="431255" y="620688"/>
            <a:ext cx="3240361" cy="5760664"/>
            <a:chOff x="431255" y="808583"/>
            <a:chExt cx="3240360" cy="576066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88DCD552-8D17-4371-9D15-B3FAB82B7CCF}"/>
                </a:ext>
              </a:extLst>
            </p:cNvPr>
            <p:cNvSpPr/>
            <p:nvPr userDrawn="1"/>
          </p:nvSpPr>
          <p:spPr>
            <a:xfrm>
              <a:off x="431575" y="809175"/>
              <a:ext cx="3240000" cy="5760000"/>
            </a:xfrm>
            <a:prstGeom prst="rect">
              <a:avLst/>
            </a:prstGeom>
            <a:solidFill>
              <a:schemeClr val="bg1">
                <a:lumMod val="95000"/>
                <a:alpha val="40000"/>
              </a:schemeClr>
            </a:solidFill>
            <a:ln w="3175" cap="flat">
              <a:solidFill>
                <a:schemeClr val="bg1">
                  <a:lumMod val="75000"/>
                </a:schemeClr>
              </a:solidFill>
              <a:prstDash val="sysDot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9720" tIns="109720" rIns="109720" bIns="109720" numCol="1" spcCol="38100" rtlCol="0" anchor="ctr">
              <a:noAutofit/>
            </a:bodyPr>
            <a:lstStyle/>
            <a:p>
              <a:pPr defTabSz="1980863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3899">
                <a:solidFill>
                  <a:srgbClr val="000000"/>
                </a:solidFill>
                <a:latin typeface="+mn-lt"/>
                <a:ea typeface="+mn-ea"/>
                <a:cs typeface="나눔고딕"/>
                <a:sym typeface="나눔고딕"/>
              </a:endParaRPr>
            </a:p>
          </p:txBody>
        </p:sp>
        <p:cxnSp>
          <p:nvCxnSpPr>
            <p:cNvPr id="9" name="직선 연결선 8">
              <a:extLst>
                <a:ext uri="{FF2B5EF4-FFF2-40B4-BE49-F238E27FC236}">
                  <a16:creationId xmlns:a16="http://schemas.microsoft.com/office/drawing/2014/main" id="{D872286B-4E6B-4001-A189-4C98B87E5B98}"/>
                </a:ext>
              </a:extLst>
            </p:cNvPr>
            <p:cNvCxnSpPr/>
            <p:nvPr userDrawn="1"/>
          </p:nvCxnSpPr>
          <p:spPr>
            <a:xfrm>
              <a:off x="43125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>
              <a:extLst>
                <a:ext uri="{FF2B5EF4-FFF2-40B4-BE49-F238E27FC236}">
                  <a16:creationId xmlns:a16="http://schemas.microsoft.com/office/drawing/2014/main" id="{2D7A3608-EB53-4AD9-BDFF-95C9B3AFE8A4}"/>
                </a:ext>
              </a:extLst>
            </p:cNvPr>
            <p:cNvCxnSpPr/>
            <p:nvPr userDrawn="1"/>
          </p:nvCxnSpPr>
          <p:spPr>
            <a:xfrm>
              <a:off x="50326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직선 연결선 10">
              <a:extLst>
                <a:ext uri="{FF2B5EF4-FFF2-40B4-BE49-F238E27FC236}">
                  <a16:creationId xmlns:a16="http://schemas.microsoft.com/office/drawing/2014/main" id="{3BC09537-10AF-4D44-A79A-E7180273BE23}"/>
                </a:ext>
              </a:extLst>
            </p:cNvPr>
            <p:cNvCxnSpPr/>
            <p:nvPr userDrawn="1"/>
          </p:nvCxnSpPr>
          <p:spPr>
            <a:xfrm>
              <a:off x="57527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직선 연결선 11">
              <a:extLst>
                <a:ext uri="{FF2B5EF4-FFF2-40B4-BE49-F238E27FC236}">
                  <a16:creationId xmlns:a16="http://schemas.microsoft.com/office/drawing/2014/main" id="{A67E582B-75F3-454A-BDF8-7113788DA2A8}"/>
                </a:ext>
              </a:extLst>
            </p:cNvPr>
            <p:cNvCxnSpPr/>
            <p:nvPr userDrawn="1"/>
          </p:nvCxnSpPr>
          <p:spPr>
            <a:xfrm>
              <a:off x="64727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직선 연결선 12">
              <a:extLst>
                <a:ext uri="{FF2B5EF4-FFF2-40B4-BE49-F238E27FC236}">
                  <a16:creationId xmlns:a16="http://schemas.microsoft.com/office/drawing/2014/main" id="{A3CE76D9-889A-44F0-BF99-A9AFAB5D1533}"/>
                </a:ext>
              </a:extLst>
            </p:cNvPr>
            <p:cNvCxnSpPr/>
            <p:nvPr userDrawn="1"/>
          </p:nvCxnSpPr>
          <p:spPr>
            <a:xfrm>
              <a:off x="71928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연결선 13">
              <a:extLst>
                <a:ext uri="{FF2B5EF4-FFF2-40B4-BE49-F238E27FC236}">
                  <a16:creationId xmlns:a16="http://schemas.microsoft.com/office/drawing/2014/main" id="{7C5ABB06-A498-47CB-A5E5-5958CBBEECA7}"/>
                </a:ext>
              </a:extLst>
            </p:cNvPr>
            <p:cNvCxnSpPr/>
            <p:nvPr userDrawn="1"/>
          </p:nvCxnSpPr>
          <p:spPr>
            <a:xfrm>
              <a:off x="79129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직선 연결선 14">
              <a:extLst>
                <a:ext uri="{FF2B5EF4-FFF2-40B4-BE49-F238E27FC236}">
                  <a16:creationId xmlns:a16="http://schemas.microsoft.com/office/drawing/2014/main" id="{955CAB5E-2C0D-420D-85EB-A8FA9E62C52B}"/>
                </a:ext>
              </a:extLst>
            </p:cNvPr>
            <p:cNvCxnSpPr/>
            <p:nvPr userDrawn="1"/>
          </p:nvCxnSpPr>
          <p:spPr>
            <a:xfrm>
              <a:off x="86330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직선 연결선 15">
              <a:extLst>
                <a:ext uri="{FF2B5EF4-FFF2-40B4-BE49-F238E27FC236}">
                  <a16:creationId xmlns:a16="http://schemas.microsoft.com/office/drawing/2014/main" id="{E8140CCD-6190-4940-906B-41A598244D21}"/>
                </a:ext>
              </a:extLst>
            </p:cNvPr>
            <p:cNvCxnSpPr/>
            <p:nvPr userDrawn="1"/>
          </p:nvCxnSpPr>
          <p:spPr>
            <a:xfrm>
              <a:off x="93531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연결선 16">
              <a:extLst>
                <a:ext uri="{FF2B5EF4-FFF2-40B4-BE49-F238E27FC236}">
                  <a16:creationId xmlns:a16="http://schemas.microsoft.com/office/drawing/2014/main" id="{59BA2E12-1E9A-4F38-8984-FA22EDAA76D2}"/>
                </a:ext>
              </a:extLst>
            </p:cNvPr>
            <p:cNvCxnSpPr/>
            <p:nvPr userDrawn="1"/>
          </p:nvCxnSpPr>
          <p:spPr>
            <a:xfrm>
              <a:off x="100731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>
              <a:extLst>
                <a:ext uri="{FF2B5EF4-FFF2-40B4-BE49-F238E27FC236}">
                  <a16:creationId xmlns:a16="http://schemas.microsoft.com/office/drawing/2014/main" id="{0888A859-02A1-4797-9AE0-35FE72440D30}"/>
                </a:ext>
              </a:extLst>
            </p:cNvPr>
            <p:cNvCxnSpPr/>
            <p:nvPr userDrawn="1"/>
          </p:nvCxnSpPr>
          <p:spPr>
            <a:xfrm>
              <a:off x="107932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7EBC2710-E7CE-4334-A99E-ED24C49C3EB6}"/>
                </a:ext>
              </a:extLst>
            </p:cNvPr>
            <p:cNvCxnSpPr/>
            <p:nvPr userDrawn="1"/>
          </p:nvCxnSpPr>
          <p:spPr>
            <a:xfrm>
              <a:off x="115133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8979DCA6-08B1-4BEF-B049-23A9A09C9C8C}"/>
                </a:ext>
              </a:extLst>
            </p:cNvPr>
            <p:cNvCxnSpPr/>
            <p:nvPr userDrawn="1"/>
          </p:nvCxnSpPr>
          <p:spPr>
            <a:xfrm>
              <a:off x="122334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직선 연결선 20">
              <a:extLst>
                <a:ext uri="{FF2B5EF4-FFF2-40B4-BE49-F238E27FC236}">
                  <a16:creationId xmlns:a16="http://schemas.microsoft.com/office/drawing/2014/main" id="{779E151A-F18D-48B2-BE19-BBD1D5BF7CAC}"/>
                </a:ext>
              </a:extLst>
            </p:cNvPr>
            <p:cNvCxnSpPr/>
            <p:nvPr userDrawn="1"/>
          </p:nvCxnSpPr>
          <p:spPr>
            <a:xfrm>
              <a:off x="129535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직선 연결선 21">
              <a:extLst>
                <a:ext uri="{FF2B5EF4-FFF2-40B4-BE49-F238E27FC236}">
                  <a16:creationId xmlns:a16="http://schemas.microsoft.com/office/drawing/2014/main" id="{542EEC66-1F06-45DF-A0D0-ED191D72DFC9}"/>
                </a:ext>
              </a:extLst>
            </p:cNvPr>
            <p:cNvCxnSpPr/>
            <p:nvPr userDrawn="1"/>
          </p:nvCxnSpPr>
          <p:spPr>
            <a:xfrm>
              <a:off x="136735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6B84704A-1669-443F-851D-AA51332ED4D3}"/>
                </a:ext>
              </a:extLst>
            </p:cNvPr>
            <p:cNvCxnSpPr/>
            <p:nvPr userDrawn="1"/>
          </p:nvCxnSpPr>
          <p:spPr>
            <a:xfrm>
              <a:off x="143936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>
              <a:extLst>
                <a:ext uri="{FF2B5EF4-FFF2-40B4-BE49-F238E27FC236}">
                  <a16:creationId xmlns:a16="http://schemas.microsoft.com/office/drawing/2014/main" id="{B218F20A-2FA0-4A46-A0E9-ED0EBC32FCFF}"/>
                </a:ext>
              </a:extLst>
            </p:cNvPr>
            <p:cNvCxnSpPr/>
            <p:nvPr userDrawn="1"/>
          </p:nvCxnSpPr>
          <p:spPr>
            <a:xfrm>
              <a:off x="151137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2AE3C69D-FA50-4333-A6C6-BC74C0F7523C}"/>
                </a:ext>
              </a:extLst>
            </p:cNvPr>
            <p:cNvCxnSpPr/>
            <p:nvPr userDrawn="1"/>
          </p:nvCxnSpPr>
          <p:spPr>
            <a:xfrm>
              <a:off x="158338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>
              <a:extLst>
                <a:ext uri="{FF2B5EF4-FFF2-40B4-BE49-F238E27FC236}">
                  <a16:creationId xmlns:a16="http://schemas.microsoft.com/office/drawing/2014/main" id="{C463C257-21C9-44F7-A6F3-B6D5CBBCB048}"/>
                </a:ext>
              </a:extLst>
            </p:cNvPr>
            <p:cNvCxnSpPr/>
            <p:nvPr userDrawn="1"/>
          </p:nvCxnSpPr>
          <p:spPr>
            <a:xfrm>
              <a:off x="165539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A44C38F3-A201-4B84-B104-D0EE96511209}"/>
                </a:ext>
              </a:extLst>
            </p:cNvPr>
            <p:cNvCxnSpPr/>
            <p:nvPr userDrawn="1"/>
          </p:nvCxnSpPr>
          <p:spPr>
            <a:xfrm>
              <a:off x="172739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>
              <a:extLst>
                <a:ext uri="{FF2B5EF4-FFF2-40B4-BE49-F238E27FC236}">
                  <a16:creationId xmlns:a16="http://schemas.microsoft.com/office/drawing/2014/main" id="{FEB986A5-05CE-4E77-9A90-9655FEE125D5}"/>
                </a:ext>
              </a:extLst>
            </p:cNvPr>
            <p:cNvCxnSpPr/>
            <p:nvPr userDrawn="1"/>
          </p:nvCxnSpPr>
          <p:spPr>
            <a:xfrm>
              <a:off x="179940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8B5B347F-6153-43C5-81FD-F6B291DFFF30}"/>
                </a:ext>
              </a:extLst>
            </p:cNvPr>
            <p:cNvCxnSpPr/>
            <p:nvPr userDrawn="1"/>
          </p:nvCxnSpPr>
          <p:spPr>
            <a:xfrm>
              <a:off x="187141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직선 연결선 29">
              <a:extLst>
                <a:ext uri="{FF2B5EF4-FFF2-40B4-BE49-F238E27FC236}">
                  <a16:creationId xmlns:a16="http://schemas.microsoft.com/office/drawing/2014/main" id="{83D0A674-BC25-4F75-B85F-461847286CF3}"/>
                </a:ext>
              </a:extLst>
            </p:cNvPr>
            <p:cNvCxnSpPr/>
            <p:nvPr userDrawn="1"/>
          </p:nvCxnSpPr>
          <p:spPr>
            <a:xfrm>
              <a:off x="194342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>
              <a:extLst>
                <a:ext uri="{FF2B5EF4-FFF2-40B4-BE49-F238E27FC236}">
                  <a16:creationId xmlns:a16="http://schemas.microsoft.com/office/drawing/2014/main" id="{3B6A3F0B-E5DD-43C8-8AB6-9370699E4AB1}"/>
                </a:ext>
              </a:extLst>
            </p:cNvPr>
            <p:cNvCxnSpPr/>
            <p:nvPr userDrawn="1"/>
          </p:nvCxnSpPr>
          <p:spPr>
            <a:xfrm>
              <a:off x="201543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>
              <a:extLst>
                <a:ext uri="{FF2B5EF4-FFF2-40B4-BE49-F238E27FC236}">
                  <a16:creationId xmlns:a16="http://schemas.microsoft.com/office/drawing/2014/main" id="{1C8FC627-2CBC-4F73-9992-692B25CBA8BA}"/>
                </a:ext>
              </a:extLst>
            </p:cNvPr>
            <p:cNvCxnSpPr/>
            <p:nvPr userDrawn="1"/>
          </p:nvCxnSpPr>
          <p:spPr>
            <a:xfrm>
              <a:off x="208743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>
              <a:extLst>
                <a:ext uri="{FF2B5EF4-FFF2-40B4-BE49-F238E27FC236}">
                  <a16:creationId xmlns:a16="http://schemas.microsoft.com/office/drawing/2014/main" id="{A502DF14-3198-43B2-B673-1485E69F7EEC}"/>
                </a:ext>
              </a:extLst>
            </p:cNvPr>
            <p:cNvCxnSpPr/>
            <p:nvPr userDrawn="1"/>
          </p:nvCxnSpPr>
          <p:spPr>
            <a:xfrm>
              <a:off x="215944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BBD9ECC9-C4FD-4E37-88E5-1C04D16AA442}"/>
                </a:ext>
              </a:extLst>
            </p:cNvPr>
            <p:cNvCxnSpPr/>
            <p:nvPr userDrawn="1"/>
          </p:nvCxnSpPr>
          <p:spPr>
            <a:xfrm>
              <a:off x="223145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>
              <a:extLst>
                <a:ext uri="{FF2B5EF4-FFF2-40B4-BE49-F238E27FC236}">
                  <a16:creationId xmlns:a16="http://schemas.microsoft.com/office/drawing/2014/main" id="{02BD9D0B-D751-4204-B6CA-982E30D6411D}"/>
                </a:ext>
              </a:extLst>
            </p:cNvPr>
            <p:cNvCxnSpPr/>
            <p:nvPr userDrawn="1"/>
          </p:nvCxnSpPr>
          <p:spPr>
            <a:xfrm>
              <a:off x="230346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>
              <a:extLst>
                <a:ext uri="{FF2B5EF4-FFF2-40B4-BE49-F238E27FC236}">
                  <a16:creationId xmlns:a16="http://schemas.microsoft.com/office/drawing/2014/main" id="{A02CD6EB-D402-4F8B-BEB3-7ECB47E84D06}"/>
                </a:ext>
              </a:extLst>
            </p:cNvPr>
            <p:cNvCxnSpPr/>
            <p:nvPr userDrawn="1"/>
          </p:nvCxnSpPr>
          <p:spPr>
            <a:xfrm>
              <a:off x="237547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F24255CE-DF44-473A-9506-17AA51706E05}"/>
                </a:ext>
              </a:extLst>
            </p:cNvPr>
            <p:cNvCxnSpPr/>
            <p:nvPr userDrawn="1"/>
          </p:nvCxnSpPr>
          <p:spPr>
            <a:xfrm>
              <a:off x="244747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01A937B4-7E6D-4FB2-88EF-7148723CCC32}"/>
                </a:ext>
              </a:extLst>
            </p:cNvPr>
            <p:cNvCxnSpPr/>
            <p:nvPr userDrawn="1"/>
          </p:nvCxnSpPr>
          <p:spPr>
            <a:xfrm>
              <a:off x="251948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2E3674C7-237B-45BE-8225-3691E6C15923}"/>
                </a:ext>
              </a:extLst>
            </p:cNvPr>
            <p:cNvCxnSpPr/>
            <p:nvPr userDrawn="1"/>
          </p:nvCxnSpPr>
          <p:spPr>
            <a:xfrm>
              <a:off x="259149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902E6EA7-8C43-4603-9767-CA2AF63BD247}"/>
                </a:ext>
              </a:extLst>
            </p:cNvPr>
            <p:cNvCxnSpPr/>
            <p:nvPr userDrawn="1"/>
          </p:nvCxnSpPr>
          <p:spPr>
            <a:xfrm>
              <a:off x="266350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8441F54A-3F68-4DFB-AB4A-C9ACA6FD6C79}"/>
                </a:ext>
              </a:extLst>
            </p:cNvPr>
            <p:cNvCxnSpPr/>
            <p:nvPr userDrawn="1"/>
          </p:nvCxnSpPr>
          <p:spPr>
            <a:xfrm>
              <a:off x="273551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D859544F-4152-4EB2-BAEA-DD0A5153328D}"/>
                </a:ext>
              </a:extLst>
            </p:cNvPr>
            <p:cNvCxnSpPr/>
            <p:nvPr userDrawn="1"/>
          </p:nvCxnSpPr>
          <p:spPr>
            <a:xfrm>
              <a:off x="280751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>
              <a:extLst>
                <a:ext uri="{FF2B5EF4-FFF2-40B4-BE49-F238E27FC236}">
                  <a16:creationId xmlns:a16="http://schemas.microsoft.com/office/drawing/2014/main" id="{13BD02B1-0EB1-4DC0-92AA-DB69D128BCAD}"/>
                </a:ext>
              </a:extLst>
            </p:cNvPr>
            <p:cNvCxnSpPr/>
            <p:nvPr userDrawn="1"/>
          </p:nvCxnSpPr>
          <p:spPr>
            <a:xfrm>
              <a:off x="287952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>
              <a:extLst>
                <a:ext uri="{FF2B5EF4-FFF2-40B4-BE49-F238E27FC236}">
                  <a16:creationId xmlns:a16="http://schemas.microsoft.com/office/drawing/2014/main" id="{4D64ED75-58EE-4CFC-AF83-A2AAD4FDA4A3}"/>
                </a:ext>
              </a:extLst>
            </p:cNvPr>
            <p:cNvCxnSpPr/>
            <p:nvPr userDrawn="1"/>
          </p:nvCxnSpPr>
          <p:spPr>
            <a:xfrm>
              <a:off x="295153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4542AB46-4BB7-4266-A3D2-4F8518C53976}"/>
                </a:ext>
              </a:extLst>
            </p:cNvPr>
            <p:cNvCxnSpPr/>
            <p:nvPr userDrawn="1"/>
          </p:nvCxnSpPr>
          <p:spPr>
            <a:xfrm>
              <a:off x="302354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>
              <a:extLst>
                <a:ext uri="{FF2B5EF4-FFF2-40B4-BE49-F238E27FC236}">
                  <a16:creationId xmlns:a16="http://schemas.microsoft.com/office/drawing/2014/main" id="{739AEFDF-85B0-4D35-88B8-9E9E173CF93B}"/>
                </a:ext>
              </a:extLst>
            </p:cNvPr>
            <p:cNvCxnSpPr/>
            <p:nvPr userDrawn="1"/>
          </p:nvCxnSpPr>
          <p:spPr>
            <a:xfrm>
              <a:off x="309555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23549BB4-86D2-44CB-A6DD-8FB43E16CF57}"/>
                </a:ext>
              </a:extLst>
            </p:cNvPr>
            <p:cNvCxnSpPr/>
            <p:nvPr userDrawn="1"/>
          </p:nvCxnSpPr>
          <p:spPr>
            <a:xfrm>
              <a:off x="316755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직선 연결선 47">
              <a:extLst>
                <a:ext uri="{FF2B5EF4-FFF2-40B4-BE49-F238E27FC236}">
                  <a16:creationId xmlns:a16="http://schemas.microsoft.com/office/drawing/2014/main" id="{D0AA626C-C514-4214-8C93-007A2B631F28}"/>
                </a:ext>
              </a:extLst>
            </p:cNvPr>
            <p:cNvCxnSpPr/>
            <p:nvPr userDrawn="1"/>
          </p:nvCxnSpPr>
          <p:spPr>
            <a:xfrm>
              <a:off x="323956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7A305EFE-DC64-4974-B1CF-6EFECCFA3DFB}"/>
                </a:ext>
              </a:extLst>
            </p:cNvPr>
            <p:cNvCxnSpPr/>
            <p:nvPr userDrawn="1"/>
          </p:nvCxnSpPr>
          <p:spPr>
            <a:xfrm>
              <a:off x="331157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85C08463-9B1D-46F6-961E-DB9C339CA419}"/>
                </a:ext>
              </a:extLst>
            </p:cNvPr>
            <p:cNvCxnSpPr/>
            <p:nvPr userDrawn="1"/>
          </p:nvCxnSpPr>
          <p:spPr>
            <a:xfrm>
              <a:off x="338358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>
              <a:extLst>
                <a:ext uri="{FF2B5EF4-FFF2-40B4-BE49-F238E27FC236}">
                  <a16:creationId xmlns:a16="http://schemas.microsoft.com/office/drawing/2014/main" id="{E8376123-4FA4-4961-AB7C-918492455A11}"/>
                </a:ext>
              </a:extLst>
            </p:cNvPr>
            <p:cNvCxnSpPr/>
            <p:nvPr userDrawn="1"/>
          </p:nvCxnSpPr>
          <p:spPr>
            <a:xfrm>
              <a:off x="345559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>
              <a:extLst>
                <a:ext uri="{FF2B5EF4-FFF2-40B4-BE49-F238E27FC236}">
                  <a16:creationId xmlns:a16="http://schemas.microsoft.com/office/drawing/2014/main" id="{0D3CF737-37B1-4359-97E0-70D75850A12D}"/>
                </a:ext>
              </a:extLst>
            </p:cNvPr>
            <p:cNvCxnSpPr/>
            <p:nvPr userDrawn="1"/>
          </p:nvCxnSpPr>
          <p:spPr>
            <a:xfrm>
              <a:off x="352759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E5DABC9F-C598-464C-9C8C-0E1E01C66B3F}"/>
                </a:ext>
              </a:extLst>
            </p:cNvPr>
            <p:cNvCxnSpPr/>
            <p:nvPr userDrawn="1"/>
          </p:nvCxnSpPr>
          <p:spPr>
            <a:xfrm>
              <a:off x="359960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8590748D-7691-4151-A720-CCD6B045BE5D}"/>
                </a:ext>
              </a:extLst>
            </p:cNvPr>
            <p:cNvCxnSpPr/>
            <p:nvPr userDrawn="1"/>
          </p:nvCxnSpPr>
          <p:spPr>
            <a:xfrm>
              <a:off x="367161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>
              <a:extLst>
                <a:ext uri="{FF2B5EF4-FFF2-40B4-BE49-F238E27FC236}">
                  <a16:creationId xmlns:a16="http://schemas.microsoft.com/office/drawing/2014/main" id="{37A6A670-A4F7-4708-9D53-78D196E12A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8086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>
              <a:extLst>
                <a:ext uri="{FF2B5EF4-FFF2-40B4-BE49-F238E27FC236}">
                  <a16:creationId xmlns:a16="http://schemas.microsoft.com/office/drawing/2014/main" id="{21CBCFBD-15DC-4189-83B6-085E8E6503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8806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>
              <a:extLst>
                <a:ext uri="{FF2B5EF4-FFF2-40B4-BE49-F238E27FC236}">
                  <a16:creationId xmlns:a16="http://schemas.microsoft.com/office/drawing/2014/main" id="{CF384E25-7263-41DE-B802-082D0B50F6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9526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직선 연결선 57">
              <a:extLst>
                <a:ext uri="{FF2B5EF4-FFF2-40B4-BE49-F238E27FC236}">
                  <a16:creationId xmlns:a16="http://schemas.microsoft.com/office/drawing/2014/main" id="{2C6014CA-124B-4C69-BEA5-BC854B241A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0246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연결선 58">
              <a:extLst>
                <a:ext uri="{FF2B5EF4-FFF2-40B4-BE49-F238E27FC236}">
                  <a16:creationId xmlns:a16="http://schemas.microsoft.com/office/drawing/2014/main" id="{02456472-4332-4FE9-A104-A4DD6FFD37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0966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9">
              <a:extLst>
                <a:ext uri="{FF2B5EF4-FFF2-40B4-BE49-F238E27FC236}">
                  <a16:creationId xmlns:a16="http://schemas.microsoft.com/office/drawing/2014/main" id="{F3F6EC6C-61B8-4300-9879-6E8DEE31FB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1686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직선 연결선 60">
              <a:extLst>
                <a:ext uri="{FF2B5EF4-FFF2-40B4-BE49-F238E27FC236}">
                  <a16:creationId xmlns:a16="http://schemas.microsoft.com/office/drawing/2014/main" id="{3AE31459-5C85-4890-98AA-3AA62CB4D8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2406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 61">
              <a:extLst>
                <a:ext uri="{FF2B5EF4-FFF2-40B4-BE49-F238E27FC236}">
                  <a16:creationId xmlns:a16="http://schemas.microsoft.com/office/drawing/2014/main" id="{7BF3C063-005D-4D38-BE77-5793686258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3126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C6C284EC-4FE0-47C9-AFA5-B3DC5A0596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3846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>
              <a:extLst>
                <a:ext uri="{FF2B5EF4-FFF2-40B4-BE49-F238E27FC236}">
                  <a16:creationId xmlns:a16="http://schemas.microsoft.com/office/drawing/2014/main" id="{1CA78EC9-2E1E-4D85-B5F8-30FE1247AD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4566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직선 연결선 64">
              <a:extLst>
                <a:ext uri="{FF2B5EF4-FFF2-40B4-BE49-F238E27FC236}">
                  <a16:creationId xmlns:a16="http://schemas.microsoft.com/office/drawing/2014/main" id="{D7959DAB-1298-4A28-990F-BFC309BF79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5286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07E90231-3E00-46D3-AB6D-FFE0259064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6006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5E7D5FB0-5B15-4D9D-B56D-310DEE1A52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6727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직선 연결선 67">
              <a:extLst>
                <a:ext uri="{FF2B5EF4-FFF2-40B4-BE49-F238E27FC236}">
                  <a16:creationId xmlns:a16="http://schemas.microsoft.com/office/drawing/2014/main" id="{47042E8E-5A8B-4051-93D8-B5D744E2A0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7447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연결선 68">
              <a:extLst>
                <a:ext uri="{FF2B5EF4-FFF2-40B4-BE49-F238E27FC236}">
                  <a16:creationId xmlns:a16="http://schemas.microsoft.com/office/drawing/2014/main" id="{5A171470-236B-4E32-A101-B10A4E0811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8167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29E3ACEC-D9AB-4CA3-BCBB-95338215B5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8887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연결선 70">
              <a:extLst>
                <a:ext uri="{FF2B5EF4-FFF2-40B4-BE49-F238E27FC236}">
                  <a16:creationId xmlns:a16="http://schemas.microsoft.com/office/drawing/2014/main" id="{C9F006F6-1E63-4EFA-A511-233B5044FC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9607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9078948F-50C1-45C0-B87D-F4BD7C80F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0327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직선 연결선 72">
              <a:extLst>
                <a:ext uri="{FF2B5EF4-FFF2-40B4-BE49-F238E27FC236}">
                  <a16:creationId xmlns:a16="http://schemas.microsoft.com/office/drawing/2014/main" id="{D51AF559-2D42-4EA3-9298-B06A678616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1047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직선 연결선 73">
              <a:extLst>
                <a:ext uri="{FF2B5EF4-FFF2-40B4-BE49-F238E27FC236}">
                  <a16:creationId xmlns:a16="http://schemas.microsoft.com/office/drawing/2014/main" id="{04E26D2C-87BF-4294-8723-7E90743F0F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1767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연결선 74">
              <a:extLst>
                <a:ext uri="{FF2B5EF4-FFF2-40B4-BE49-F238E27FC236}">
                  <a16:creationId xmlns:a16="http://schemas.microsoft.com/office/drawing/2014/main" id="{3C7CCE70-A568-4FB3-A830-C4FD2C6F4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2487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591FF595-649D-4CA4-9D95-298A51B251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3207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>
              <a:extLst>
                <a:ext uri="{FF2B5EF4-FFF2-40B4-BE49-F238E27FC236}">
                  <a16:creationId xmlns:a16="http://schemas.microsoft.com/office/drawing/2014/main" id="{C7523C71-5066-4934-A354-186F5777B3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3927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12D3655B-EB4E-41F8-91DE-39E7E22C22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4647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연결선 78">
              <a:extLst>
                <a:ext uri="{FF2B5EF4-FFF2-40B4-BE49-F238E27FC236}">
                  <a16:creationId xmlns:a16="http://schemas.microsoft.com/office/drawing/2014/main" id="{E37814A1-4ABB-4ED2-9A8A-0E55BBA9C0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5367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>
              <a:extLst>
                <a:ext uri="{FF2B5EF4-FFF2-40B4-BE49-F238E27FC236}">
                  <a16:creationId xmlns:a16="http://schemas.microsoft.com/office/drawing/2014/main" id="{67D037DA-4C02-4F29-9624-93360E7542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6088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3F1B493F-AB08-40B8-B2B5-595AFD7F19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6808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직선 연결선 81">
              <a:extLst>
                <a:ext uri="{FF2B5EF4-FFF2-40B4-BE49-F238E27FC236}">
                  <a16:creationId xmlns:a16="http://schemas.microsoft.com/office/drawing/2014/main" id="{8488F79F-463E-4000-807E-B08B0B840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7528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직선 연결선 82">
              <a:extLst>
                <a:ext uri="{FF2B5EF4-FFF2-40B4-BE49-F238E27FC236}">
                  <a16:creationId xmlns:a16="http://schemas.microsoft.com/office/drawing/2014/main" id="{6AA2CEB4-60F8-402E-9E2B-C385C8992E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8248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직선 연결선 83">
              <a:extLst>
                <a:ext uri="{FF2B5EF4-FFF2-40B4-BE49-F238E27FC236}">
                  <a16:creationId xmlns:a16="http://schemas.microsoft.com/office/drawing/2014/main" id="{B3D01290-3B3C-4308-836A-CBA02F2538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8968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직선 연결선 84">
              <a:extLst>
                <a:ext uri="{FF2B5EF4-FFF2-40B4-BE49-F238E27FC236}">
                  <a16:creationId xmlns:a16="http://schemas.microsoft.com/office/drawing/2014/main" id="{A10D8052-60BE-4C8F-A1B4-ADAF1EDB85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9688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127531C6-B8E7-4D39-A5F3-2E04E619D8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0408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95CB15D5-20A2-4101-95A4-61B712E3D6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1128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직선 연결선 87">
              <a:extLst>
                <a:ext uri="{FF2B5EF4-FFF2-40B4-BE49-F238E27FC236}">
                  <a16:creationId xmlns:a16="http://schemas.microsoft.com/office/drawing/2014/main" id="{5C224959-8310-428C-89E8-5B2F0835C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1848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직선 연결선 88">
              <a:extLst>
                <a:ext uri="{FF2B5EF4-FFF2-40B4-BE49-F238E27FC236}">
                  <a16:creationId xmlns:a16="http://schemas.microsoft.com/office/drawing/2014/main" id="{0E36E68D-F32B-43BF-835B-A835F5B819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2568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7BF2743B-852D-4557-9257-EE106C5649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3288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BF12EEE8-9FAD-4DFB-AB17-BD2B9662C9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4008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1AD9E1E9-5B9F-41AD-B353-BFD172270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4729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직선 연결선 92">
              <a:extLst>
                <a:ext uri="{FF2B5EF4-FFF2-40B4-BE49-F238E27FC236}">
                  <a16:creationId xmlns:a16="http://schemas.microsoft.com/office/drawing/2014/main" id="{200AE88D-EEB9-4424-AC43-51FFDC81C0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5449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직선 연결선 93">
              <a:extLst>
                <a:ext uri="{FF2B5EF4-FFF2-40B4-BE49-F238E27FC236}">
                  <a16:creationId xmlns:a16="http://schemas.microsoft.com/office/drawing/2014/main" id="{3F995A0F-5DCA-4BE7-803E-8201486191C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6169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직선 연결선 94">
              <a:extLst>
                <a:ext uri="{FF2B5EF4-FFF2-40B4-BE49-F238E27FC236}">
                  <a16:creationId xmlns:a16="http://schemas.microsoft.com/office/drawing/2014/main" id="{4FEA3782-AB86-4211-B307-33ECA3888C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6889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직선 연결선 95">
              <a:extLst>
                <a:ext uri="{FF2B5EF4-FFF2-40B4-BE49-F238E27FC236}">
                  <a16:creationId xmlns:a16="http://schemas.microsoft.com/office/drawing/2014/main" id="{7387510E-F37A-4F68-952D-377790DE0E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7609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직선 연결선 96">
              <a:extLst>
                <a:ext uri="{FF2B5EF4-FFF2-40B4-BE49-F238E27FC236}">
                  <a16:creationId xmlns:a16="http://schemas.microsoft.com/office/drawing/2014/main" id="{67A17502-5E7C-4566-91A9-D0104DBD4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8329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직선 연결선 97">
              <a:extLst>
                <a:ext uri="{FF2B5EF4-FFF2-40B4-BE49-F238E27FC236}">
                  <a16:creationId xmlns:a16="http://schemas.microsoft.com/office/drawing/2014/main" id="{A23DC168-A4CB-4654-93C0-A3381F2E7C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9049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직선 연결선 98">
              <a:extLst>
                <a:ext uri="{FF2B5EF4-FFF2-40B4-BE49-F238E27FC236}">
                  <a16:creationId xmlns:a16="http://schemas.microsoft.com/office/drawing/2014/main" id="{56666E34-A17C-4BE8-8592-A4D192A810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9769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직선 연결선 99">
              <a:extLst>
                <a:ext uri="{FF2B5EF4-FFF2-40B4-BE49-F238E27FC236}">
                  <a16:creationId xmlns:a16="http://schemas.microsoft.com/office/drawing/2014/main" id="{56593AF2-4208-4EFB-86F8-2826E239AE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0489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직선 연결선 100">
              <a:extLst>
                <a:ext uri="{FF2B5EF4-FFF2-40B4-BE49-F238E27FC236}">
                  <a16:creationId xmlns:a16="http://schemas.microsoft.com/office/drawing/2014/main" id="{2B2EE9A8-F6AA-4B54-8B84-8B92078C7E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1209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직선 연결선 101">
              <a:extLst>
                <a:ext uri="{FF2B5EF4-FFF2-40B4-BE49-F238E27FC236}">
                  <a16:creationId xmlns:a16="http://schemas.microsoft.com/office/drawing/2014/main" id="{925BABA2-0556-4059-8CC3-94EE56FC6F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1929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직선 연결선 102">
              <a:extLst>
                <a:ext uri="{FF2B5EF4-FFF2-40B4-BE49-F238E27FC236}">
                  <a16:creationId xmlns:a16="http://schemas.microsoft.com/office/drawing/2014/main" id="{8BBA75AC-3108-48E4-8055-E69A3490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2649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241034F6-47AC-4474-AD00-83D0BE6FF7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3369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직선 연결선 104">
              <a:extLst>
                <a:ext uri="{FF2B5EF4-FFF2-40B4-BE49-F238E27FC236}">
                  <a16:creationId xmlns:a16="http://schemas.microsoft.com/office/drawing/2014/main" id="{E6144A29-8CE8-40C8-93A1-C321217ADA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4090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직선 연결선 105">
              <a:extLst>
                <a:ext uri="{FF2B5EF4-FFF2-40B4-BE49-F238E27FC236}">
                  <a16:creationId xmlns:a16="http://schemas.microsoft.com/office/drawing/2014/main" id="{2A46A89A-B268-4AAA-B62B-E4F56BB91B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4810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직선 연결선 106">
              <a:extLst>
                <a:ext uri="{FF2B5EF4-FFF2-40B4-BE49-F238E27FC236}">
                  <a16:creationId xmlns:a16="http://schemas.microsoft.com/office/drawing/2014/main" id="{DC8587BF-5E3F-42B7-A646-3E0A31358B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5530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직선 연결선 107">
              <a:extLst>
                <a:ext uri="{FF2B5EF4-FFF2-40B4-BE49-F238E27FC236}">
                  <a16:creationId xmlns:a16="http://schemas.microsoft.com/office/drawing/2014/main" id="{49C3DDE3-7FE6-49D4-A4F8-C4F949D67B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6250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 108">
              <a:extLst>
                <a:ext uri="{FF2B5EF4-FFF2-40B4-BE49-F238E27FC236}">
                  <a16:creationId xmlns:a16="http://schemas.microsoft.com/office/drawing/2014/main" id="{34E3D918-A2CE-4AF0-AB28-2DD2B40EE2B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6970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직선 연결선 109">
              <a:extLst>
                <a:ext uri="{FF2B5EF4-FFF2-40B4-BE49-F238E27FC236}">
                  <a16:creationId xmlns:a16="http://schemas.microsoft.com/office/drawing/2014/main" id="{832428DE-60B2-4587-ACE0-ECF337B94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7690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직선 연결선 110">
              <a:extLst>
                <a:ext uri="{FF2B5EF4-FFF2-40B4-BE49-F238E27FC236}">
                  <a16:creationId xmlns:a16="http://schemas.microsoft.com/office/drawing/2014/main" id="{94DD02A3-4085-4E98-B600-70A9FE5404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8410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직선 연결선 111">
              <a:extLst>
                <a:ext uri="{FF2B5EF4-FFF2-40B4-BE49-F238E27FC236}">
                  <a16:creationId xmlns:a16="http://schemas.microsoft.com/office/drawing/2014/main" id="{6FEFFBC0-A8C1-41E0-A0F9-4250967D35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9130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직선 연결선 112">
              <a:extLst>
                <a:ext uri="{FF2B5EF4-FFF2-40B4-BE49-F238E27FC236}">
                  <a16:creationId xmlns:a16="http://schemas.microsoft.com/office/drawing/2014/main" id="{43EF7922-5A9C-4FA1-A35B-BF04864987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9850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직선 연결선 113">
              <a:extLst>
                <a:ext uri="{FF2B5EF4-FFF2-40B4-BE49-F238E27FC236}">
                  <a16:creationId xmlns:a16="http://schemas.microsoft.com/office/drawing/2014/main" id="{A4DC170C-2C69-4CAB-9DE6-F8BEB74FE6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0570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직선 연결선 114">
              <a:extLst>
                <a:ext uri="{FF2B5EF4-FFF2-40B4-BE49-F238E27FC236}">
                  <a16:creationId xmlns:a16="http://schemas.microsoft.com/office/drawing/2014/main" id="{A16ECC21-0F1A-44A5-86C1-280BCEA5D2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1290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직선 연결선 115">
              <a:extLst>
                <a:ext uri="{FF2B5EF4-FFF2-40B4-BE49-F238E27FC236}">
                  <a16:creationId xmlns:a16="http://schemas.microsoft.com/office/drawing/2014/main" id="{BB0E6BEB-0D85-4269-A4DE-C86F54D1E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2010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직선 연결선 116">
              <a:extLst>
                <a:ext uri="{FF2B5EF4-FFF2-40B4-BE49-F238E27FC236}">
                  <a16:creationId xmlns:a16="http://schemas.microsoft.com/office/drawing/2014/main" id="{91D35255-5D58-4627-B848-020F4AA8B5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2731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직선 연결선 117">
              <a:extLst>
                <a:ext uri="{FF2B5EF4-FFF2-40B4-BE49-F238E27FC236}">
                  <a16:creationId xmlns:a16="http://schemas.microsoft.com/office/drawing/2014/main" id="{4F7C2E9A-6CBB-48E3-8A92-4B406AA549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3451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직선 연결선 118">
              <a:extLst>
                <a:ext uri="{FF2B5EF4-FFF2-40B4-BE49-F238E27FC236}">
                  <a16:creationId xmlns:a16="http://schemas.microsoft.com/office/drawing/2014/main" id="{5D2CD2CB-6492-472C-82E3-306E8EC31B2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4171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직선 연결선 119">
              <a:extLst>
                <a:ext uri="{FF2B5EF4-FFF2-40B4-BE49-F238E27FC236}">
                  <a16:creationId xmlns:a16="http://schemas.microsoft.com/office/drawing/2014/main" id="{8860B057-8D9B-4BB2-89C2-F179D48B4F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4891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직선 연결선 120">
              <a:extLst>
                <a:ext uri="{FF2B5EF4-FFF2-40B4-BE49-F238E27FC236}">
                  <a16:creationId xmlns:a16="http://schemas.microsoft.com/office/drawing/2014/main" id="{46E402E4-1ED3-421B-A0A9-61BD7165F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5611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직선 연결선 121">
              <a:extLst>
                <a:ext uri="{FF2B5EF4-FFF2-40B4-BE49-F238E27FC236}">
                  <a16:creationId xmlns:a16="http://schemas.microsoft.com/office/drawing/2014/main" id="{6AFD888A-6BA3-4C07-88F8-3E0D55447E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6331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직선 연결선 122">
              <a:extLst>
                <a:ext uri="{FF2B5EF4-FFF2-40B4-BE49-F238E27FC236}">
                  <a16:creationId xmlns:a16="http://schemas.microsoft.com/office/drawing/2014/main" id="{EE01ACF1-768B-46FE-9EAC-0969F54502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7051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직선 연결선 123">
              <a:extLst>
                <a:ext uri="{FF2B5EF4-FFF2-40B4-BE49-F238E27FC236}">
                  <a16:creationId xmlns:a16="http://schemas.microsoft.com/office/drawing/2014/main" id="{548DFFCD-4A8E-4A5D-B57C-F26EF6D17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7771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직선 연결선 124">
              <a:extLst>
                <a:ext uri="{FF2B5EF4-FFF2-40B4-BE49-F238E27FC236}">
                  <a16:creationId xmlns:a16="http://schemas.microsoft.com/office/drawing/2014/main" id="{B602F4AC-1DD4-440C-955A-7AA2A75A8E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8491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직선 연결선 125">
              <a:extLst>
                <a:ext uri="{FF2B5EF4-FFF2-40B4-BE49-F238E27FC236}">
                  <a16:creationId xmlns:a16="http://schemas.microsoft.com/office/drawing/2014/main" id="{0C27EC7B-C551-4E7F-8815-D32D410423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9211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76CA4030-F1CE-488A-9136-FA1ED7DCC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9931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직선 연결선 127">
              <a:extLst>
                <a:ext uri="{FF2B5EF4-FFF2-40B4-BE49-F238E27FC236}">
                  <a16:creationId xmlns:a16="http://schemas.microsoft.com/office/drawing/2014/main" id="{E572D9D9-2E14-4AEA-9410-B5A41C0014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0651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직선 연결선 128">
              <a:extLst>
                <a:ext uri="{FF2B5EF4-FFF2-40B4-BE49-F238E27FC236}">
                  <a16:creationId xmlns:a16="http://schemas.microsoft.com/office/drawing/2014/main" id="{4008FFE5-2032-4993-9F28-E58C492B22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1371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직선 연결선 129">
              <a:extLst>
                <a:ext uri="{FF2B5EF4-FFF2-40B4-BE49-F238E27FC236}">
                  <a16:creationId xmlns:a16="http://schemas.microsoft.com/office/drawing/2014/main" id="{0CC8D05B-F7D9-4950-8F7B-591260059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2092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직선 연결선 130">
              <a:extLst>
                <a:ext uri="{FF2B5EF4-FFF2-40B4-BE49-F238E27FC236}">
                  <a16:creationId xmlns:a16="http://schemas.microsoft.com/office/drawing/2014/main" id="{7E4CCAF8-E926-4F0C-BC14-CAB41D3243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62812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직선 연결선 131">
              <a:extLst>
                <a:ext uri="{FF2B5EF4-FFF2-40B4-BE49-F238E27FC236}">
                  <a16:creationId xmlns:a16="http://schemas.microsoft.com/office/drawing/2014/main" id="{E8F3132F-3751-4439-A088-03814F0A92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3532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직선 연결선 132">
              <a:extLst>
                <a:ext uri="{FF2B5EF4-FFF2-40B4-BE49-F238E27FC236}">
                  <a16:creationId xmlns:a16="http://schemas.microsoft.com/office/drawing/2014/main" id="{2505860C-2AA5-4CFA-8AA8-95EDBD85F3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4252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50DCC2BE-D12F-4722-8A24-8581A8377E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64972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직선 연결선 134">
              <a:extLst>
                <a:ext uri="{FF2B5EF4-FFF2-40B4-BE49-F238E27FC236}">
                  <a16:creationId xmlns:a16="http://schemas.microsoft.com/office/drawing/2014/main" id="{65D120E4-EADF-46AE-B5D3-2A34C0D8BD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5692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직사각형 137"/>
            <p:cNvSpPr/>
            <p:nvPr userDrawn="1"/>
          </p:nvSpPr>
          <p:spPr>
            <a:xfrm>
              <a:off x="431255" y="808583"/>
              <a:ext cx="3240360" cy="576064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63"/>
            </a:p>
          </p:txBody>
        </p:sp>
      </p:grp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836764"/>
            <a:ext cx="3240000" cy="50400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65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138" dirty="0">
              <a:solidFill>
                <a:srgbClr val="000000"/>
              </a:solidFill>
              <a:latin typeface="+mj-lt"/>
              <a:ea typeface="+mj-ea"/>
              <a:cs typeface="나눔고딕"/>
              <a:sym typeface="나눔고딕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47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48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152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2864525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A95B087C-BAFD-4DA5-9221-D8A61F792E69}"/>
              </a:ext>
            </a:extLst>
          </p:cNvPr>
          <p:cNvSpPr/>
          <p:nvPr userDrawn="1"/>
        </p:nvSpPr>
        <p:spPr>
          <a:xfrm>
            <a:off x="3527599" y="620688"/>
            <a:ext cx="144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8DCD552-8D17-4371-9D15-B3FAB82B7CCF}"/>
              </a:ext>
            </a:extLst>
          </p:cNvPr>
          <p:cNvSpPr/>
          <p:nvPr userDrawn="1"/>
        </p:nvSpPr>
        <p:spPr>
          <a:xfrm>
            <a:off x="431575" y="621256"/>
            <a:ext cx="3240000" cy="5760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836764"/>
            <a:ext cx="3240000" cy="50400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65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138" dirty="0">
              <a:solidFill>
                <a:srgbClr val="000000"/>
              </a:solidFill>
              <a:latin typeface="+mj-lt"/>
              <a:ea typeface="+mj-ea"/>
              <a:cs typeface="나눔고딕"/>
              <a:sym typeface="나눔고딕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2610727-C064-4F3F-A046-678B8C9A62FD}"/>
              </a:ext>
            </a:extLst>
          </p:cNvPr>
          <p:cNvSpPr/>
          <p:nvPr userDrawn="1"/>
        </p:nvSpPr>
        <p:spPr>
          <a:xfrm>
            <a:off x="431255" y="620688"/>
            <a:ext cx="144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D4AFC7C4-B3E2-4FFE-961D-DEBB67642C90}"/>
              </a:ext>
            </a:extLst>
          </p:cNvPr>
          <p:cNvSpPr/>
          <p:nvPr userDrawn="1"/>
        </p:nvSpPr>
        <p:spPr>
          <a:xfrm>
            <a:off x="575271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89CD353C-86B1-460F-8CCC-121B4B183F86}"/>
              </a:ext>
            </a:extLst>
          </p:cNvPr>
          <p:cNvSpPr/>
          <p:nvPr userDrawn="1"/>
        </p:nvSpPr>
        <p:spPr>
          <a:xfrm>
            <a:off x="1007327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DE495A1B-8FCB-490A-A776-560942677F0A}"/>
              </a:ext>
            </a:extLst>
          </p:cNvPr>
          <p:cNvSpPr/>
          <p:nvPr userDrawn="1"/>
        </p:nvSpPr>
        <p:spPr>
          <a:xfrm>
            <a:off x="1079327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FE9EFD5-735E-481A-BE56-AEA2945CB852}"/>
              </a:ext>
            </a:extLst>
          </p:cNvPr>
          <p:cNvSpPr/>
          <p:nvPr userDrawn="1"/>
        </p:nvSpPr>
        <p:spPr>
          <a:xfrm>
            <a:off x="1511383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48534D9-6B10-444C-981A-C5C7EF2E9440}"/>
              </a:ext>
            </a:extLst>
          </p:cNvPr>
          <p:cNvSpPr/>
          <p:nvPr userDrawn="1"/>
        </p:nvSpPr>
        <p:spPr>
          <a:xfrm>
            <a:off x="1583383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F9C85315-A5DC-422F-8F17-C23E3C409F22}"/>
              </a:ext>
            </a:extLst>
          </p:cNvPr>
          <p:cNvSpPr/>
          <p:nvPr userDrawn="1"/>
        </p:nvSpPr>
        <p:spPr>
          <a:xfrm>
            <a:off x="2015439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2B54A96-483F-499B-833E-73DCBDFC7C7F}"/>
              </a:ext>
            </a:extLst>
          </p:cNvPr>
          <p:cNvSpPr/>
          <p:nvPr userDrawn="1"/>
        </p:nvSpPr>
        <p:spPr>
          <a:xfrm>
            <a:off x="2087439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FD89D4F9-1982-4F6B-B05E-FCD96D344EDB}"/>
              </a:ext>
            </a:extLst>
          </p:cNvPr>
          <p:cNvSpPr/>
          <p:nvPr userDrawn="1"/>
        </p:nvSpPr>
        <p:spPr>
          <a:xfrm>
            <a:off x="2519495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4633C03-9C23-49C3-9C56-5974BCCDEB21}"/>
              </a:ext>
            </a:extLst>
          </p:cNvPr>
          <p:cNvSpPr/>
          <p:nvPr userDrawn="1"/>
        </p:nvSpPr>
        <p:spPr>
          <a:xfrm>
            <a:off x="2591495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B0EED6C6-0AE2-4FD5-B1B4-53E91CA41AC2}"/>
              </a:ext>
            </a:extLst>
          </p:cNvPr>
          <p:cNvSpPr/>
          <p:nvPr userDrawn="1"/>
        </p:nvSpPr>
        <p:spPr>
          <a:xfrm>
            <a:off x="3023551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558B6BBA-073E-4AB3-8C0E-2C4F6D1BF20A}"/>
              </a:ext>
            </a:extLst>
          </p:cNvPr>
          <p:cNvSpPr/>
          <p:nvPr userDrawn="1"/>
        </p:nvSpPr>
        <p:spPr>
          <a:xfrm>
            <a:off x="3095551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34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35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39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297310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4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5128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9706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ed" userDrawn="1">
  <p:cSld name="Title Slide Logo Shape Red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BBCFC353-E6BE-4C92-9C9B-AD60DC978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4204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BBCFC353-E6BE-4C92-9C9B-AD60DC978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5032497" y="-1"/>
            <a:ext cx="715950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5" name="Google Shape;95;p14"/>
          <p:cNvSpPr/>
          <p:nvPr/>
        </p:nvSpPr>
        <p:spPr>
          <a:xfrm>
            <a:off x="0" y="3"/>
            <a:ext cx="8914102" cy="6858001"/>
          </a:xfrm>
          <a:custGeom>
            <a:avLst/>
            <a:gdLst/>
            <a:ahLst/>
            <a:cxnLst/>
            <a:rect l="l" t="t" r="r" b="b"/>
            <a:pathLst>
              <a:path w="8914102" h="6858001" extrusionOk="0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463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08" y="5550665"/>
            <a:ext cx="1386831" cy="8546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765175"/>
            <a:ext cx="5140966" cy="2339637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85000"/>
              </a:lnSpc>
              <a:defRPr sz="4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ko-KR" alt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E6B5BD0-CC46-9847-923C-F09159A05C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908" y="3703320"/>
            <a:ext cx="5140966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altLang="ko-KR"/>
              <a:t>Click to edit master subtitle style</a:t>
            </a:r>
            <a:endParaRPr lang="en-US" altLang="ko-KR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872" y="6114000"/>
            <a:ext cx="3299186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979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063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48F0CB18-26EC-4779-9DB5-6EC353736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070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48F0CB18-26EC-4779-9DB5-6EC353736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hape 14">
            <a:extLst>
              <a:ext uri="{FF2B5EF4-FFF2-40B4-BE49-F238E27FC236}">
                <a16:creationId xmlns:a16="http://schemas.microsoft.com/office/drawing/2014/main" id="{D750D1C8-56CD-43EF-97CC-2AF1CC9F46C2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6009148" y="-4719241"/>
            <a:ext cx="152399" cy="11121231"/>
          </a:xfrm>
          <a:prstGeom prst="bentConnector2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10">
            <a:extLst>
              <a:ext uri="{FF2B5EF4-FFF2-40B4-BE49-F238E27FC236}">
                <a16:creationId xmlns:a16="http://schemas.microsoft.com/office/drawing/2014/main" id="{6BE06D0F-9264-403C-A9B2-9479962D5E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203" y="429540"/>
            <a:ext cx="6898757" cy="302753"/>
          </a:xfrm>
          <a:prstGeom prst="rect">
            <a:avLst/>
          </a:prstGeom>
        </p:spPr>
        <p:txBody>
          <a:bodyPr wrap="none"/>
          <a:lstStyle>
            <a:lvl1pPr marL="0" marR="0" indent="-151171" algn="l" defTabSz="95964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30"/>
              </a:spcAft>
              <a:buClr>
                <a:prstClr val="black"/>
              </a:buClr>
              <a:buSzTx/>
              <a:buFontTx/>
              <a:buNone/>
              <a:tabLst/>
              <a:defRPr lang="ko-KR" altLang="en-US" sz="1400" b="1" kern="1200" spc="0" baseline="0" dirty="0">
                <a:ln>
                  <a:noFill/>
                </a:ln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defRPr>
            </a:lvl1pPr>
          </a:lstStyle>
          <a:p>
            <a:pPr marL="0" marR="0" lvl="0" indent="0" algn="l" defTabSz="9144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38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r>
              <a:rPr lang="ko-KR" altLang="en-US" dirty="0"/>
              <a:t>슬라이드 제목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9F70F65-FD76-4408-AB42-4FDE7EFE66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2719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926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91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DB344CF8-BD1F-405C-A84A-0214996AD2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569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DB344CF8-BD1F-405C-A84A-0214996AD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>
            <a:extLst>
              <a:ext uri="{FF2B5EF4-FFF2-40B4-BE49-F238E27FC236}">
                <a16:creationId xmlns:a16="http://schemas.microsoft.com/office/drawing/2014/main" id="{4B5B2E2E-61C0-4ED8-A1FC-8B5F260224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8DCA1EC-F636-4654-B57A-3B4D8A384D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3" y="6339928"/>
            <a:ext cx="671682" cy="414721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E66F30D-036F-4B00-9BDD-09E7865A89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930" y="6575730"/>
            <a:ext cx="1187540" cy="16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6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905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9792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61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938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3624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8448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8929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4812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2820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29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9B215D55-7A13-4B5D-9BA8-186B2D83A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0270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9B215D55-7A13-4B5D-9BA8-186B2D83A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esentation Title"/>
          <p:cNvSpPr>
            <a:spLocks noGrp="1"/>
          </p:cNvSpPr>
          <p:nvPr>
            <p:ph type="ctrTitle" hasCustomPrompt="1"/>
          </p:nvPr>
        </p:nvSpPr>
        <p:spPr>
          <a:xfrm>
            <a:off x="511908" y="457201"/>
            <a:ext cx="5453185" cy="2514601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100000"/>
              </a:lnSpc>
              <a:defRPr sz="54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Thank you</a:t>
            </a:r>
            <a:endParaRPr lang="ko-KR" altLang="en-US" dirty="0"/>
          </a:p>
        </p:txBody>
      </p:sp>
      <p:sp>
        <p:nvSpPr>
          <p:cNvPr id="14" name="Rectangle"/>
          <p:cNvSpPr/>
          <p:nvPr/>
        </p:nvSpPr>
        <p:spPr bwMode="hidden">
          <a:xfrm>
            <a:off x="1" y="4940856"/>
            <a:ext cx="12192000" cy="1917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13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2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6702" tIns="33350" rIns="66702" bIns="33350" numCol="1" anchor="t" anchorCtr="0" compatLnSpc="1">
            <a:prstTxWarp prst="textNoShape">
              <a:avLst/>
            </a:prstTxWarp>
          </a:bodyPr>
          <a:lstStyle/>
          <a:p>
            <a:endParaRPr lang="ko-KR" altLang="en-US" sz="1313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11908" y="5212081"/>
            <a:ext cx="11168185" cy="1096644"/>
          </a:xfr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0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altLang="ko-KR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© &lt;YEAR HERE&gt; </a:t>
            </a:r>
            <a:r>
              <a:rPr lang="ko-KR" altLang="en-US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프라이스워터하우스쿠퍼스컨설팅</a:t>
            </a:r>
            <a:r>
              <a:rPr lang="en-US" altLang="ko-KR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. All rights reserved. </a:t>
            </a:r>
            <a:endParaRPr lang="en-US" altLang="ko-KR" sz="1000" dirty="0">
              <a:solidFill>
                <a:schemeClr val="bg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2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6702" tIns="33350" rIns="66702" bIns="33350" numCol="1" anchor="t" anchorCtr="0" compatLnSpc="1">
            <a:prstTxWarp prst="textNoShape">
              <a:avLst/>
            </a:prstTxWarp>
          </a:bodyPr>
          <a:lstStyle/>
          <a:p>
            <a:endParaRPr lang="ko-KR" altLang="en-US" sz="1313" dirty="0"/>
          </a:p>
        </p:txBody>
      </p:sp>
    </p:spTree>
    <p:extLst>
      <p:ext uri="{BB962C8B-B14F-4D97-AF65-F5344CB8AC3E}">
        <p14:creationId xmlns:p14="http://schemas.microsoft.com/office/powerpoint/2010/main" val="3333901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48F0CB18-26EC-4779-9DB5-6EC353736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070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48F0CB18-26EC-4779-9DB5-6EC353736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hape 14">
            <a:extLst>
              <a:ext uri="{FF2B5EF4-FFF2-40B4-BE49-F238E27FC236}">
                <a16:creationId xmlns:a16="http://schemas.microsoft.com/office/drawing/2014/main" id="{D750D1C8-56CD-43EF-97CC-2AF1CC9F46C2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6009148" y="-4719241"/>
            <a:ext cx="152399" cy="11121231"/>
          </a:xfrm>
          <a:prstGeom prst="bentConnector2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10">
            <a:extLst>
              <a:ext uri="{FF2B5EF4-FFF2-40B4-BE49-F238E27FC236}">
                <a16:creationId xmlns:a16="http://schemas.microsoft.com/office/drawing/2014/main" id="{6BE06D0F-9264-403C-A9B2-9479962D5E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203" y="429540"/>
            <a:ext cx="6898757" cy="302753"/>
          </a:xfrm>
          <a:prstGeom prst="rect">
            <a:avLst/>
          </a:prstGeom>
        </p:spPr>
        <p:txBody>
          <a:bodyPr wrap="none"/>
          <a:lstStyle>
            <a:lvl1pPr marL="0" marR="0" indent="-151171" algn="l" defTabSz="95964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30"/>
              </a:spcAft>
              <a:buClr>
                <a:prstClr val="black"/>
              </a:buClr>
              <a:buSzTx/>
              <a:buFontTx/>
              <a:buNone/>
              <a:tabLst/>
              <a:defRPr lang="ko-KR" altLang="en-US" sz="1400" b="1" kern="1200" spc="0" baseline="0" dirty="0">
                <a:ln>
                  <a:noFill/>
                </a:ln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defRPr>
            </a:lvl1pPr>
          </a:lstStyle>
          <a:p>
            <a:pPr marL="0" marR="0" lvl="0" indent="0" algn="l" defTabSz="9144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38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r>
              <a:rPr lang="ko-KR" altLang="en-US" dirty="0"/>
              <a:t>슬라이드 제목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9F70F65-FD76-4408-AB42-4FDE7EFE66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1951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ed" userDrawn="1">
  <p:cSld name="Title Slide Logo Shape Red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BBCFC353-E6BE-4C92-9C9B-AD60DC978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4204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BBCFC353-E6BE-4C92-9C9B-AD60DC978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5032497" y="-1"/>
            <a:ext cx="715950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5" name="Google Shape;95;p14"/>
          <p:cNvSpPr/>
          <p:nvPr/>
        </p:nvSpPr>
        <p:spPr>
          <a:xfrm>
            <a:off x="0" y="3"/>
            <a:ext cx="8914102" cy="6858001"/>
          </a:xfrm>
          <a:custGeom>
            <a:avLst/>
            <a:gdLst/>
            <a:ahLst/>
            <a:cxnLst/>
            <a:rect l="l" t="t" r="r" b="b"/>
            <a:pathLst>
              <a:path w="8914102" h="6858001" extrusionOk="0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463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08" y="5550665"/>
            <a:ext cx="1386831" cy="8546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765175"/>
            <a:ext cx="5140966" cy="2339637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85000"/>
              </a:lnSpc>
              <a:defRPr sz="4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ko-KR" alt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E6B5BD0-CC46-9847-923C-F09159A05C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908" y="3703320"/>
            <a:ext cx="5140966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altLang="ko-KR"/>
              <a:t>Click to edit master subtitle style</a:t>
            </a:r>
            <a:endParaRPr lang="en-US" altLang="ko-KR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872" y="6114000"/>
            <a:ext cx="3299186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38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EB4F3052-A950-44A7-8C59-AB78FDAA3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080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EB4F3052-A950-44A7-8C59-AB78FDAA3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 anchorCtr="0">
            <a:normAutofit/>
          </a:bodyPr>
          <a:lstStyle>
            <a:lvl1pPr>
              <a:defRPr lang="en-US" sz="1300" dirty="0">
                <a:latin typeface="맑은 고딕" panose="020B0503020000020004" pitchFamily="50" charset="-127"/>
                <a:cs typeface="+mj-cs"/>
              </a:defRPr>
            </a:lvl1pPr>
          </a:lstStyle>
          <a:p>
            <a:pPr lvl="0"/>
            <a:r>
              <a:rPr lang="en-US" dirty="0"/>
              <a:t>HEAD</a:t>
            </a:r>
            <a:r>
              <a:rPr lang="ko-KR" altLang="en-US" dirty="0"/>
              <a:t> </a:t>
            </a:r>
            <a:r>
              <a:rPr lang="en-US" altLang="ko-KR" dirty="0"/>
              <a:t>MESSEAGE</a:t>
            </a:r>
            <a:endParaRPr lang="en-US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4"/>
            <a:ext cx="11306174" cy="320177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dirty="0">
                <a:solidFill>
                  <a:schemeClr val="tx2"/>
                </a:solidFill>
                <a:latin typeface="맑은 고딕" panose="020B0503020000020004" pitchFamily="50" charset="-127"/>
              </a:defRPr>
            </a:lvl1pPr>
          </a:lstStyle>
          <a:p>
            <a:pPr marL="0" lvl="0" indent="0">
              <a:spcAft>
                <a:spcPts val="0"/>
              </a:spcAft>
              <a:buNone/>
            </a:pPr>
            <a:r>
              <a:rPr lang="en-US" dirty="0"/>
              <a:t>TITLE</a:t>
            </a:r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609">
                <a:latin typeface="+mn-ea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FontTx/>
              <a:buNone/>
              <a:defRPr sz="609"/>
            </a:lvl2pPr>
            <a:lvl3pPr marL="0" indent="0">
              <a:spcAft>
                <a:spcPts val="0"/>
              </a:spcAft>
              <a:buFontTx/>
              <a:buNone/>
              <a:defRPr sz="609"/>
            </a:lvl3pPr>
            <a:lvl4pPr marL="0" indent="0">
              <a:spcAft>
                <a:spcPts val="0"/>
              </a:spcAft>
              <a:buFontTx/>
              <a:buNone/>
              <a:defRPr sz="609"/>
            </a:lvl4pPr>
            <a:lvl5pPr marL="0" indent="0">
              <a:spcAft>
                <a:spcPts val="0"/>
              </a:spcAft>
              <a:buFontTx/>
              <a:buNone/>
              <a:defRPr sz="609"/>
            </a:lvl5pPr>
            <a:lvl6pPr marL="0" indent="0">
              <a:spcAft>
                <a:spcPts val="0"/>
              </a:spcAft>
              <a:buFontTx/>
              <a:buNone/>
              <a:defRPr sz="609"/>
            </a:lvl6pPr>
            <a:lvl7pPr marL="0" indent="0">
              <a:spcAft>
                <a:spcPts val="0"/>
              </a:spcAft>
              <a:buFontTx/>
              <a:buNone/>
              <a:defRPr sz="609"/>
            </a:lvl7pPr>
            <a:lvl8pPr marL="0" indent="0">
              <a:spcAft>
                <a:spcPts val="0"/>
              </a:spcAft>
              <a:buFontTx/>
              <a:buNone/>
              <a:defRPr sz="609"/>
            </a:lvl8pPr>
            <a:lvl9pPr marL="0" indent="0">
              <a:spcAft>
                <a:spcPts val="0"/>
              </a:spcAft>
              <a:buFontTx/>
              <a:buNone/>
              <a:defRPr sz="609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9" name="내용 개체 틀 3">
            <a:extLst>
              <a:ext uri="{FF2B5EF4-FFF2-40B4-BE49-F238E27FC236}">
                <a16:creationId xmlns:a16="http://schemas.microsoft.com/office/drawing/2014/main" id="{2AEE61D7-55CE-4A1C-8F49-2C7A3AAAE56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0049691" y="2"/>
            <a:ext cx="1699394" cy="404813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813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2pPr>
            <a:lvl3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3pPr>
            <a:lvl4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4pPr>
            <a:lvl5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5pPr>
          </a:lstStyle>
          <a:p>
            <a:pPr lvl="0"/>
            <a:r>
              <a:rPr lang="ko-KR" altLang="en-US" dirty="0" err="1"/>
              <a:t>대목차</a:t>
            </a:r>
            <a:endParaRPr lang="en-US" altLang="ko-KR" dirty="0"/>
          </a:p>
          <a:p>
            <a:pPr lvl="0"/>
            <a:r>
              <a:rPr lang="ko-KR" altLang="en-US" dirty="0" err="1"/>
              <a:t>중목차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29159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483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38151" y="300883"/>
            <a:ext cx="5657850" cy="261610"/>
          </a:xfrm>
          <a:prstGeom prst="rect">
            <a:avLst/>
          </a:prstGeom>
        </p:spPr>
        <p:txBody>
          <a:bodyPr lIns="0" tIns="46800" rIns="0" bIns="46800"/>
          <a:lstStyle>
            <a:lvl1pPr>
              <a:defRPr sz="894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378014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8408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281940" y="518160"/>
            <a:ext cx="3749040" cy="579120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4577" rtlCol="0" anchor="t" anchorCtr="0"/>
          <a:lstStyle/>
          <a:p>
            <a:pPr algn="ctr"/>
            <a:endParaRPr lang="ko-KR" altLang="en-US" sz="65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274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3CF79F9A-7640-451E-9BC6-DD8CCA827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888664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3CF79F9A-7640-451E-9BC6-DD8CCA827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esentation Title"/>
          <p:cNvSpPr>
            <a:spLocks noGrp="1"/>
          </p:cNvSpPr>
          <p:nvPr>
            <p:ph type="title"/>
          </p:nvPr>
        </p:nvSpPr>
        <p:spPr>
          <a:xfrm>
            <a:off x="511908" y="765174"/>
            <a:ext cx="11168185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altLang="ko-KR"/>
              <a:t>Click to edit slide title style</a:t>
            </a:r>
            <a:endParaRPr lang="ko-KR" alt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511908" y="1916114"/>
            <a:ext cx="11168185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9538E19-6607-4D67-B011-1FE3934AB5D4}"/>
              </a:ext>
            </a:extLst>
          </p:cNvPr>
          <p:cNvSpPr/>
          <p:nvPr/>
        </p:nvSpPr>
        <p:spPr>
          <a:xfrm>
            <a:off x="12345014" y="7478"/>
            <a:ext cx="354462" cy="2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66485C7-7B67-49BA-9BB2-B2597D4C6A8D}"/>
              </a:ext>
            </a:extLst>
          </p:cNvPr>
          <p:cNvSpPr/>
          <p:nvPr/>
        </p:nvSpPr>
        <p:spPr>
          <a:xfrm>
            <a:off x="12345014" y="322549"/>
            <a:ext cx="354462" cy="2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C18F7BFE-2EEF-4835-AABC-61C8F1E889D6}"/>
              </a:ext>
            </a:extLst>
          </p:cNvPr>
          <p:cNvSpPr/>
          <p:nvPr/>
        </p:nvSpPr>
        <p:spPr>
          <a:xfrm>
            <a:off x="12345014" y="641370"/>
            <a:ext cx="354462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1FEB388-AB57-44F5-A6D5-68242D2AF444}"/>
              </a:ext>
            </a:extLst>
          </p:cNvPr>
          <p:cNvSpPr/>
          <p:nvPr/>
        </p:nvSpPr>
        <p:spPr>
          <a:xfrm>
            <a:off x="12764258" y="7478"/>
            <a:ext cx="354462" cy="288000"/>
          </a:xfrm>
          <a:prstGeom prst="rect">
            <a:avLst/>
          </a:prstGeom>
          <a:solidFill>
            <a:srgbClr val="35353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4282D90-6EF1-40FA-9DA4-41DD9723292A}"/>
              </a:ext>
            </a:extLst>
          </p:cNvPr>
          <p:cNvSpPr/>
          <p:nvPr/>
        </p:nvSpPr>
        <p:spPr>
          <a:xfrm>
            <a:off x="12764258" y="322549"/>
            <a:ext cx="354462" cy="288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42FADFB-AFA0-46AF-9B36-F41A961E3E69}"/>
              </a:ext>
            </a:extLst>
          </p:cNvPr>
          <p:cNvSpPr/>
          <p:nvPr/>
        </p:nvSpPr>
        <p:spPr>
          <a:xfrm>
            <a:off x="12764258" y="641370"/>
            <a:ext cx="354462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50C90A90-6942-4419-9300-0C8316FBDA7E}"/>
              </a:ext>
            </a:extLst>
          </p:cNvPr>
          <p:cNvSpPr/>
          <p:nvPr userDrawn="1"/>
        </p:nvSpPr>
        <p:spPr>
          <a:xfrm>
            <a:off x="12345014" y="960715"/>
            <a:ext cx="354462" cy="28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A925C31-7D48-42CC-B519-79428BF2F795}"/>
              </a:ext>
            </a:extLst>
          </p:cNvPr>
          <p:cNvSpPr/>
          <p:nvPr userDrawn="1"/>
        </p:nvSpPr>
        <p:spPr>
          <a:xfrm>
            <a:off x="12764258" y="960715"/>
            <a:ext cx="354462" cy="2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44D2380E-7B97-478F-A84D-3114681165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3" y="6339928"/>
            <a:ext cx="671682" cy="414721"/>
          </a:xfrm>
          <a:prstGeom prst="rect">
            <a:avLst/>
          </a:prstGeom>
        </p:spPr>
      </p:pic>
      <p:sp>
        <p:nvSpPr>
          <p:cNvPr id="21" name="Rectangle 4">
            <a:extLst>
              <a:ext uri="{FF2B5EF4-FFF2-40B4-BE49-F238E27FC236}">
                <a16:creationId xmlns:a16="http://schemas.microsoft.com/office/drawing/2014/main" id="{D429D2C8-7972-4CA2-8CDB-75B1B999FD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645E170-7712-43AF-6CE6-2A7BCF78C51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930" y="6575730"/>
            <a:ext cx="1187540" cy="16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790" r:id="rId2"/>
    <p:sldLayoutId id="2147483809" r:id="rId3"/>
    <p:sldLayoutId id="2147483818" r:id="rId4"/>
    <p:sldLayoutId id="2147483819" r:id="rId5"/>
    <p:sldLayoutId id="2147483845" r:id="rId6"/>
  </p:sldLayoutIdLst>
  <p:hf hdr="0" ftr="0" dt="0"/>
  <p:txStyles>
    <p:titleStyle>
      <a:lvl1pPr algn="l" defTabSz="666985" rtl="0" eaLnBrk="1" latinLnBrk="1" hangingPunct="1">
        <a:lnSpc>
          <a:spcPct val="100000"/>
        </a:lnSpc>
        <a:spcBef>
          <a:spcPts val="0"/>
        </a:spcBef>
        <a:buNone/>
        <a:defRPr sz="26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j-cs"/>
          <a:sym typeface="맑은 고딕" panose="020B0503020000020004" pitchFamily="50" charset="-127"/>
        </a:defRPr>
      </a:lvl1pPr>
    </p:titleStyle>
    <p:bodyStyle>
      <a:lvl1pPr marL="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>
          <a:prstClr val="black"/>
        </a:buClr>
        <a:buSzTx/>
        <a:buFontTx/>
        <a:buNone/>
        <a:tabLst/>
        <a:defRPr sz="1200" b="1" kern="1200" spc="-30" baseline="0">
          <a:solidFill>
            <a:schemeClr val="accent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1pPr>
      <a:lvl2pPr marL="144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•"/>
        <a:tabLst/>
        <a:defRPr sz="12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2pPr>
      <a:lvl3pPr marL="360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-"/>
        <a:tabLst/>
        <a:defRPr sz="12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3pPr>
      <a:lvl4pPr marL="576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4pPr>
      <a:lvl5pPr marL="720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›"/>
        <a:tabLst/>
        <a:defRPr sz="12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5pPr>
      <a:lvl6pPr marL="711451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–"/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889314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1067177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–"/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1245040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33493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66985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00478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33972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667464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00957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334450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667942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322" userDrawn="1">
          <p15:clr>
            <a:srgbClr val="F26B43"/>
          </p15:clr>
        </p15:guide>
        <p15:guide id="2" pos="7358" userDrawn="1">
          <p15:clr>
            <a:srgbClr val="F26B43"/>
          </p15:clr>
        </p15:guide>
        <p15:guide id="3" pos="3922" userDrawn="1">
          <p15:clr>
            <a:srgbClr val="F26B43"/>
          </p15:clr>
        </p15:guide>
        <p15:guide id="4" pos="3758" userDrawn="1">
          <p15:clr>
            <a:srgbClr val="F26B43"/>
          </p15:clr>
        </p15:guide>
        <p15:guide id="5" orient="horz" pos="3838" userDrawn="1">
          <p15:clr>
            <a:srgbClr val="F26B43"/>
          </p15:clr>
        </p15:guide>
        <p15:guide id="6" pos="2724" userDrawn="1">
          <p15:clr>
            <a:srgbClr val="F26B43"/>
          </p15:clr>
        </p15:guide>
        <p15:guide id="7" pos="2556" userDrawn="1">
          <p15:clr>
            <a:srgbClr val="F26B43"/>
          </p15:clr>
        </p15:guide>
        <p15:guide id="8" pos="4956" userDrawn="1">
          <p15:clr>
            <a:srgbClr val="F26B43"/>
          </p15:clr>
        </p15:guide>
        <p15:guide id="9" pos="512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2" orient="horz" pos="663" userDrawn="1">
          <p15:clr>
            <a:srgbClr val="F26B43"/>
          </p15:clr>
        </p15:guide>
        <p15:guide id="13" orient="horz" pos="482" userDrawn="1">
          <p15:clr>
            <a:srgbClr val="F26B43"/>
          </p15:clr>
        </p15:guide>
        <p15:guide id="14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201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8" r:id="rId7"/>
    <p:sldLayoutId id="2147483829" r:id="rId8"/>
    <p:sldLayoutId id="2147483830" r:id="rId9"/>
    <p:sldLayoutId id="2147483844" r:id="rId10"/>
    <p:sldLayoutId id="2147483847" r:id="rId11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0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4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6" r:id="rId1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4.xml"/><Relationship Id="rId6" Type="http://schemas.openxmlformats.org/officeDocument/2006/relationships/image" Target="../media/image87.png"/><Relationship Id="rId5" Type="http://schemas.openxmlformats.org/officeDocument/2006/relationships/image" Target="../media/image89.png"/><Relationship Id="rId4" Type="http://schemas.openxmlformats.org/officeDocument/2006/relationships/image" Target="../media/image11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5.xml"/><Relationship Id="rId6" Type="http://schemas.openxmlformats.org/officeDocument/2006/relationships/image" Target="../media/image87.png"/><Relationship Id="rId5" Type="http://schemas.openxmlformats.org/officeDocument/2006/relationships/image" Target="../media/image90.png"/><Relationship Id="rId4" Type="http://schemas.openxmlformats.org/officeDocument/2006/relationships/image" Target="../media/image11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6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7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notesSlide" Target="../notesSlides/notesSlide10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8.xml"/><Relationship Id="rId6" Type="http://schemas.openxmlformats.org/officeDocument/2006/relationships/hyperlink" Target="https://www.pwcconsulting.co.kr/ko/services/financial-services.html" TargetMode="External"/><Relationship Id="rId11" Type="http://schemas.openxmlformats.org/officeDocument/2006/relationships/image" Target="../media/image87.png"/><Relationship Id="rId5" Type="http://schemas.openxmlformats.org/officeDocument/2006/relationships/image" Target="../media/image83.jpeg"/><Relationship Id="rId10" Type="http://schemas.openxmlformats.org/officeDocument/2006/relationships/image" Target="../media/image86.png"/><Relationship Id="rId4" Type="http://schemas.openxmlformats.org/officeDocument/2006/relationships/image" Target="../media/image82.jpeg"/><Relationship Id="rId9" Type="http://schemas.openxmlformats.org/officeDocument/2006/relationships/image" Target="../media/image43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9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0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1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2.xml"/><Relationship Id="rId6" Type="http://schemas.openxmlformats.org/officeDocument/2006/relationships/image" Target="../media/image101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1.png"/><Relationship Id="rId4" Type="http://schemas.openxmlformats.org/officeDocument/2006/relationships/image" Target="../media/image11.png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02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jpeg"/><Relationship Id="rId9" Type="http://schemas.openxmlformats.org/officeDocument/2006/relationships/image" Target="../media/image101.pn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5.png"/><Relationship Id="rId5" Type="http://schemas.openxmlformats.org/officeDocument/2006/relationships/image" Target="../media/image106.png"/><Relationship Id="rId4" Type="http://schemas.openxmlformats.org/officeDocument/2006/relationships/image" Target="../media/image11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3.xml"/><Relationship Id="rId6" Type="http://schemas.openxmlformats.org/officeDocument/2006/relationships/image" Target="../media/image107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7.png"/><Relationship Id="rId4" Type="http://schemas.openxmlformats.org/officeDocument/2006/relationships/image" Target="../media/image11.png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02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jpeg"/><Relationship Id="rId9" Type="http://schemas.openxmlformats.org/officeDocument/2006/relationships/image" Target="../media/image107.pn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4.xml"/><Relationship Id="rId6" Type="http://schemas.openxmlformats.org/officeDocument/2006/relationships/image" Target="../media/image108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8.png"/><Relationship Id="rId4" Type="http://schemas.openxmlformats.org/officeDocument/2006/relationships/image" Target="../media/image11.png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png"/><Relationship Id="rId5" Type="http://schemas.openxmlformats.org/officeDocument/2006/relationships/image" Target="../media/image104.png"/><Relationship Id="rId4" Type="http://schemas.openxmlformats.org/officeDocument/2006/relationships/image" Target="../media/image103.jpeg"/><Relationship Id="rId9" Type="http://schemas.openxmlformats.org/officeDocument/2006/relationships/image" Target="../media/image108.pn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5.xml"/><Relationship Id="rId6" Type="http://schemas.openxmlformats.org/officeDocument/2006/relationships/image" Target="../media/image110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0.png"/><Relationship Id="rId4" Type="http://schemas.openxmlformats.org/officeDocument/2006/relationships/image" Target="../media/image11.png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png"/><Relationship Id="rId5" Type="http://schemas.openxmlformats.org/officeDocument/2006/relationships/image" Target="../media/image104.png"/><Relationship Id="rId4" Type="http://schemas.openxmlformats.org/officeDocument/2006/relationships/image" Target="../media/image103.jpeg"/><Relationship Id="rId9" Type="http://schemas.openxmlformats.org/officeDocument/2006/relationships/image" Target="../media/image110.pn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6.xml"/><Relationship Id="rId6" Type="http://schemas.openxmlformats.org/officeDocument/2006/relationships/image" Target="../media/image110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0.png"/><Relationship Id="rId4" Type="http://schemas.openxmlformats.org/officeDocument/2006/relationships/image" Target="../media/image11.png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png"/><Relationship Id="rId5" Type="http://schemas.openxmlformats.org/officeDocument/2006/relationships/image" Target="../media/image104.png"/><Relationship Id="rId4" Type="http://schemas.openxmlformats.org/officeDocument/2006/relationships/image" Target="../media/image103.jpeg"/><Relationship Id="rId9" Type="http://schemas.openxmlformats.org/officeDocument/2006/relationships/image" Target="../media/image110.png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7.xml"/><Relationship Id="rId6" Type="http://schemas.openxmlformats.org/officeDocument/2006/relationships/image" Target="../media/image110.png"/><Relationship Id="rId5" Type="http://schemas.openxmlformats.org/officeDocument/2006/relationships/image" Target="../media/image11.png"/><Relationship Id="rId4" Type="http://schemas.openxmlformats.org/officeDocument/2006/relationships/image" Target="../media/image28.png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0.png"/><Relationship Id="rId4" Type="http://schemas.openxmlformats.org/officeDocument/2006/relationships/image" Target="../media/image11.png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png"/><Relationship Id="rId5" Type="http://schemas.openxmlformats.org/officeDocument/2006/relationships/image" Target="../media/image104.png"/><Relationship Id="rId10" Type="http://schemas.openxmlformats.org/officeDocument/2006/relationships/image" Target="../media/image110.png"/><Relationship Id="rId4" Type="http://schemas.openxmlformats.org/officeDocument/2006/relationships/image" Target="../media/image103.jpeg"/><Relationship Id="rId9" Type="http://schemas.openxmlformats.org/officeDocument/2006/relationships/image" Target="../media/image85.png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8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3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9.xml"/><Relationship Id="rId4" Type="http://schemas.openxmlformats.org/officeDocument/2006/relationships/image" Target="../media/image11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16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28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2.xml"/><Relationship Id="rId6" Type="http://schemas.openxmlformats.org/officeDocument/2006/relationships/image" Target="../media/image11.png"/><Relationship Id="rId5" Type="http://schemas.openxmlformats.org/officeDocument/2006/relationships/image" Target="../media/image113.png"/><Relationship Id="rId4" Type="http://schemas.openxmlformats.org/officeDocument/2006/relationships/hyperlink" Target="https://www.globalreporting.org/standards/download-the-standards/" TargetMode="Externa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www.globalreporting.org/standards/download-the-standards/" TargetMode="External"/><Relationship Id="rId4" Type="http://schemas.openxmlformats.org/officeDocument/2006/relationships/image" Target="../media/image11.png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3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image" Target="../media/image114.jpe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103.jpeg"/><Relationship Id="rId5" Type="http://schemas.openxmlformats.org/officeDocument/2006/relationships/tags" Target="../tags/tag158.xml"/><Relationship Id="rId10" Type="http://schemas.openxmlformats.org/officeDocument/2006/relationships/image" Target="../media/image102.jpeg"/><Relationship Id="rId4" Type="http://schemas.openxmlformats.org/officeDocument/2006/relationships/tags" Target="../tags/tag157.xml"/><Relationship Id="rId9" Type="http://schemas.openxmlformats.org/officeDocument/2006/relationships/notesSlide" Target="../notesSlides/notesSlide133.xml"/><Relationship Id="rId14" Type="http://schemas.openxmlformats.org/officeDocument/2006/relationships/image" Target="../media/image11.png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16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34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3.xml"/><Relationship Id="rId5" Type="http://schemas.openxmlformats.org/officeDocument/2006/relationships/image" Target="../media/image11.png"/><Relationship Id="rId4" Type="http://schemas.openxmlformats.org/officeDocument/2006/relationships/image" Target="../media/image1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9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6.xml"/><Relationship Id="rId1" Type="http://schemas.openxmlformats.org/officeDocument/2006/relationships/slideLayout" Target="../slideLayouts/slideLayout16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4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image" Target="../media/image114.jpe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image" Target="../media/image103.jpeg"/><Relationship Id="rId5" Type="http://schemas.openxmlformats.org/officeDocument/2006/relationships/tags" Target="../tags/tag169.xml"/><Relationship Id="rId10" Type="http://schemas.openxmlformats.org/officeDocument/2006/relationships/image" Target="../media/image102.jpeg"/><Relationship Id="rId4" Type="http://schemas.openxmlformats.org/officeDocument/2006/relationships/tags" Target="../tags/tag168.xml"/><Relationship Id="rId9" Type="http://schemas.openxmlformats.org/officeDocument/2006/relationships/notesSlide" Target="../notesSlides/notesSlide138.xml"/><Relationship Id="rId14" Type="http://schemas.openxmlformats.org/officeDocument/2006/relationships/image" Target="../media/image11.png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17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39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4.xml"/><Relationship Id="rId4" Type="http://schemas.openxmlformats.org/officeDocument/2006/relationships/image" Target="../media/image11.png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5.xml"/><Relationship Id="rId4" Type="http://schemas.openxmlformats.org/officeDocument/2006/relationships/image" Target="../media/image11.png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6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114.jpe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image" Target="../media/image103.jpeg"/><Relationship Id="rId5" Type="http://schemas.openxmlformats.org/officeDocument/2006/relationships/tags" Target="../tags/tag181.xml"/><Relationship Id="rId10" Type="http://schemas.openxmlformats.org/officeDocument/2006/relationships/image" Target="../media/image102.jpeg"/><Relationship Id="rId4" Type="http://schemas.openxmlformats.org/officeDocument/2006/relationships/tags" Target="../tags/tag180.xml"/><Relationship Id="rId9" Type="http://schemas.openxmlformats.org/officeDocument/2006/relationships/notesSlide" Target="../notesSlides/notesSlide143.xml"/><Relationship Id="rId14" Type="http://schemas.openxmlformats.org/officeDocument/2006/relationships/image" Target="../media/image11.png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19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4.xml"/><Relationship Id="rId9" Type="http://schemas.openxmlformats.org/officeDocument/2006/relationships/image" Target="../media/image121.png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5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6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7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8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49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0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1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2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3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5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6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7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8.xml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1.png"/><Relationship Id="rId5" Type="http://schemas.openxmlformats.org/officeDocument/2006/relationships/image" Target="../media/image118.png"/><Relationship Id="rId4" Type="http://schemas.openxmlformats.org/officeDocument/2006/relationships/notesSlide" Target="../notesSlides/notesSlide159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122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60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8.xml"/><Relationship Id="rId5" Type="http://schemas.openxmlformats.org/officeDocument/2006/relationships/image" Target="../media/image11.png"/><Relationship Id="rId4" Type="http://schemas.openxmlformats.org/officeDocument/2006/relationships/image" Target="../media/image113.png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9.xml"/><Relationship Id="rId5" Type="http://schemas.openxmlformats.org/officeDocument/2006/relationships/image" Target="../media/image11.png"/><Relationship Id="rId4" Type="http://schemas.openxmlformats.org/officeDocument/2006/relationships/image" Target="../media/image113.png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20.xml"/><Relationship Id="rId5" Type="http://schemas.openxmlformats.org/officeDocument/2006/relationships/image" Target="../media/image11.png"/><Relationship Id="rId4" Type="http://schemas.openxmlformats.org/officeDocument/2006/relationships/image" Target="../media/image113.png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21.xml"/><Relationship Id="rId5" Type="http://schemas.openxmlformats.org/officeDocument/2006/relationships/image" Target="../media/image11.png"/><Relationship Id="rId4" Type="http://schemas.openxmlformats.org/officeDocument/2006/relationships/image" Target="../media/image1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22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s/_rels/slide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14.jpe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103.jpeg"/><Relationship Id="rId5" Type="http://schemas.openxmlformats.org/officeDocument/2006/relationships/tags" Target="../tags/tag227.xml"/><Relationship Id="rId10" Type="http://schemas.openxmlformats.org/officeDocument/2006/relationships/image" Target="../media/image102.jpeg"/><Relationship Id="rId4" Type="http://schemas.openxmlformats.org/officeDocument/2006/relationships/tags" Target="../tags/tag226.xml"/><Relationship Id="rId9" Type="http://schemas.openxmlformats.org/officeDocument/2006/relationships/notesSlide" Target="../notesSlides/notesSlide166.xml"/><Relationship Id="rId14" Type="http://schemas.openxmlformats.org/officeDocument/2006/relationships/image" Target="../media/image11.png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123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67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2.xml"/><Relationship Id="rId4" Type="http://schemas.openxmlformats.org/officeDocument/2006/relationships/image" Target="../media/image11.png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3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s/_rels/slide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image" Target="../media/image114.jpe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image" Target="../media/image103.jpeg"/><Relationship Id="rId5" Type="http://schemas.openxmlformats.org/officeDocument/2006/relationships/tags" Target="../tags/tag238.xml"/><Relationship Id="rId10" Type="http://schemas.openxmlformats.org/officeDocument/2006/relationships/image" Target="../media/image102.jpeg"/><Relationship Id="rId4" Type="http://schemas.openxmlformats.org/officeDocument/2006/relationships/tags" Target="../tags/tag237.xml"/><Relationship Id="rId9" Type="http://schemas.openxmlformats.org/officeDocument/2006/relationships/notesSlide" Target="../notesSlides/notesSlide170.xml"/><Relationship Id="rId14" Type="http://schemas.openxmlformats.org/officeDocument/2006/relationships/image" Target="../media/image11.png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124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71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3.xml"/><Relationship Id="rId4" Type="http://schemas.openxmlformats.org/officeDocument/2006/relationships/image" Target="../media/image11.png"/></Relationships>
</file>

<file path=ppt/slides/_rels/slide1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image" Target="../media/image114.jpe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image" Target="../media/image103.jpeg"/><Relationship Id="rId5" Type="http://schemas.openxmlformats.org/officeDocument/2006/relationships/tags" Target="../tags/tag248.xml"/><Relationship Id="rId10" Type="http://schemas.openxmlformats.org/officeDocument/2006/relationships/image" Target="../media/image102.jpeg"/><Relationship Id="rId4" Type="http://schemas.openxmlformats.org/officeDocument/2006/relationships/tags" Target="../tags/tag247.xml"/><Relationship Id="rId9" Type="http://schemas.openxmlformats.org/officeDocument/2006/relationships/notesSlide" Target="../notesSlides/notesSlide173.xml"/><Relationship Id="rId14" Type="http://schemas.openxmlformats.org/officeDocument/2006/relationships/image" Target="../media/image11.png"/></Relationships>
</file>

<file path=ppt/slides/_rels/slide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15.jpeg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image" Target="../media/image114.jpe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image" Target="../media/image103.jpeg"/><Relationship Id="rId5" Type="http://schemas.openxmlformats.org/officeDocument/2006/relationships/tags" Target="../tags/tag255.xml"/><Relationship Id="rId10" Type="http://schemas.openxmlformats.org/officeDocument/2006/relationships/image" Target="../media/image102.jpeg"/><Relationship Id="rId4" Type="http://schemas.openxmlformats.org/officeDocument/2006/relationships/tags" Target="../tags/tag254.xml"/><Relationship Id="rId9" Type="http://schemas.openxmlformats.org/officeDocument/2006/relationships/notesSlide" Target="../notesSlides/notesSlide174.xml"/><Relationship Id="rId1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6.xml"/><Relationship Id="rId7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27.xml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8.xml"/><Relationship Id="rId4" Type="http://schemas.openxmlformats.org/officeDocument/2006/relationships/image" Target="../media/image11.png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9.xml"/><Relationship Id="rId4" Type="http://schemas.openxmlformats.org/officeDocument/2006/relationships/image" Target="../media/image11.png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7.xml"/><Relationship Id="rId1" Type="http://schemas.openxmlformats.org/officeDocument/2006/relationships/slideLayout" Target="../slideLayouts/slideLayout16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0.xml"/><Relationship Id="rId4" Type="http://schemas.openxmlformats.org/officeDocument/2006/relationships/image" Target="../media/image11.png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9.xml"/><Relationship Id="rId1" Type="http://schemas.openxmlformats.org/officeDocument/2006/relationships/slideLayout" Target="../slideLayouts/slideLayout16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1.xml"/><Relationship Id="rId4" Type="http://schemas.openxmlformats.org/officeDocument/2006/relationships/image" Target="../media/image11.png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2.xml"/><Relationship Id="rId4" Type="http://schemas.openxmlformats.org/officeDocument/2006/relationships/image" Target="../media/image11.png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2.xml"/><Relationship Id="rId1" Type="http://schemas.openxmlformats.org/officeDocument/2006/relationships/slideLayout" Target="../slideLayouts/slideLayout16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3.xml"/><Relationship Id="rId4" Type="http://schemas.openxmlformats.org/officeDocument/2006/relationships/image" Target="../media/image11.png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png"/><Relationship Id="rId3" Type="http://schemas.openxmlformats.org/officeDocument/2006/relationships/tags" Target="../tags/tag30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24.png"/><Relationship Id="rId5" Type="http://schemas.openxmlformats.org/officeDocument/2006/relationships/tags" Target="../tags/tag32.xml"/><Relationship Id="rId10" Type="http://schemas.openxmlformats.org/officeDocument/2006/relationships/image" Target="../media/image23.png"/><Relationship Id="rId4" Type="http://schemas.openxmlformats.org/officeDocument/2006/relationships/tags" Target="../tags/tag31.xml"/><Relationship Id="rId9" Type="http://schemas.openxmlformats.org/officeDocument/2006/relationships/image" Target="../media/image22.png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5.xml"/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4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93.png"/><Relationship Id="rId7" Type="http://schemas.openxmlformats.org/officeDocument/2006/relationships/image" Target="../media/image128.png"/><Relationship Id="rId12" Type="http://schemas.openxmlformats.org/officeDocument/2006/relationships/image" Target="../media/image13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7.png"/><Relationship Id="rId11" Type="http://schemas.openxmlformats.org/officeDocument/2006/relationships/image" Target="../media/image132.png"/><Relationship Id="rId5" Type="http://schemas.openxmlformats.org/officeDocument/2006/relationships/image" Target="../media/image126.png"/><Relationship Id="rId10" Type="http://schemas.openxmlformats.org/officeDocument/2006/relationships/image" Target="../media/image131.png"/><Relationship Id="rId4" Type="http://schemas.openxmlformats.org/officeDocument/2006/relationships/image" Target="../media/image125.png"/><Relationship Id="rId9" Type="http://schemas.openxmlformats.org/officeDocument/2006/relationships/image" Target="../media/image130.png"/></Relationships>
</file>

<file path=ppt/slides/_rels/slide1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7.xml"/><Relationship Id="rId1" Type="http://schemas.openxmlformats.org/officeDocument/2006/relationships/slideLayout" Target="../slideLayouts/slideLayout16.xml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5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33.png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notesSlide" Target="../notesSlides/notesSlide18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.png"/><Relationship Id="rId4" Type="http://schemas.openxmlformats.org/officeDocument/2006/relationships/image" Target="../media/image136.png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.xml"/><Relationship Id="rId7" Type="http://schemas.openxmlformats.org/officeDocument/2006/relationships/image" Target="../media/image13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6.xml"/><Relationship Id="rId6" Type="http://schemas.openxmlformats.org/officeDocument/2006/relationships/image" Target="../media/image25.png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9.png"/><Relationship Id="rId4" Type="http://schemas.openxmlformats.org/officeDocument/2006/relationships/image" Target="../media/image137.png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7.xml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8.xml"/><Relationship Id="rId6" Type="http://schemas.openxmlformats.org/officeDocument/2006/relationships/hyperlink" Target="mailto:Jin-kyu.lee@pwc.com" TargetMode="External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1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notesSlide" Target="../notesSlides/notesSlide18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24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9.xml"/><Relationship Id="rId6" Type="http://schemas.openxmlformats.org/officeDocument/2006/relationships/image" Target="../media/image135.png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7.png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0.xml"/><Relationship Id="rId6" Type="http://schemas.openxmlformats.org/officeDocument/2006/relationships/image" Target="../media/image135.png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1.xml"/><Relationship Id="rId6" Type="http://schemas.openxmlformats.org/officeDocument/2006/relationships/image" Target="../media/image135.png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.xml"/><Relationship Id="rId7" Type="http://schemas.openxmlformats.org/officeDocument/2006/relationships/image" Target="../media/image13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2.xml"/><Relationship Id="rId6" Type="http://schemas.openxmlformats.org/officeDocument/2006/relationships/image" Target="../media/image25.png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3.xml"/><Relationship Id="rId5" Type="http://schemas.openxmlformats.org/officeDocument/2006/relationships/image" Target="../media/image11.png"/><Relationship Id="rId4" Type="http://schemas.openxmlformats.org/officeDocument/2006/relationships/image" Target="../media/image138.png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png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201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1.xml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202.xml"/><Relationship Id="rId1" Type="http://schemas.openxmlformats.org/officeDocument/2006/relationships/slideLayout" Target="../slideLayouts/slideLayout1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5.png"/><Relationship Id="rId5" Type="http://schemas.openxmlformats.org/officeDocument/2006/relationships/image" Target="../media/image118.png"/><Relationship Id="rId4" Type="http://schemas.openxmlformats.org/officeDocument/2006/relationships/image" Target="../media/image14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1.pn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hyperlink" Target="https://www.samilacademy.com/main/main.do" TargetMode="Externa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hyperlink" Target="https://www.pwc.com/kr/ko/services/governance-center.html" TargetMode="External"/><Relationship Id="rId5" Type="http://schemas.openxmlformats.org/officeDocument/2006/relationships/tags" Target="../tags/tag47.xml"/><Relationship Id="rId10" Type="http://schemas.openxmlformats.org/officeDocument/2006/relationships/notesSlide" Target="../notesSlides/notesSlide19.xml"/><Relationship Id="rId4" Type="http://schemas.openxmlformats.org/officeDocument/2006/relationships/tags" Target="../tags/tag46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26.png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4.xml"/><Relationship Id="rId6" Type="http://schemas.openxmlformats.org/officeDocument/2006/relationships/image" Target="../media/image147.png"/><Relationship Id="rId5" Type="http://schemas.microsoft.com/office/2007/relationships/hdphoto" Target="../media/hdphoto2.wdp"/><Relationship Id="rId4" Type="http://schemas.openxmlformats.org/officeDocument/2006/relationships/image" Target="../media/image146.png"/></Relationships>
</file>

<file path=ppt/slides/_rels/slide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48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20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image" Target="../media/image152.png"/><Relationship Id="rId7" Type="http://schemas.openxmlformats.org/officeDocument/2006/relationships/image" Target="../media/image149.png"/><Relationship Id="rId2" Type="http://schemas.openxmlformats.org/officeDocument/2006/relationships/notesSlide" Target="../notesSlides/notesSlide20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10" Type="http://schemas.openxmlformats.org/officeDocument/2006/relationships/image" Target="../media/image11.png"/><Relationship Id="rId4" Type="http://schemas.openxmlformats.org/officeDocument/2006/relationships/image" Target="../media/image153.png"/><Relationship Id="rId9" Type="http://schemas.openxmlformats.org/officeDocument/2006/relationships/image" Target="../media/image147.png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20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58.png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20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0.png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0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2.png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209.xml"/><Relationship Id="rId1" Type="http://schemas.openxmlformats.org/officeDocument/2006/relationships/slideLayout" Target="../slideLayouts/slideLayout16.xml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10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62.png"/><Relationship Id="rId4" Type="http://schemas.openxmlformats.org/officeDocument/2006/relationships/image" Target="../media/image164.png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211.xml"/><Relationship Id="rId1" Type="http://schemas.openxmlformats.org/officeDocument/2006/relationships/slideLayout" Target="../slideLayouts/slideLayout16.xml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7" Type="http://schemas.openxmlformats.org/officeDocument/2006/relationships/image" Target="../media/image167.png"/><Relationship Id="rId2" Type="http://schemas.openxmlformats.org/officeDocument/2006/relationships/notesSlide" Target="../notesSlides/notesSlide2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56.pn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Samil_kim@pwc.co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png"/></Relationships>
</file>

<file path=ppt/slides/_rels/slide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3" Type="http://schemas.openxmlformats.org/officeDocument/2006/relationships/image" Target="../media/image168.png"/><Relationship Id="rId7" Type="http://schemas.openxmlformats.org/officeDocument/2006/relationships/image" Target="../media/image169.png"/><Relationship Id="rId2" Type="http://schemas.openxmlformats.org/officeDocument/2006/relationships/notesSlide" Target="../notesSlides/notesSlide2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6.png"/><Relationship Id="rId5" Type="http://schemas.openxmlformats.org/officeDocument/2006/relationships/image" Target="../media/image58.png"/><Relationship Id="rId4" Type="http://schemas.openxmlformats.org/officeDocument/2006/relationships/image" Target="../media/image166.png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166.png"/><Relationship Id="rId2" Type="http://schemas.openxmlformats.org/officeDocument/2006/relationships/notesSlide" Target="../notesSlides/notesSlide21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8.png"/><Relationship Id="rId5" Type="http://schemas.openxmlformats.org/officeDocument/2006/relationships/image" Target="../media/image169.png"/><Relationship Id="rId4" Type="http://schemas.openxmlformats.org/officeDocument/2006/relationships/image" Target="../media/image56.png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2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6.png"/></Relationships>
</file>

<file path=ppt/slides/_rels/slide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3" Type="http://schemas.openxmlformats.org/officeDocument/2006/relationships/tags" Target="../tags/tag277.xml"/><Relationship Id="rId7" Type="http://schemas.openxmlformats.org/officeDocument/2006/relationships/image" Target="../media/image171.pn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92.png"/><Relationship Id="rId5" Type="http://schemas.openxmlformats.org/officeDocument/2006/relationships/notesSlide" Target="../notesSlides/notesSlide216.xml"/><Relationship Id="rId4" Type="http://schemas.openxmlformats.org/officeDocument/2006/relationships/slideLayout" Target="../slideLayouts/slideLayout16.xml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8.xml"/><Relationship Id="rId5" Type="http://schemas.openxmlformats.org/officeDocument/2006/relationships/image" Target="../media/image11.png"/><Relationship Id="rId4" Type="http://schemas.openxmlformats.org/officeDocument/2006/relationships/image" Target="../media/image173.png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171.png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image" Target="../media/image92.png"/><Relationship Id="rId5" Type="http://schemas.openxmlformats.org/officeDocument/2006/relationships/notesSlide" Target="../notesSlides/notesSlide218.xml"/><Relationship Id="rId4" Type="http://schemas.openxmlformats.org/officeDocument/2006/relationships/slideLayout" Target="../slideLayouts/slideLayout16.xml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image" Target="../media/image171.png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image" Target="../media/image92.png"/><Relationship Id="rId5" Type="http://schemas.openxmlformats.org/officeDocument/2006/relationships/notesSlide" Target="../notesSlides/notesSlide219.xml"/><Relationship Id="rId4" Type="http://schemas.openxmlformats.org/officeDocument/2006/relationships/slideLayout" Target="../slideLayouts/slideLayout16.xml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7" Type="http://schemas.openxmlformats.org/officeDocument/2006/relationships/image" Target="../media/image171.png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92.png"/><Relationship Id="rId5" Type="http://schemas.openxmlformats.org/officeDocument/2006/relationships/notesSlide" Target="../notesSlides/notesSlide220.xml"/><Relationship Id="rId4" Type="http://schemas.openxmlformats.org/officeDocument/2006/relationships/slideLayout" Target="../slideLayouts/slideLayout16.xml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2.png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Samil_kim@pwc.com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.png"/><Relationship Id="rId4" Type="http://schemas.openxmlformats.org/officeDocument/2006/relationships/image" Target="../media/image27.png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2.png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2.png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2.png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26.xml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27.xml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28.xml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29.xml"/><Relationship Id="rId1" Type="http://schemas.openxmlformats.org/officeDocument/2006/relationships/slideLayout" Target="../slideLayouts/slideLayout16.xml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hyperlink" Target="mailto:samil31@pwc.com" TargetMode="Externa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174.png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230.xml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23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6.png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23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3.xml"/><Relationship Id="rId7" Type="http://schemas.openxmlformats.org/officeDocument/2006/relationships/image" Target="../media/image28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54.xml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23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6.png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23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77.png"/><Relationship Id="rId4" Type="http://schemas.openxmlformats.org/officeDocument/2006/relationships/image" Target="../media/image176.png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7.xml"/><Relationship Id="rId7" Type="http://schemas.openxmlformats.org/officeDocument/2006/relationships/image" Target="../media/image28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Samil_kim@pwc.com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61.xml"/><Relationship Id="rId7" Type="http://schemas.openxmlformats.org/officeDocument/2006/relationships/image" Target="../media/image11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6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29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31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30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69.xml"/><Relationship Id="rId7" Type="http://schemas.openxmlformats.org/officeDocument/2006/relationships/image" Target="../media/image11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3.png"/><Relationship Id="rId4" Type="http://schemas.openxmlformats.org/officeDocument/2006/relationships/notesSlide" Target="../notesSlides/notesSlide3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mailto:Samil_kim@pwc.com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17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3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36.png"/><Relationship Id="rId5" Type="http://schemas.openxmlformats.org/officeDocument/2006/relationships/tags" Target="../tags/tag77.xml"/><Relationship Id="rId15" Type="http://schemas.openxmlformats.org/officeDocument/2006/relationships/image" Target="../media/image11.png"/><Relationship Id="rId10" Type="http://schemas.openxmlformats.org/officeDocument/2006/relationships/notesSlide" Target="../notesSlides/notesSlide35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1.xml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3.xml"/><Relationship Id="rId4" Type="http://schemas.openxmlformats.org/officeDocument/2006/relationships/image" Target="../media/image1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4.xml"/><Relationship Id="rId6" Type="http://schemas.openxmlformats.org/officeDocument/2006/relationships/image" Target="../media/image32.png"/><Relationship Id="rId5" Type="http://schemas.openxmlformats.org/officeDocument/2006/relationships/image" Target="../media/image27.png"/><Relationship Id="rId4" Type="http://schemas.openxmlformats.org/officeDocument/2006/relationships/image" Target="../media/image1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5.xml"/><Relationship Id="rId5" Type="http://schemas.openxmlformats.org/officeDocument/2006/relationships/image" Target="../media/image11.png"/><Relationship Id="rId4" Type="http://schemas.openxmlformats.org/officeDocument/2006/relationships/image" Target="../media/image2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4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4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1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4" Type="http://schemas.openxmlformats.org/officeDocument/2006/relationships/image" Target="../media/image1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5" Type="http://schemas.openxmlformats.org/officeDocument/2006/relationships/image" Target="../media/image43.png"/><Relationship Id="rId4" Type="http://schemas.openxmlformats.org/officeDocument/2006/relationships/image" Target="../media/image1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4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1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1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11" Type="http://schemas.openxmlformats.org/officeDocument/2006/relationships/image" Target="../media/image49.png"/><Relationship Id="rId5" Type="http://schemas.openxmlformats.org/officeDocument/2006/relationships/image" Target="../media/image12.png"/><Relationship Id="rId10" Type="http://schemas.openxmlformats.org/officeDocument/2006/relationships/image" Target="../media/image48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1.png"/><Relationship Id="rId4" Type="http://schemas.openxmlformats.org/officeDocument/2006/relationships/image" Target="../media/image12.png"/><Relationship Id="rId9" Type="http://schemas.openxmlformats.org/officeDocument/2006/relationships/image" Target="../media/image4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3.png"/><Relationship Id="rId5" Type="http://schemas.openxmlformats.org/officeDocument/2006/relationships/image" Target="../media/image54.png"/><Relationship Id="rId4" Type="http://schemas.openxmlformats.org/officeDocument/2006/relationships/image" Target="../media/image56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6.xml"/><Relationship Id="rId4" Type="http://schemas.openxmlformats.org/officeDocument/2006/relationships/image" Target="../media/image1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7.xml"/><Relationship Id="rId4" Type="http://schemas.openxmlformats.org/officeDocument/2006/relationships/image" Target="../media/image11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98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9.xml"/><Relationship Id="rId4" Type="http://schemas.openxmlformats.org/officeDocument/2006/relationships/image" Target="../media/image11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0.xml"/><Relationship Id="rId6" Type="http://schemas.openxmlformats.org/officeDocument/2006/relationships/image" Target="../media/image61.png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1.xml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2.xml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3.xml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4.xml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5.xml"/><Relationship Id="rId5" Type="http://schemas.microsoft.com/office/2007/relationships/hdphoto" Target="../media/hdphoto1.wdp"/><Relationship Id="rId4" Type="http://schemas.openxmlformats.org/officeDocument/2006/relationships/image" Target="../media/image6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6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7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7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8.xml"/><Relationship Id="rId6" Type="http://schemas.openxmlformats.org/officeDocument/2006/relationships/image" Target="../media/image62.png"/><Relationship Id="rId5" Type="http://schemas.openxmlformats.org/officeDocument/2006/relationships/image" Target="../media/image64.svg"/><Relationship Id="rId4" Type="http://schemas.openxmlformats.org/officeDocument/2006/relationships/image" Target="../media/image63.png"/><Relationship Id="rId9" Type="http://schemas.openxmlformats.org/officeDocument/2006/relationships/image" Target="../media/image66.sv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11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78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11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13.xml"/><Relationship Id="rId5" Type="http://schemas.openxmlformats.org/officeDocument/2006/relationships/image" Target="../media/image67.png"/><Relationship Id="rId4" Type="http://schemas.openxmlformats.org/officeDocument/2006/relationships/image" Target="../media/image11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14.xml"/><Relationship Id="rId6" Type="http://schemas.openxmlformats.org/officeDocument/2006/relationships/image" Target="../media/image69.emf"/><Relationship Id="rId5" Type="http://schemas.openxmlformats.org/officeDocument/2006/relationships/image" Target="../media/image68.png"/><Relationship Id="rId4" Type="http://schemas.openxmlformats.org/officeDocument/2006/relationships/image" Target="../media/image11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71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70.png"/><Relationship Id="rId5" Type="http://schemas.openxmlformats.org/officeDocument/2006/relationships/tags" Target="../tags/tag119.xml"/><Relationship Id="rId10" Type="http://schemas.openxmlformats.org/officeDocument/2006/relationships/image" Target="../media/image11.png"/><Relationship Id="rId4" Type="http://schemas.openxmlformats.org/officeDocument/2006/relationships/tags" Target="../tags/tag118.xml"/><Relationship Id="rId9" Type="http://schemas.openxmlformats.org/officeDocument/2006/relationships/notesSlide" Target="../notesSlides/notesSlide8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84.xml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2.xml"/><Relationship Id="rId6" Type="http://schemas.openxmlformats.org/officeDocument/2006/relationships/image" Target="../media/image62.png"/><Relationship Id="rId5" Type="http://schemas.openxmlformats.org/officeDocument/2006/relationships/image" Target="../media/image76.svg"/><Relationship Id="rId4" Type="http://schemas.openxmlformats.org/officeDocument/2006/relationships/image" Target="../media/image75.png"/><Relationship Id="rId9" Type="http://schemas.openxmlformats.org/officeDocument/2006/relationships/image" Target="../media/image78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0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3.xml"/><Relationship Id="rId5" Type="http://schemas.openxmlformats.org/officeDocument/2006/relationships/image" Target="../media/image81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87.xml"/><Relationship Id="rId7" Type="http://schemas.openxmlformats.org/officeDocument/2006/relationships/hyperlink" Target="https://www.pwcconsulting.co.kr/ko/services/financial-services.html" TargetMode="External"/><Relationship Id="rId12" Type="http://schemas.openxmlformats.org/officeDocument/2006/relationships/image" Target="../media/image81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4.xml"/><Relationship Id="rId6" Type="http://schemas.openxmlformats.org/officeDocument/2006/relationships/image" Target="../media/image43.png"/><Relationship Id="rId11" Type="http://schemas.openxmlformats.org/officeDocument/2006/relationships/image" Target="../media/image86.png"/><Relationship Id="rId5" Type="http://schemas.openxmlformats.org/officeDocument/2006/relationships/image" Target="../media/image83.jpeg"/><Relationship Id="rId10" Type="http://schemas.openxmlformats.org/officeDocument/2006/relationships/image" Target="../media/image85.png"/><Relationship Id="rId4" Type="http://schemas.openxmlformats.org/officeDocument/2006/relationships/image" Target="../media/image82.jpeg"/><Relationship Id="rId9" Type="http://schemas.openxmlformats.org/officeDocument/2006/relationships/image" Target="../media/image84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5.xml"/><Relationship Id="rId5" Type="http://schemas.openxmlformats.org/officeDocument/2006/relationships/image" Target="../media/image81.png"/><Relationship Id="rId4" Type="http://schemas.openxmlformats.org/officeDocument/2006/relationships/image" Target="../media/image11.pn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notesSlide" Target="../notesSlides/notesSlide89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6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11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7.xml"/><Relationship Id="rId6" Type="http://schemas.openxmlformats.org/officeDocument/2006/relationships/image" Target="../media/image81.png"/><Relationship Id="rId5" Type="http://schemas.openxmlformats.org/officeDocument/2006/relationships/image" Target="../media/image43.png"/><Relationship Id="rId4" Type="http://schemas.openxmlformats.org/officeDocument/2006/relationships/image" Target="../media/image11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8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9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0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94.xml"/><Relationship Id="rId7" Type="http://schemas.openxmlformats.org/officeDocument/2006/relationships/image" Target="../media/image28.pn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1.xml"/><Relationship Id="rId6" Type="http://schemas.openxmlformats.org/officeDocument/2006/relationships/hyperlink" Target="https://www.pwcconsulting.co.kr/ko/services/financial-services.html" TargetMode="External"/><Relationship Id="rId11" Type="http://schemas.openxmlformats.org/officeDocument/2006/relationships/image" Target="../media/image86.png"/><Relationship Id="rId5" Type="http://schemas.openxmlformats.org/officeDocument/2006/relationships/image" Target="../media/image83.jpeg"/><Relationship Id="rId10" Type="http://schemas.openxmlformats.org/officeDocument/2006/relationships/image" Target="../media/image43.png"/><Relationship Id="rId4" Type="http://schemas.openxmlformats.org/officeDocument/2006/relationships/image" Target="../media/image82.jpeg"/><Relationship Id="rId9" Type="http://schemas.openxmlformats.org/officeDocument/2006/relationships/image" Target="../media/image88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2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3.xml"/><Relationship Id="rId5" Type="http://schemas.openxmlformats.org/officeDocument/2006/relationships/image" Target="../media/image87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그림 개체 틀 9">
            <a:extLst>
              <a:ext uri="{FF2B5EF4-FFF2-40B4-BE49-F238E27FC236}">
                <a16:creationId xmlns:a16="http://schemas.microsoft.com/office/drawing/2014/main" id="{134C17AE-9E70-4421-8E99-F964FDAB508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2" name="그룹 1"/>
          <p:cNvGrpSpPr/>
          <p:nvPr/>
        </p:nvGrpSpPr>
        <p:grpSpPr>
          <a:xfrm>
            <a:off x="1991544" y="-2"/>
            <a:ext cx="6810660" cy="6858001"/>
            <a:chOff x="-300612" y="-79300"/>
            <a:chExt cx="6810660" cy="6858001"/>
          </a:xfrm>
        </p:grpSpPr>
        <p:sp>
          <p:nvSpPr>
            <p:cNvPr id="7" name="Google Shape;95;p14"/>
            <p:cNvSpPr/>
            <p:nvPr/>
          </p:nvSpPr>
          <p:spPr>
            <a:xfrm>
              <a:off x="-300612" y="-79300"/>
              <a:ext cx="6810660" cy="6858001"/>
            </a:xfrm>
            <a:custGeom>
              <a:avLst/>
              <a:gdLst/>
              <a:ahLst/>
              <a:cxnLst/>
              <a:rect l="l" t="t" r="r" b="b"/>
              <a:pathLst>
                <a:path w="8914102" h="6858001" extrusionOk="0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74283" tIns="37131" rIns="74283" bIns="37131" anchor="ctr" anchorCtr="0">
              <a:noAutofit/>
            </a:bodyPr>
            <a:lstStyle/>
            <a:p>
              <a:pPr algn="ctr"/>
              <a:endParaRPr lang="ko-KR" altLang="en-US" sz="1463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endParaRPr>
            </a:p>
          </p:txBody>
        </p:sp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163" y="6024000"/>
              <a:ext cx="2680589" cy="180000"/>
            </a:xfrm>
            <a:prstGeom prst="rect">
              <a:avLst/>
            </a:prstGeom>
          </p:spPr>
        </p:pic>
      </p:grpSp>
      <p:sp>
        <p:nvSpPr>
          <p:cNvPr id="13" name="제목 12"/>
          <p:cNvSpPr>
            <a:spLocks noGrp="1"/>
          </p:cNvSpPr>
          <p:nvPr>
            <p:ph type="ctrTitle"/>
          </p:nvPr>
        </p:nvSpPr>
        <p:spPr>
          <a:xfrm>
            <a:off x="557956" y="873339"/>
            <a:ext cx="6258124" cy="2339637"/>
          </a:xfrm>
        </p:spPr>
        <p:txBody>
          <a:bodyPr vert="horz">
            <a:noAutofit/>
          </a:bodyPr>
          <a:lstStyle/>
          <a:p>
            <a:pPr>
              <a:lnSpc>
                <a:spcPts val="5000"/>
              </a:lnSpc>
            </a:pPr>
            <a:r>
              <a:rPr lang="ko-KR" altLang="en-US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삼일 </a:t>
            </a:r>
            <a:r>
              <a:rPr lang="en-US" altLang="ko-KR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ESG </a:t>
            </a:r>
            <a:r>
              <a:rPr lang="ko-KR" altLang="en-US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플랫폼 </a:t>
            </a:r>
            <a:br>
              <a:rPr lang="en-US" altLang="ko-KR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</a:br>
            <a:r>
              <a:rPr lang="ko-KR" altLang="en-US" sz="32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기획 및 구축 컨설팅 </a:t>
            </a:r>
            <a:br>
              <a:rPr lang="en-US" altLang="ko-KR" sz="32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</a:br>
            <a:r>
              <a:rPr lang="ko-KR" altLang="en-US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화면 및 기능 정의 </a:t>
            </a:r>
            <a:r>
              <a:rPr lang="en-US" altLang="ko-KR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(Front Office)</a:t>
            </a:r>
            <a:endParaRPr lang="ko-KR" altLang="en-US" sz="3200" b="1" spc="-50" dirty="0">
              <a:ln>
                <a:solidFill>
                  <a:srgbClr val="FFFFFF">
                    <a:lumMod val="75000"/>
                    <a:alpha val="0"/>
                  </a:srgbClr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4" name="부제목 3"/>
          <p:cNvSpPr>
            <a:spLocks noGrp="1"/>
          </p:cNvSpPr>
          <p:nvPr>
            <p:ph type="subTitle" idx="1"/>
          </p:nvPr>
        </p:nvSpPr>
        <p:spPr>
          <a:xfrm>
            <a:off x="557956" y="3703320"/>
            <a:ext cx="5140966" cy="379819"/>
          </a:xfrm>
        </p:spPr>
        <p:txBody>
          <a:bodyPr anchor="ctr"/>
          <a:lstStyle/>
          <a:p>
            <a:r>
              <a:rPr lang="en-US" altLang="ko-KR" dirty="0"/>
              <a:t>2023.07.28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62118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67609"/>
              </p:ext>
            </p:extLst>
          </p:nvPr>
        </p:nvGraphicFramePr>
        <p:xfrm>
          <a:off x="342860" y="871489"/>
          <a:ext cx="11511641" cy="54225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65200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00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41268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323451">
                <a:tc rowSpan="15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1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공시 안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공시 및 관련 기관 설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공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의무화 일정 등 기술한 화면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573686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en-US" altLang="ko-KR" sz="8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Global Reporting Initiative)</a:t>
                      </a:r>
                      <a:r>
                        <a:rPr lang="en-US" altLang="ko-KR" sz="800" b="1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08623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en-US" altLang="ko-KR" sz="80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nternational Sustainability Standards Board)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 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71008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ecurities and Exchange Commission)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 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952685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대상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lf-Check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대상 구분과 이에 따른 공시일정 및 기준 차이 설명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55101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대상 </a:t>
                      </a: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lf-Check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대상 점검을 위한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heck list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저장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13087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대상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lf-Check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를 </a:t>
                      </a: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결과 제공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값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로 구분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20066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예외사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예사항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예외사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예사항을 확인할 수 있는 화면</a:t>
                      </a:r>
                      <a:endParaRPr lang="ko-KR" alt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976343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준비사항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준비사항을 확인할 수 있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408144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(Corporate Sustainability Reporting Directive)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 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565305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Taskforce on Nature-related Financial Disclosures)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 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01101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1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Taskforce on Climate-related Financial Disclosures)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∙사례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성별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보기 링크 제공하는 화면 * 필요시</a:t>
                      </a: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-Book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로 연결하여 서비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52291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기관과 평가 등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기관 설명이 정리된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6411014"/>
                  </a:ext>
                </a:extLst>
              </a:tr>
              <a:tr h="48151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항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항목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평가 가중치 항목에 대한 설명이 정리된 화면 </a:t>
                      </a:r>
                      <a:b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 수준 상세화 및 항목 세분화는 추가 작업 진행에 따라 상세화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429763"/>
                  </a:ext>
                </a:extLst>
              </a:tr>
              <a:tr h="3234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안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안내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98281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0F7C553-00FF-49FC-BAE1-7DE0EC4A76EF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4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690868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직사각형 58">
            <a:extLst>
              <a:ext uri="{FF2B5EF4-FFF2-40B4-BE49-F238E27FC236}">
                <a16:creationId xmlns:a16="http://schemas.microsoft.com/office/drawing/2014/main" id="{AC89D989-AE2F-4A50-817D-70DE54F74A00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 금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268664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6"/>
            <a:ext cx="8208962" cy="114771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지속가능 금융이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의 </a:t>
            </a:r>
            <a:r>
              <a:rPr lang="ko-KR" altLang="en-US" sz="900" dirty="0" err="1">
                <a:solidFill>
                  <a:schemeClr val="tx1"/>
                </a:solidFill>
              </a:rPr>
              <a:t>재무성과뿐</a:t>
            </a:r>
            <a:r>
              <a:rPr lang="ko-KR" altLang="en-US" sz="900" dirty="0">
                <a:solidFill>
                  <a:schemeClr val="tx1"/>
                </a:solidFill>
              </a:rPr>
              <a:t> 아니라 환경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회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배구조 등 비재무적 요소도 함께 고려하여 이루어지는 금융대출이나 투자를 의미합니다</a:t>
            </a:r>
            <a:r>
              <a:rPr lang="en-US" altLang="ko-KR" sz="900" baseline="30000" dirty="0">
                <a:solidFill>
                  <a:schemeClr val="tx1"/>
                </a:solidFill>
              </a:rPr>
              <a:t>1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지속가능 금융은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개념이 시작된 영역이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을 촉진하는 가장 강력한 방법입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br>
              <a:rPr lang="en-US" altLang="ko-KR" sz="900" dirty="0">
                <a:solidFill>
                  <a:schemeClr val="tx1"/>
                </a:solidFill>
              </a:rPr>
            </a:br>
            <a:r>
              <a:rPr lang="en-US" altLang="ko-KR" sz="700" dirty="0">
                <a:solidFill>
                  <a:schemeClr val="tx1"/>
                </a:solidFill>
              </a:rPr>
              <a:t>1 </a:t>
            </a:r>
            <a:r>
              <a:rPr lang="ko-KR" altLang="en-US" sz="700" dirty="0">
                <a:solidFill>
                  <a:schemeClr val="tx1"/>
                </a:solidFill>
              </a:rPr>
              <a:t>출처</a:t>
            </a:r>
            <a:r>
              <a:rPr lang="en-US" altLang="ko-KR" sz="700" dirty="0">
                <a:solidFill>
                  <a:schemeClr val="tx1"/>
                </a:solidFill>
              </a:rPr>
              <a:t>: </a:t>
            </a:r>
            <a:r>
              <a:rPr lang="ko-KR" altLang="en-US" sz="700" dirty="0">
                <a:solidFill>
                  <a:schemeClr val="tx1"/>
                </a:solidFill>
              </a:rPr>
              <a:t>한국은행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은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채권을 발행하여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활동을 위한 투자 자금을 확보할 수 있습니다</a:t>
            </a:r>
            <a:r>
              <a:rPr lang="en-US" altLang="ko-KR" sz="900" dirty="0">
                <a:solidFill>
                  <a:schemeClr val="tx1"/>
                </a:solidFill>
              </a:rPr>
              <a:t>. ESG </a:t>
            </a:r>
            <a:r>
              <a:rPr lang="ko-KR" altLang="en-US" sz="900" dirty="0">
                <a:solidFill>
                  <a:schemeClr val="tx1"/>
                </a:solidFill>
              </a:rPr>
              <a:t>채권의 종류에는 녹색채권</a:t>
            </a:r>
            <a:r>
              <a:rPr lang="en-US" altLang="ko-KR" sz="900" dirty="0">
                <a:solidFill>
                  <a:schemeClr val="tx1"/>
                </a:solidFill>
              </a:rPr>
              <a:t>(Green Bond), </a:t>
            </a:r>
            <a:r>
              <a:rPr lang="ko-KR" altLang="en-US" sz="900" dirty="0">
                <a:solidFill>
                  <a:schemeClr val="tx1"/>
                </a:solidFill>
              </a:rPr>
              <a:t>사회적 채권</a:t>
            </a:r>
            <a:r>
              <a:rPr lang="en-US" altLang="ko-KR" sz="900" dirty="0">
                <a:solidFill>
                  <a:schemeClr val="tx1"/>
                </a:solidFill>
              </a:rPr>
              <a:t>(Social Bond), </a:t>
            </a:r>
            <a:r>
              <a:rPr lang="ko-KR" altLang="en-US" sz="900" dirty="0">
                <a:solidFill>
                  <a:schemeClr val="tx1"/>
                </a:solidFill>
              </a:rPr>
              <a:t>지속가능채권</a:t>
            </a:r>
            <a:r>
              <a:rPr lang="en-US" altLang="ko-KR" sz="900" dirty="0">
                <a:solidFill>
                  <a:schemeClr val="tx1"/>
                </a:solidFill>
              </a:rPr>
              <a:t>(Sustainability Bond), </a:t>
            </a:r>
            <a:r>
              <a:rPr lang="ko-KR" altLang="en-US" sz="900" dirty="0">
                <a:solidFill>
                  <a:schemeClr val="tx1"/>
                </a:solidFill>
              </a:rPr>
              <a:t>지속가능연계채권</a:t>
            </a:r>
            <a:r>
              <a:rPr lang="en-US" altLang="ko-KR" sz="900" dirty="0">
                <a:solidFill>
                  <a:schemeClr val="tx1"/>
                </a:solidFill>
              </a:rPr>
              <a:t>(Sustainability Linked Bond) </a:t>
            </a:r>
            <a:r>
              <a:rPr lang="ko-KR" altLang="en-US" sz="900" dirty="0">
                <a:solidFill>
                  <a:schemeClr val="tx1"/>
                </a:solidFill>
              </a:rPr>
              <a:t>등이 있습니다</a:t>
            </a:r>
            <a:r>
              <a:rPr lang="en-US" altLang="ko-KR" sz="900" dirty="0">
                <a:solidFill>
                  <a:schemeClr val="tx1"/>
                </a:solidFill>
              </a:rPr>
              <a:t>. 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금융사의 관점에서는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피투자대상 기업의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수준을 평가하여 평가 결과를 투자 ∙ 여신 심사 시 반영하는 과정이 필요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  <a:endParaRPr lang="ko-KR" altLang="en-US" sz="1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A0454D24-154F-4F16-B6AF-F64B8609E4A0}"/>
              </a:ext>
            </a:extLst>
          </p:cNvPr>
          <p:cNvSpPr/>
          <p:nvPr/>
        </p:nvSpPr>
        <p:spPr>
          <a:xfrm>
            <a:off x="1832069" y="4527674"/>
            <a:ext cx="6146015" cy="19976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US" altLang="ko-KR" sz="900" dirty="0">
                <a:solidFill>
                  <a:schemeClr val="tx1"/>
                </a:solidFill>
              </a:rPr>
              <a:t>&lt;</a:t>
            </a:r>
            <a:r>
              <a:rPr lang="ko-KR" altLang="en-US" sz="900" dirty="0">
                <a:solidFill>
                  <a:schemeClr val="tx1"/>
                </a:solidFill>
              </a:rPr>
              <a:t>녹색채권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회적채권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속가능 채권</a:t>
            </a:r>
            <a:r>
              <a:rPr lang="en-US" altLang="ko-KR" sz="900" dirty="0">
                <a:solidFill>
                  <a:schemeClr val="tx1"/>
                </a:solidFill>
              </a:rPr>
              <a:t>&gt;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채권 발행 시 ① 조달자금의 사용</a:t>
            </a:r>
            <a:r>
              <a:rPr lang="en-US" altLang="ko-KR" sz="900" dirty="0">
                <a:solidFill>
                  <a:schemeClr val="tx1"/>
                </a:solidFill>
              </a:rPr>
              <a:t>, ② </a:t>
            </a:r>
            <a:r>
              <a:rPr lang="ko-KR" altLang="en-US" sz="900" dirty="0">
                <a:solidFill>
                  <a:schemeClr val="tx1"/>
                </a:solidFill>
              </a:rPr>
              <a:t>프로젝트의 평가와 선정 프로세스</a:t>
            </a:r>
            <a:r>
              <a:rPr lang="en-US" altLang="ko-KR" sz="900" dirty="0">
                <a:solidFill>
                  <a:schemeClr val="tx1"/>
                </a:solidFill>
              </a:rPr>
              <a:t>, ③ </a:t>
            </a:r>
            <a:r>
              <a:rPr lang="ko-KR" altLang="en-US" sz="900" dirty="0">
                <a:solidFill>
                  <a:schemeClr val="tx1"/>
                </a:solidFill>
              </a:rPr>
              <a:t>조달자금 관리</a:t>
            </a:r>
            <a:r>
              <a:rPr lang="en-US" altLang="ko-KR" sz="900" dirty="0">
                <a:solidFill>
                  <a:schemeClr val="tx1"/>
                </a:solidFill>
              </a:rPr>
              <a:t>, ④ </a:t>
            </a:r>
            <a:r>
              <a:rPr lang="ko-KR" altLang="en-US" sz="900" dirty="0">
                <a:solidFill>
                  <a:schemeClr val="tx1"/>
                </a:solidFill>
              </a:rPr>
              <a:t>보고의 </a:t>
            </a:r>
            <a:r>
              <a:rPr lang="en-US" altLang="ko-KR" sz="900" dirty="0">
                <a:solidFill>
                  <a:schemeClr val="tx1"/>
                </a:solidFill>
              </a:rPr>
              <a:t>4</a:t>
            </a:r>
            <a:r>
              <a:rPr lang="ko-KR" altLang="en-US" sz="900" dirty="0">
                <a:solidFill>
                  <a:schemeClr val="tx1"/>
                </a:solidFill>
              </a:rPr>
              <a:t>가지 요건을 포함하는 관리체계</a:t>
            </a:r>
            <a:r>
              <a:rPr lang="en-US" altLang="ko-KR" sz="900" dirty="0">
                <a:solidFill>
                  <a:schemeClr val="tx1"/>
                </a:solidFill>
              </a:rPr>
              <a:t>(Framework) </a:t>
            </a:r>
            <a:r>
              <a:rPr lang="ko-KR" altLang="en-US" sz="900" dirty="0">
                <a:solidFill>
                  <a:schemeClr val="tx1"/>
                </a:solidFill>
              </a:rPr>
              <a:t>수립 필요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① 녹색 프로젝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회적 프로젝트 해당 여부를 판단하기 위한 카테고리 예시는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한국형 녹색분류체계</a:t>
            </a:r>
            <a:r>
              <a:rPr lang="en-US" altLang="ko-KR" sz="900" dirty="0">
                <a:solidFill>
                  <a:schemeClr val="tx1"/>
                </a:solidFill>
              </a:rPr>
              <a:t>' </a:t>
            </a:r>
            <a:r>
              <a:rPr lang="ko-KR" altLang="en-US" sz="900" dirty="0">
                <a:solidFill>
                  <a:schemeClr val="tx1"/>
                </a:solidFill>
              </a:rPr>
              <a:t>또는 각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채권 원칙에서 학인 가능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en-US" altLang="ko-KR" sz="900" dirty="0">
                <a:solidFill>
                  <a:schemeClr val="tx1"/>
                </a:solidFill>
              </a:rPr>
              <a:t>② </a:t>
            </a:r>
            <a:r>
              <a:rPr lang="ko-KR" altLang="en-US" sz="900" dirty="0">
                <a:solidFill>
                  <a:schemeClr val="tx1"/>
                </a:solidFill>
              </a:rPr>
              <a:t>지원대상 프로젝트 평가 및 선정 절차의 </a:t>
            </a:r>
            <a:r>
              <a:rPr lang="ko-KR" altLang="en-US" sz="900" dirty="0" err="1">
                <a:solidFill>
                  <a:schemeClr val="tx1"/>
                </a:solidFill>
              </a:rPr>
              <a:t>투명성∙일관성을</a:t>
            </a:r>
            <a:r>
              <a:rPr lang="ko-KR" altLang="en-US" sz="900" dirty="0">
                <a:solidFill>
                  <a:schemeClr val="tx1"/>
                </a:solidFill>
              </a:rPr>
              <a:t> 확인할 수 있는 기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선정 프로세스 등의 정보 공개 필요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en-US" altLang="ko-KR" sz="900" dirty="0">
                <a:solidFill>
                  <a:schemeClr val="tx1"/>
                </a:solidFill>
              </a:rPr>
              <a:t>③ </a:t>
            </a:r>
            <a:r>
              <a:rPr lang="ko-KR" altLang="en-US" sz="900" dirty="0">
                <a:solidFill>
                  <a:schemeClr val="tx1"/>
                </a:solidFill>
              </a:rPr>
              <a:t>조달 자금 별도 계정 관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미사용 자금 운용 방법 공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용 자금 내역 추적 필요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주요 발행 절차는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발행계획 수립 →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채권 관리체계 수립 → 사전 외부 검토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적합성 및 관리체계</a:t>
            </a:r>
            <a:r>
              <a:rPr lang="en-US" altLang="ko-KR" sz="900" dirty="0">
                <a:solidFill>
                  <a:schemeClr val="tx1"/>
                </a:solidFill>
              </a:rPr>
              <a:t>) → </a:t>
            </a:r>
            <a:r>
              <a:rPr lang="ko-KR" altLang="en-US" sz="900" dirty="0">
                <a:solidFill>
                  <a:schemeClr val="tx1"/>
                </a:solidFill>
              </a:rPr>
              <a:t>채권 발행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증권신고서 제출</a:t>
            </a:r>
            <a:r>
              <a:rPr lang="en-US" altLang="ko-KR" sz="900" dirty="0">
                <a:solidFill>
                  <a:schemeClr val="tx1"/>
                </a:solidFill>
              </a:rPr>
              <a:t>) → </a:t>
            </a:r>
            <a:r>
              <a:rPr lang="ko-KR" altLang="en-US" sz="900" dirty="0">
                <a:solidFill>
                  <a:schemeClr val="tx1"/>
                </a:solidFill>
              </a:rPr>
              <a:t>사후 보고서 공시 및 외부 검토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일반 채권 발행 절차에</a:t>
            </a:r>
            <a:r>
              <a:rPr lang="en-US" altLang="ko-KR" sz="900" dirty="0">
                <a:solidFill>
                  <a:schemeClr val="tx1"/>
                </a:solidFill>
              </a:rPr>
              <a:t>, 'ESG </a:t>
            </a:r>
            <a:r>
              <a:rPr lang="ko-KR" altLang="en-US" sz="900" dirty="0">
                <a:solidFill>
                  <a:schemeClr val="tx1"/>
                </a:solidFill>
              </a:rPr>
              <a:t>채권 관리체계 수립 및 외부 인증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후 보고와 관련된 절차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를 추가 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만기 시 까지 매년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발행 자금 배분 현황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</a:rPr>
              <a:t>환경∙사회</a:t>
            </a:r>
            <a:r>
              <a:rPr lang="ko-KR" altLang="en-US" sz="900" dirty="0">
                <a:solidFill>
                  <a:schemeClr val="tx1"/>
                </a:solidFill>
              </a:rPr>
              <a:t> 영향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개선 기여도</a:t>
            </a:r>
            <a:r>
              <a:rPr lang="en-US" altLang="ko-KR" sz="900" dirty="0">
                <a:solidFill>
                  <a:schemeClr val="tx1"/>
                </a:solidFill>
              </a:rPr>
              <a:t>), </a:t>
            </a:r>
            <a:r>
              <a:rPr lang="ko-KR" altLang="en-US" sz="900" dirty="0">
                <a:solidFill>
                  <a:schemeClr val="tx1"/>
                </a:solidFill>
              </a:rPr>
              <a:t>프로젝트의 적합성 판단</a:t>
            </a:r>
            <a:r>
              <a:rPr lang="en-US" altLang="ko-KR" sz="900" dirty="0">
                <a:solidFill>
                  <a:schemeClr val="tx1"/>
                </a:solidFill>
              </a:rPr>
              <a:t>' </a:t>
            </a:r>
            <a:r>
              <a:rPr lang="ko-KR" altLang="en-US" sz="900" dirty="0">
                <a:solidFill>
                  <a:schemeClr val="tx1"/>
                </a:solidFill>
              </a:rPr>
              <a:t>정보를 </a:t>
            </a:r>
            <a:r>
              <a:rPr lang="ko-KR" altLang="en-US" sz="900" dirty="0" err="1">
                <a:solidFill>
                  <a:schemeClr val="tx1"/>
                </a:solidFill>
              </a:rPr>
              <a:t>공개∙보고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보고 내용에 대한 외부 검토기관 인증 필요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A456CC7A-6099-442B-889D-D5BEA85BB4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2144"/>
          <a:stretch/>
        </p:blipFill>
        <p:spPr>
          <a:xfrm>
            <a:off x="550863" y="4529454"/>
            <a:ext cx="1225402" cy="1874070"/>
          </a:xfrm>
          <a:prstGeom prst="rect">
            <a:avLst/>
          </a:prstGeom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4CFDF659-4B86-4CB2-85D2-C8FE49684436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6E763466-C1E4-42F9-B5F8-FB88708779A9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A5EAE699-6E5F-420A-8AFB-4AED678D0E2F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3A5950C2-EB5E-4BFE-84F4-8D49DA937874}"/>
              </a:ext>
            </a:extLst>
          </p:cNvPr>
          <p:cNvSpPr/>
          <p:nvPr/>
        </p:nvSpPr>
        <p:spPr>
          <a:xfrm>
            <a:off x="7959914" y="6167544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35BC6C03-5F42-45C7-98A2-8789A91F628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F5C1834E-04A5-4619-B9C4-94E8D78B1C8A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ADDA4044-9AEE-40A2-981E-CF5505C842E6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0F455F8A-3B2D-470C-8890-0DEE1A8293D2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62" name="그림 61">
              <a:extLst>
                <a:ext uri="{FF2B5EF4-FFF2-40B4-BE49-F238E27FC236}">
                  <a16:creationId xmlns:a16="http://schemas.microsoft.com/office/drawing/2014/main" id="{F02E4600-1675-453D-8FD4-89BF51BF5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9ECE9A67-3B7E-4DC1-A8E0-432946D9556C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05CDD9D6-D206-433D-BA91-75DB1FD4C389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1FE4D1DD-BD40-4FA8-B540-BEF32CCB6E1B}"/>
                </a:ext>
              </a:extLst>
            </p:cNvPr>
            <p:cNvSpPr/>
            <p:nvPr/>
          </p:nvSpPr>
          <p:spPr>
            <a:xfrm>
              <a:off x="-1520465" y="4531257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금융</a:t>
              </a:r>
            </a:p>
          </p:txBody>
        </p:sp>
      </p:grp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9248C5D7-C6CC-47CB-B729-983F66F24493}"/>
              </a:ext>
            </a:extLst>
          </p:cNvPr>
          <p:cNvSpPr/>
          <p:nvPr/>
        </p:nvSpPr>
        <p:spPr>
          <a:xfrm>
            <a:off x="-1521611" y="4311397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과제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118041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직사각형 60">
            <a:extLst>
              <a:ext uri="{FF2B5EF4-FFF2-40B4-BE49-F238E27FC236}">
                <a16:creationId xmlns:a16="http://schemas.microsoft.com/office/drawing/2014/main" id="{55870543-1A47-46AE-AA5E-C554DD96F015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향평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196656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16D3F20-8DA0-49A6-8E41-B6FC02750BE7}"/>
              </a:ext>
            </a:extLst>
          </p:cNvPr>
          <p:cNvSpPr/>
          <p:nvPr/>
        </p:nvSpPr>
        <p:spPr>
          <a:xfrm>
            <a:off x="550863" y="4492620"/>
            <a:ext cx="1225713" cy="760387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기후리스크에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따른 재무적 영향 평가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E8E30EB8-6538-4FD7-9CF6-42F8FE7D8F67}"/>
              </a:ext>
            </a:extLst>
          </p:cNvPr>
          <p:cNvSpPr/>
          <p:nvPr/>
        </p:nvSpPr>
        <p:spPr>
          <a:xfrm>
            <a:off x="1832069" y="4437112"/>
            <a:ext cx="6820706" cy="801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평가에 활용할 기후 시나리오</a:t>
            </a:r>
            <a:r>
              <a:rPr lang="en-US" altLang="ko-KR" sz="900" dirty="0">
                <a:solidFill>
                  <a:schemeClr val="tx1"/>
                </a:solidFill>
              </a:rPr>
              <a:t>(SSP, RCP </a:t>
            </a:r>
            <a:r>
              <a:rPr lang="ko-KR" altLang="en-US" sz="900" dirty="0">
                <a:solidFill>
                  <a:schemeClr val="tx1"/>
                </a:solidFill>
              </a:rPr>
              <a:t>등</a:t>
            </a:r>
            <a:r>
              <a:rPr lang="en-US" altLang="ko-KR" sz="900" dirty="0">
                <a:solidFill>
                  <a:schemeClr val="tx1"/>
                </a:solidFill>
              </a:rPr>
              <a:t>) </a:t>
            </a:r>
            <a:r>
              <a:rPr lang="ko-KR" altLang="en-US" sz="900" dirty="0">
                <a:solidFill>
                  <a:schemeClr val="tx1"/>
                </a:solidFill>
              </a:rPr>
              <a:t>또는 가정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 err="1">
                <a:solidFill>
                  <a:schemeClr val="tx1"/>
                </a:solidFill>
              </a:rPr>
              <a:t>탄소∙에너지</a:t>
            </a:r>
            <a:r>
              <a:rPr lang="ko-KR" altLang="en-US" sz="900" dirty="0">
                <a:solidFill>
                  <a:schemeClr val="tx1"/>
                </a:solidFill>
              </a:rPr>
              <a:t> 가격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</a:rPr>
              <a:t>정책∙규제</a:t>
            </a:r>
            <a:r>
              <a:rPr lang="ko-KR" altLang="en-US" sz="900" dirty="0">
                <a:solidFill>
                  <a:schemeClr val="tx1"/>
                </a:solidFill>
              </a:rPr>
              <a:t> 변경 사항 등</a:t>
            </a:r>
            <a:r>
              <a:rPr lang="en-US" altLang="ko-KR" sz="900" dirty="0">
                <a:solidFill>
                  <a:schemeClr val="tx1"/>
                </a:solidFill>
              </a:rPr>
              <a:t>) </a:t>
            </a:r>
            <a:r>
              <a:rPr lang="ko-KR" altLang="en-US" sz="900" dirty="0">
                <a:solidFill>
                  <a:schemeClr val="tx1"/>
                </a:solidFill>
              </a:rPr>
              <a:t>선정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</a:rPr>
              <a:t>이행∙물리적리스크</a:t>
            </a:r>
            <a:r>
              <a:rPr lang="ko-KR" altLang="en-US" sz="900" dirty="0">
                <a:solidFill>
                  <a:schemeClr val="tx1"/>
                </a:solidFill>
              </a:rPr>
              <a:t> 동인 및 </a:t>
            </a:r>
            <a:r>
              <a:rPr lang="ko-KR" altLang="en-US" sz="900" dirty="0" err="1">
                <a:solidFill>
                  <a:schemeClr val="tx1"/>
                </a:solidFill>
              </a:rPr>
              <a:t>손익∙자산에</a:t>
            </a:r>
            <a:r>
              <a:rPr lang="ko-KR" altLang="en-US" sz="900" dirty="0">
                <a:solidFill>
                  <a:schemeClr val="tx1"/>
                </a:solidFill>
              </a:rPr>
              <a:t> 미치는 영향 유형의 식별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모델링을 통한 기후 시나리오별 </a:t>
            </a:r>
            <a:r>
              <a:rPr lang="ko-KR" altLang="en-US" sz="900" dirty="0" err="1">
                <a:solidFill>
                  <a:schemeClr val="tx1"/>
                </a:solidFill>
              </a:rPr>
              <a:t>이행∙물리적리스크</a:t>
            </a:r>
            <a:r>
              <a:rPr lang="ko-KR" altLang="en-US" sz="900" dirty="0">
                <a:solidFill>
                  <a:schemeClr val="tx1"/>
                </a:solidFill>
              </a:rPr>
              <a:t> 측정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측정된 리스크가 재무 지표에 미치는 영향 측정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6"/>
            <a:ext cx="8208962" cy="107316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은 기후변화로 인해 비용 또는 매출의 변화 및 유무형 자산 및 금융자산의 가치 변화 등의 재무적 영향을 받게 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따라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는 기후변화로 인한 재무적 영향도와 그에 대한 기업의 대응 활동 정보를 요구하고 있습니다</a:t>
            </a:r>
            <a:r>
              <a:rPr lang="en-US" altLang="ko-KR" sz="900" dirty="0">
                <a:solidFill>
                  <a:schemeClr val="tx1"/>
                </a:solidFill>
              </a:rPr>
              <a:t>. 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 err="1">
                <a:solidFill>
                  <a:schemeClr val="tx1"/>
                </a:solidFill>
              </a:rPr>
              <a:t>환경∙사회적</a:t>
            </a:r>
            <a:r>
              <a:rPr lang="ko-KR" altLang="en-US" sz="900" dirty="0">
                <a:solidFill>
                  <a:schemeClr val="tx1"/>
                </a:solidFill>
              </a:rPr>
              <a:t> 요인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이 기업에 미치는 영향 뿐 아니라 기업의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경영 활동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이 </a:t>
            </a:r>
            <a:r>
              <a:rPr lang="ko-KR" altLang="en-US" sz="900" dirty="0" err="1">
                <a:solidFill>
                  <a:schemeClr val="tx1"/>
                </a:solidFill>
              </a:rPr>
              <a:t>환경∙사회에</a:t>
            </a:r>
            <a:r>
              <a:rPr lang="ko-KR" altLang="en-US" sz="900" dirty="0">
                <a:solidFill>
                  <a:schemeClr val="tx1"/>
                </a:solidFill>
              </a:rPr>
              <a:t> 미치는 영향도 함께 평가해야 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기업과 외부 </a:t>
            </a:r>
            <a:r>
              <a:rPr lang="ko-KR" altLang="en-US" sz="900" dirty="0" err="1">
                <a:solidFill>
                  <a:schemeClr val="tx1"/>
                </a:solidFill>
              </a:rPr>
              <a:t>환경∙사회</a:t>
            </a:r>
            <a:r>
              <a:rPr lang="ko-KR" altLang="en-US" sz="900" dirty="0">
                <a:solidFill>
                  <a:schemeClr val="tx1"/>
                </a:solidFill>
              </a:rPr>
              <a:t> 간의 관계를 </a:t>
            </a:r>
            <a:r>
              <a:rPr lang="en-US" altLang="ko-KR" sz="900" dirty="0">
                <a:solidFill>
                  <a:schemeClr val="tx1"/>
                </a:solidFill>
              </a:rPr>
              <a:t>'Inside out' &amp; 'Outside in'</a:t>
            </a:r>
            <a:r>
              <a:rPr lang="ko-KR" altLang="en-US" sz="900" dirty="0">
                <a:solidFill>
                  <a:schemeClr val="tx1"/>
                </a:solidFill>
              </a:rPr>
              <a:t>의 양방향으로 검토하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미래에 기업에 미칠 재무적 영향까지 고려할 수 있으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의 지속가능성 수준과 성과를 더 잘 이해할 수 있습니다</a:t>
            </a:r>
            <a:r>
              <a:rPr lang="en-US" altLang="ko-KR" sz="900" dirty="0">
                <a:solidFill>
                  <a:schemeClr val="tx1"/>
                </a:solidFill>
              </a:rPr>
              <a:t>. GRI(Global Reporting Initiative) Standards 2021, CSRD </a:t>
            </a:r>
            <a:r>
              <a:rPr lang="ko-KR" altLang="en-US" sz="900" dirty="0">
                <a:solidFill>
                  <a:schemeClr val="tx1"/>
                </a:solidFill>
              </a:rPr>
              <a:t>등 최근 발표된 글로벌 기준도 이와 같은 이중 중대성 평가를 시행하여 공시할 것을 규정하고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영향평가</a:t>
              </a: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1937ADCB-39D1-427B-8A32-EE34799C10D3}"/>
              </a:ext>
            </a:extLst>
          </p:cNvPr>
          <p:cNvCxnSpPr>
            <a:cxnSpLocks/>
          </p:cNvCxnSpPr>
          <p:nvPr/>
        </p:nvCxnSpPr>
        <p:spPr>
          <a:xfrm>
            <a:off x="550863" y="5317409"/>
            <a:ext cx="79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8C596F-A3F9-4459-845E-5C33EADF5E2B}"/>
              </a:ext>
            </a:extLst>
          </p:cNvPr>
          <p:cNvSpPr/>
          <p:nvPr/>
        </p:nvSpPr>
        <p:spPr>
          <a:xfrm>
            <a:off x="1832069" y="5381812"/>
            <a:ext cx="6820706" cy="1021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</a:rPr>
              <a:t>이슈풀</a:t>
            </a:r>
            <a:r>
              <a:rPr lang="ko-KR" altLang="en-US" sz="900" dirty="0">
                <a:solidFill>
                  <a:schemeClr val="tx1"/>
                </a:solidFill>
              </a:rPr>
              <a:t> 구성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기업과의 관련성이 높아 영향도 평가가 필요한 주요 이슈의 선정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글로벌 가이드라인 분석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벤치마킹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국내외 동종업계 </a:t>
            </a:r>
            <a:r>
              <a:rPr lang="ko-KR" altLang="en-US" sz="900" dirty="0" err="1">
                <a:solidFill>
                  <a:schemeClr val="tx1"/>
                </a:solidFill>
              </a:rPr>
              <a:t>선도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경쟁사</a:t>
            </a:r>
            <a:r>
              <a:rPr lang="en-US" altLang="ko-KR" sz="900" dirty="0">
                <a:solidFill>
                  <a:schemeClr val="tx1"/>
                </a:solidFill>
              </a:rPr>
              <a:t>), </a:t>
            </a:r>
            <a:r>
              <a:rPr lang="ko-KR" altLang="en-US" sz="900" dirty="0">
                <a:solidFill>
                  <a:schemeClr val="tx1"/>
                </a:solidFill>
              </a:rPr>
              <a:t>업종별 이슈사항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업종별 트렌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언론 보도 이벤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관련 규제 변화 등</a:t>
            </a:r>
            <a:r>
              <a:rPr lang="en-US" altLang="ko-KR" sz="900" dirty="0">
                <a:solidFill>
                  <a:schemeClr val="tx1"/>
                </a:solidFill>
              </a:rPr>
              <a:t>), </a:t>
            </a:r>
            <a:r>
              <a:rPr lang="ko-KR" altLang="en-US" sz="900" dirty="0">
                <a:solidFill>
                  <a:schemeClr val="tx1"/>
                </a:solidFill>
              </a:rPr>
              <a:t>전사 전략 비전 및 계획 검토 등 다양한 요소 반영 가능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영향도 분석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글로벌 가이드라인 분석 결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벤치마킹 결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업종별 이슈 사항 검토 결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임직원 및 이해관계자의 평가 등을 바탕으로</a:t>
            </a: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2E82A53-7A27-4F99-A14C-8A82EA8755C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1" b="30462"/>
          <a:stretch/>
        </p:blipFill>
        <p:spPr>
          <a:xfrm>
            <a:off x="550863" y="5381811"/>
            <a:ext cx="1225402" cy="1021713"/>
          </a:xfrm>
          <a:prstGeom prst="rect">
            <a:avLst/>
          </a:prstGeom>
        </p:spPr>
      </p:pic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54EA3CB7-2263-4CDA-8A47-9205F04C58C3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2160A95-D9EC-447B-8258-EC4440FA09E9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498E8C7A-D45F-4E2D-8496-99774FA8557D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FC2EEB41-31A2-4386-8859-1E0E71F9105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FFF82FD-33E4-4975-AB6A-A6AEF8D03010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12A54516-3A0C-4A73-B82A-CC9BD1233CF5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EB9166BB-A50C-4039-98B4-23F57F911F1F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63" name="그림 62">
              <a:extLst>
                <a:ext uri="{FF2B5EF4-FFF2-40B4-BE49-F238E27FC236}">
                  <a16:creationId xmlns:a16="http://schemas.microsoft.com/office/drawing/2014/main" id="{CFA54AC4-E983-4DF7-B8A1-F71555F9A1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4C73C827-9D45-4F64-9100-56DADA6684A9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C62EFD8D-9783-4A6F-95E3-3F5E1E8A76A5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78D41FBE-FAFB-4B4C-A545-85E891B5B0B6}"/>
                </a:ext>
              </a:extLst>
            </p:cNvPr>
            <p:cNvSpPr/>
            <p:nvPr/>
          </p:nvSpPr>
          <p:spPr>
            <a:xfrm>
              <a:off x="-1519428" y="4748018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향평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817157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직사각형 62">
            <a:extLst>
              <a:ext uri="{FF2B5EF4-FFF2-40B4-BE49-F238E27FC236}">
                <a16:creationId xmlns:a16="http://schemas.microsoft.com/office/drawing/2014/main" id="{7F1983A3-4A01-493B-A3CC-075F866F3767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운영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124648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16D3F20-8DA0-49A6-8E41-B6FC02750BE7}"/>
              </a:ext>
            </a:extLst>
          </p:cNvPr>
          <p:cNvSpPr/>
          <p:nvPr/>
        </p:nvSpPr>
        <p:spPr>
          <a:xfrm>
            <a:off x="550863" y="4330692"/>
            <a:ext cx="1225713" cy="753175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PI∙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관리지표 측정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모니터링 시스템 구축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E8E30EB8-6538-4FD7-9CF6-42F8FE7D8F67}"/>
              </a:ext>
            </a:extLst>
          </p:cNvPr>
          <p:cNvSpPr/>
          <p:nvPr/>
        </p:nvSpPr>
        <p:spPr>
          <a:xfrm>
            <a:off x="1832069" y="4330490"/>
            <a:ext cx="6820706" cy="753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영역별로 정의한 </a:t>
            </a:r>
            <a:r>
              <a:rPr lang="en-US" altLang="ko-KR" sz="900" dirty="0">
                <a:solidFill>
                  <a:schemeClr val="tx1"/>
                </a:solidFill>
              </a:rPr>
              <a:t>KPI </a:t>
            </a:r>
            <a:r>
              <a:rPr lang="ko-KR" altLang="en-US" sz="900" dirty="0">
                <a:solidFill>
                  <a:schemeClr val="tx1"/>
                </a:solidFill>
              </a:rPr>
              <a:t>및 관리지표 데이터 입수 방법 정의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현황 대시보드 설계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목표 달성 여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목표 달성율 등 모니터링 지표 설계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개선 활동 관리 기능 연계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7"/>
            <a:ext cx="8208962" cy="10447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 활동의 관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성과 평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공시 업무에는 다양한 유형과 출처의 데이터가 필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이를 투명하게 측정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오류 없이 취합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누락없이 관리하기 위해서는 수기 관리가 아닌 시스템을 통한 관리가 권고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활동 내에서 시스템화가 필요한 영역은 다음과 같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첫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온실가스 배출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폐기물 배출량 등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목표 과제별 </a:t>
            </a:r>
            <a:r>
              <a:rPr lang="en-US" altLang="ko-KR" sz="900" dirty="0">
                <a:solidFill>
                  <a:schemeClr val="tx1"/>
                </a:solidFill>
              </a:rPr>
              <a:t>KPI</a:t>
            </a:r>
            <a:r>
              <a:rPr lang="ko-KR" altLang="en-US" sz="900" dirty="0">
                <a:solidFill>
                  <a:schemeClr val="tx1"/>
                </a:solidFill>
              </a:rPr>
              <a:t>와 관리지표를 측정하고 모니터링하기 위한 시스템이 필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둘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공시를 위한 공시 </a:t>
            </a:r>
            <a:r>
              <a:rPr lang="ko-KR" altLang="en-US" sz="900" dirty="0" err="1">
                <a:solidFill>
                  <a:schemeClr val="tx1"/>
                </a:solidFill>
              </a:rPr>
              <a:t>지표값</a:t>
            </a:r>
            <a:r>
              <a:rPr lang="ko-KR" altLang="en-US" sz="900" dirty="0">
                <a:solidFill>
                  <a:schemeClr val="tx1"/>
                </a:solidFill>
              </a:rPr>
              <a:t> 산출 시스템이 필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셋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다양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련 지표와 데이터를 통합 관리하기 위한 데이터 관리시스템이 필요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마지막으로 이렇게 통합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활동 데이터를 기반으로 전사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활동을 평가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조직을 관리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향후 전사 계획에 재반영하기 위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관리 시스템도 필요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시스템 운영</a:t>
              </a:r>
            </a:p>
          </p:txBody>
        </p:sp>
      </p:grp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1937ADCB-39D1-427B-8A32-EE34799C10D3}"/>
              </a:ext>
            </a:extLst>
          </p:cNvPr>
          <p:cNvCxnSpPr>
            <a:cxnSpLocks/>
          </p:cNvCxnSpPr>
          <p:nvPr/>
        </p:nvCxnSpPr>
        <p:spPr>
          <a:xfrm>
            <a:off x="550863" y="5171010"/>
            <a:ext cx="79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2373F179-C184-4ED1-8658-C1E09ADAA341}"/>
              </a:ext>
            </a:extLst>
          </p:cNvPr>
          <p:cNvSpPr/>
          <p:nvPr/>
        </p:nvSpPr>
        <p:spPr>
          <a:xfrm>
            <a:off x="550863" y="5259361"/>
            <a:ext cx="1225713" cy="991493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전사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데이터 통합관리 시스템 구축</a:t>
            </a: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6366594-98CF-4A5D-8636-5785C370D830}"/>
              </a:ext>
            </a:extLst>
          </p:cNvPr>
          <p:cNvSpPr/>
          <p:nvPr/>
        </p:nvSpPr>
        <p:spPr>
          <a:xfrm>
            <a:off x="1832069" y="5259361"/>
            <a:ext cx="6820706" cy="9914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영역별로 정의한 </a:t>
            </a:r>
            <a:r>
              <a:rPr lang="en-US" altLang="ko-KR" sz="900" dirty="0">
                <a:solidFill>
                  <a:schemeClr val="tx1"/>
                </a:solidFill>
              </a:rPr>
              <a:t>KPI </a:t>
            </a:r>
            <a:r>
              <a:rPr lang="ko-KR" altLang="en-US" sz="900" dirty="0">
                <a:solidFill>
                  <a:schemeClr val="tx1"/>
                </a:solidFill>
              </a:rPr>
              <a:t>및 관리지표 데이터 입수 방법 정의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데이터 마트 구축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성과 관리 및 공시에 필요한 데이터의 정의 및 수집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데이터베이스 설계 및 모델링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기존 시스템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원장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재무제표 등</a:t>
            </a:r>
            <a:r>
              <a:rPr lang="en-US" altLang="ko-KR" sz="900" dirty="0">
                <a:solidFill>
                  <a:schemeClr val="tx1"/>
                </a:solidFill>
              </a:rPr>
              <a:t>) </a:t>
            </a:r>
            <a:r>
              <a:rPr lang="ko-KR" altLang="en-US" sz="900" dirty="0">
                <a:solidFill>
                  <a:schemeClr val="tx1"/>
                </a:solidFill>
              </a:rPr>
              <a:t>또는 외부 기관과의 </a:t>
            </a:r>
            <a:r>
              <a:rPr lang="en-US" altLang="ko-KR" sz="900" dirty="0">
                <a:solidFill>
                  <a:schemeClr val="tx1"/>
                </a:solidFill>
              </a:rPr>
              <a:t>I/F </a:t>
            </a:r>
            <a:r>
              <a:rPr lang="ko-KR" altLang="en-US" sz="900" dirty="0">
                <a:solidFill>
                  <a:schemeClr val="tx1"/>
                </a:solidFill>
              </a:rPr>
              <a:t>정의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시스템 개발 및 관리 방안 수립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033DC206-4645-4EBA-8AA4-933ADBEFF738}"/>
              </a:ext>
            </a:extLst>
          </p:cNvPr>
          <p:cNvCxnSpPr>
            <a:cxnSpLocks/>
          </p:cNvCxnSpPr>
          <p:nvPr/>
        </p:nvCxnSpPr>
        <p:spPr>
          <a:xfrm>
            <a:off x="550863" y="6336788"/>
            <a:ext cx="79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98C4BBCA-1EA6-4391-8F9D-F211D08C968E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BAA70DDA-8EEC-4859-8017-08333A89DA7E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8849359E-E999-4D07-8EEA-E083F759B908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56553102-F7C7-4526-92BA-DD6A15494C1A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24A2270D-8D99-4343-AC9D-848AE364B009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02521514-A3D5-4E4B-A221-48E34F80F44E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3205F9D9-64C0-4EC9-82DE-B52A6DD38D1E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67" name="그림 66">
              <a:extLst>
                <a:ext uri="{FF2B5EF4-FFF2-40B4-BE49-F238E27FC236}">
                  <a16:creationId xmlns:a16="http://schemas.microsoft.com/office/drawing/2014/main" id="{7F0B34EC-2343-49BA-8981-C55C2848C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31D1E449-A53A-43FD-A2B5-AE5A8FC62EE7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71" name="직사각형 70">
              <a:extLst>
                <a:ext uri="{FF2B5EF4-FFF2-40B4-BE49-F238E27FC236}">
                  <a16:creationId xmlns:a16="http://schemas.microsoft.com/office/drawing/2014/main" id="{6388EA89-1FE8-45AD-82BE-C8C933020F03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72" name="직사각형 71">
              <a:extLst>
                <a:ext uri="{FF2B5EF4-FFF2-40B4-BE49-F238E27FC236}">
                  <a16:creationId xmlns:a16="http://schemas.microsoft.com/office/drawing/2014/main" id="{36F1ACE2-C13A-4787-8D7F-5BAEB393CB66}"/>
                </a:ext>
              </a:extLst>
            </p:cNvPr>
            <p:cNvSpPr/>
            <p:nvPr/>
          </p:nvSpPr>
          <p:spPr>
            <a:xfrm>
              <a:off x="-1519428" y="4995451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시스템 운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99034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직사각형 78">
            <a:extLst>
              <a:ext uri="{FF2B5EF4-FFF2-40B4-BE49-F238E27FC236}">
                <a16:creationId xmlns:a16="http://schemas.microsoft.com/office/drawing/2014/main" id="{B5E96079-A1C3-428A-94EE-04C6CD93EF9A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-4804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∙인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itle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별 고정 설명 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의 탭 이동과 무관하게 내용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004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현재 화면명과 동일한 목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현재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하여 탭 간 이동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3573016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9A25D588-F7AB-4309-B26A-CBA6E09BD7E4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07A6C9E9-0611-46F1-9805-F7D83761920E}"/>
              </a:ext>
            </a:extLst>
          </p:cNvPr>
          <p:cNvGrpSpPr/>
          <p:nvPr/>
        </p:nvGrpSpPr>
        <p:grpSpPr>
          <a:xfrm>
            <a:off x="479425" y="2388804"/>
            <a:ext cx="4104659" cy="296845"/>
            <a:chOff x="479425" y="2388804"/>
            <a:chExt cx="3855402" cy="296845"/>
          </a:xfrm>
        </p:grpSpPr>
        <p:sp>
          <p:nvSpPr>
            <p:cNvPr id="3" name="사각형: 둥근 위쪽 모서리 2">
              <a:extLst>
                <a:ext uri="{FF2B5EF4-FFF2-40B4-BE49-F238E27FC236}">
                  <a16:creationId xmlns:a16="http://schemas.microsoft.com/office/drawing/2014/main" id="{10E82A3C-390A-4818-BFCF-F4AC1947CEAF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공시</a:t>
              </a:r>
            </a:p>
          </p:txBody>
        </p:sp>
        <p:sp>
          <p:nvSpPr>
            <p:cNvPr id="65" name="사각형: 둥근 위쪽 모서리 64">
              <a:extLst>
                <a:ext uri="{FF2B5EF4-FFF2-40B4-BE49-F238E27FC236}">
                  <a16:creationId xmlns:a16="http://schemas.microsoft.com/office/drawing/2014/main" id="{AAE5B265-444D-4775-96AD-9FFCAC81869C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평가</a:t>
              </a:r>
            </a:p>
          </p:txBody>
        </p:sp>
        <p:sp>
          <p:nvSpPr>
            <p:cNvPr id="39" name="사각형: 둥근 위쪽 모서리 38">
              <a:extLst>
                <a:ext uri="{FF2B5EF4-FFF2-40B4-BE49-F238E27FC236}">
                  <a16:creationId xmlns:a16="http://schemas.microsoft.com/office/drawing/2014/main" id="{3F1881A7-BD34-422C-8FD4-AB76085FB66B}"/>
                </a:ext>
              </a:extLst>
            </p:cNvPr>
            <p:cNvSpPr/>
            <p:nvPr/>
          </p:nvSpPr>
          <p:spPr>
            <a:xfrm>
              <a:off x="3061883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인증</a:t>
              </a:r>
            </a:p>
          </p:txBody>
        </p:sp>
      </p:grp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70892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2888353-667D-485A-802C-D8BB8B692A92}"/>
              </a:ext>
            </a:extLst>
          </p:cNvPr>
          <p:cNvSpPr/>
          <p:nvPr/>
        </p:nvSpPr>
        <p:spPr>
          <a:xfrm>
            <a:off x="479425" y="3908624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356AD6CA-B8A7-4E7F-95B1-F9EAA933F62E}"/>
              </a:ext>
            </a:extLst>
          </p:cNvPr>
          <p:cNvSpPr/>
          <p:nvPr/>
        </p:nvSpPr>
        <p:spPr>
          <a:xfrm>
            <a:off x="550863" y="4132162"/>
            <a:ext cx="1225713" cy="2233914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공시 보고서 작성</a:t>
            </a: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0875A8C5-D87D-449D-ADDA-74B5A2E79E5B}"/>
              </a:ext>
            </a:extLst>
          </p:cNvPr>
          <p:cNvSpPr/>
          <p:nvPr/>
        </p:nvSpPr>
        <p:spPr>
          <a:xfrm>
            <a:off x="1832069" y="4075843"/>
            <a:ext cx="6820706" cy="1443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이해관계자의 니즈와 해당기업 및 동종업계 이슈를 반영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글로벌 작성 가이드라인 및 국제 기준에 따른 통합보고서 또는 지속가능경영보고서의 작성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보고 대상 및 범위를 결정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 및 기업의 사업 모델을 함께 고려하여 보고 중요성 평가를 거쳐 중요 보고 주제를 선정한 후 보고 내용을 기획하여 작성하는 단계로 진행</a:t>
            </a:r>
            <a:br>
              <a:rPr lang="en-US" altLang="ko-KR" sz="900" dirty="0">
                <a:solidFill>
                  <a:schemeClr val="tx1"/>
                </a:solidFill>
              </a:rPr>
            </a:br>
            <a:r>
              <a:rPr lang="en-US" altLang="ko-KR" sz="900" dirty="0">
                <a:solidFill>
                  <a:schemeClr val="tx1"/>
                </a:solidFill>
              </a:rPr>
              <a:t>-</a:t>
            </a:r>
            <a:r>
              <a:rPr lang="ko-KR" altLang="en-US" sz="900" dirty="0">
                <a:solidFill>
                  <a:schemeClr val="tx1"/>
                </a:solidFill>
              </a:rPr>
              <a:t> 보고 대상 및 범위</a:t>
            </a:r>
            <a:br>
              <a:rPr lang="en-US" altLang="ko-KR" sz="900" dirty="0">
                <a:solidFill>
                  <a:schemeClr val="tx1"/>
                </a:solidFill>
              </a:rPr>
            </a:br>
            <a:br>
              <a:rPr lang="en-US" altLang="ko-KR" sz="900" dirty="0">
                <a:solidFill>
                  <a:schemeClr val="tx1"/>
                </a:solidFill>
              </a:rPr>
            </a:br>
            <a:br>
              <a:rPr lang="en-US" altLang="ko-KR" sz="900" dirty="0">
                <a:solidFill>
                  <a:schemeClr val="tx1"/>
                </a:solidFill>
              </a:rPr>
            </a:br>
            <a:br>
              <a:rPr lang="en-US" altLang="ko-KR" sz="900" dirty="0">
                <a:solidFill>
                  <a:schemeClr val="tx1"/>
                </a:solidFill>
              </a:rPr>
            </a:br>
            <a:r>
              <a:rPr lang="en-US" altLang="ko-KR" sz="900" dirty="0">
                <a:solidFill>
                  <a:schemeClr val="tx1"/>
                </a:solidFill>
              </a:rPr>
              <a:t>- </a:t>
            </a:r>
            <a:r>
              <a:rPr lang="ko-KR" altLang="en-US" sz="900" dirty="0">
                <a:solidFill>
                  <a:schemeClr val="tx1"/>
                </a:solidFill>
              </a:rPr>
              <a:t>보고 내용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5B4D095-22DA-4302-8C0C-153F7F3AA653}"/>
              </a:ext>
            </a:extLst>
          </p:cNvPr>
          <p:cNvSpPr/>
          <p:nvPr/>
        </p:nvSpPr>
        <p:spPr>
          <a:xfrm>
            <a:off x="550863" y="2956846"/>
            <a:ext cx="8208962" cy="87471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공시는 기업의 지속가능성과 관련된 주요 사항을 이해관계자가 파악할 수 있도록 공개하는 활동으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에게 정확하고 신뢰성 있는 정보를 적시에 제공하는 것이 중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공시 위치와 방법은 기업이 자율적으로 선택할 수 있는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우리나라 상장회사의 경우 대부분 지속가능경영보고서의 형식을 통해 지속가능성 공시를 하고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현재 국내외 많은 기업들이 </a:t>
            </a:r>
            <a:r>
              <a:rPr lang="en-US" altLang="ko-KR" sz="900" dirty="0">
                <a:solidFill>
                  <a:schemeClr val="tx1"/>
                </a:solidFill>
              </a:rPr>
              <a:t>GRI, TCFD, SASB </a:t>
            </a:r>
            <a:r>
              <a:rPr lang="ko-KR" altLang="en-US" sz="900" dirty="0">
                <a:solidFill>
                  <a:schemeClr val="tx1"/>
                </a:solidFill>
              </a:rPr>
              <a:t>등 다양한 </a:t>
            </a:r>
            <a:r>
              <a:rPr lang="ko-KR" altLang="en-US" sz="900" dirty="0" err="1">
                <a:solidFill>
                  <a:schemeClr val="tx1"/>
                </a:solidFill>
              </a:rPr>
              <a:t>공신력있는</a:t>
            </a:r>
            <a:r>
              <a:rPr lang="ko-KR" altLang="en-US" sz="900" dirty="0">
                <a:solidFill>
                  <a:schemeClr val="tx1"/>
                </a:solidFill>
              </a:rPr>
              <a:t> 글로벌 기준에 따라 정보를 공개하고 있으며</a:t>
            </a:r>
            <a:r>
              <a:rPr lang="en-US" altLang="ko-KR" sz="900" dirty="0">
                <a:solidFill>
                  <a:schemeClr val="tx1"/>
                </a:solidFill>
              </a:rPr>
              <a:t>, ISSB </a:t>
            </a:r>
            <a:r>
              <a:rPr lang="ko-KR" altLang="en-US" sz="900" dirty="0">
                <a:solidFill>
                  <a:schemeClr val="tx1"/>
                </a:solidFill>
              </a:rPr>
              <a:t>지속가능성 공시 기준이 확정되고</a:t>
            </a:r>
            <a:r>
              <a:rPr lang="en-US" altLang="ko-KR" sz="900" dirty="0">
                <a:solidFill>
                  <a:schemeClr val="tx1"/>
                </a:solidFill>
              </a:rPr>
              <a:t>, 2025</a:t>
            </a:r>
            <a:r>
              <a:rPr lang="ko-KR" altLang="en-US" sz="900" dirty="0">
                <a:solidFill>
                  <a:schemeClr val="tx1"/>
                </a:solidFill>
              </a:rPr>
              <a:t>년 의무화가 결정됨에 따라</a:t>
            </a:r>
            <a:r>
              <a:rPr lang="en-US" altLang="ko-KR" sz="900" dirty="0">
                <a:solidFill>
                  <a:schemeClr val="tx1"/>
                </a:solidFill>
              </a:rPr>
              <a:t>, ISSB </a:t>
            </a:r>
            <a:r>
              <a:rPr lang="ko-KR" altLang="en-US" sz="900" dirty="0">
                <a:solidFill>
                  <a:schemeClr val="tx1"/>
                </a:solidFill>
              </a:rPr>
              <a:t>기준에 따른 공시가 확대될 예정입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96B45D49-D3FA-4DCE-98CD-50A34456F339}"/>
              </a:ext>
            </a:extLst>
          </p:cNvPr>
          <p:cNvGrpSpPr/>
          <p:nvPr/>
        </p:nvGrpSpPr>
        <p:grpSpPr>
          <a:xfrm>
            <a:off x="2041097" y="5481637"/>
            <a:ext cx="6718727" cy="884439"/>
            <a:chOff x="1860439" y="5021432"/>
            <a:chExt cx="5012802" cy="884439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63BD26D9-CBF5-4143-A224-B4275C0C9879}"/>
                </a:ext>
              </a:extLst>
            </p:cNvPr>
            <p:cNvSpPr/>
            <p:nvPr/>
          </p:nvSpPr>
          <p:spPr>
            <a:xfrm>
              <a:off x="1935148" y="5085185"/>
              <a:ext cx="1568564" cy="7975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전략과 프로필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전략과 분석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조직의 프로파일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보고서 파라미터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지배구조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/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위원회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/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이해관계자 참여</a:t>
              </a: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3093C02D-8D17-4C13-83F9-E2D845664F9D}"/>
                </a:ext>
              </a:extLst>
            </p:cNvPr>
            <p:cNvSpPr/>
            <p:nvPr/>
          </p:nvSpPr>
          <p:spPr>
            <a:xfrm>
              <a:off x="3591332" y="5085185"/>
              <a:ext cx="1568564" cy="7975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경영방식 공시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성과 정보의 배경 설정을 위해 지표 범주 별로 정의된 측면에 대한 경영 방식을 간략하게 요약하여 제시</a:t>
              </a:r>
              <a:b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예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정책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목표 및 성과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)</a:t>
              </a: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EABD976D-7E9B-4CE5-B035-35605E0FE99D}"/>
                </a:ext>
              </a:extLst>
            </p:cNvPr>
            <p:cNvSpPr/>
            <p:nvPr/>
          </p:nvSpPr>
          <p:spPr>
            <a:xfrm>
              <a:off x="5247516" y="5085185"/>
              <a:ext cx="1568564" cy="7975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성과지표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경제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경제가치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시장지위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간접경제효과 등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환경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투입산출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제품서비스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생태계 등</a:t>
              </a:r>
            </a:p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사회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노동여건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/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관행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인권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제품 책임 등</a:t>
              </a: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2B74F90-3D9A-410B-8D51-55ADEC3D1BDF}"/>
                </a:ext>
              </a:extLst>
            </p:cNvPr>
            <p:cNvSpPr/>
            <p:nvPr/>
          </p:nvSpPr>
          <p:spPr>
            <a:xfrm>
              <a:off x="1860439" y="5021432"/>
              <a:ext cx="5012802" cy="8844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5A9A1C59-C0BD-4C19-A67F-C98D1BC59722}"/>
              </a:ext>
            </a:extLst>
          </p:cNvPr>
          <p:cNvGrpSpPr/>
          <p:nvPr/>
        </p:nvGrpSpPr>
        <p:grpSpPr>
          <a:xfrm>
            <a:off x="2037322" y="4901748"/>
            <a:ext cx="6718727" cy="379713"/>
            <a:chOff x="1860439" y="5021432"/>
            <a:chExt cx="5012802" cy="379713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D2D6C2FA-C2E6-43E4-BCDA-0D7201C3C9A6}"/>
                </a:ext>
              </a:extLst>
            </p:cNvPr>
            <p:cNvSpPr/>
            <p:nvPr/>
          </p:nvSpPr>
          <p:spPr>
            <a:xfrm>
              <a:off x="2442089" y="5085185"/>
              <a:ext cx="1061623" cy="2350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고객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주주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투자자</a:t>
              </a:r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E2A6C10A-E403-492B-B48A-542EF9CB2A3A}"/>
                </a:ext>
              </a:extLst>
            </p:cNvPr>
            <p:cNvSpPr/>
            <p:nvPr/>
          </p:nvSpPr>
          <p:spPr>
            <a:xfrm>
              <a:off x="1860439" y="5021432"/>
              <a:ext cx="5012802" cy="37971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802A37FE-50E3-4F74-9C2C-A9E9DECE097F}"/>
                </a:ext>
              </a:extLst>
            </p:cNvPr>
            <p:cNvSpPr/>
            <p:nvPr/>
          </p:nvSpPr>
          <p:spPr>
            <a:xfrm>
              <a:off x="1999001" y="5085185"/>
              <a:ext cx="396271" cy="2350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108000"/>
              <a:r>
                <a:rPr lang="ko-KR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경제</a:t>
              </a: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D43D0EC2-7E8E-443D-BE90-B6E67FC87FEB}"/>
                </a:ext>
              </a:extLst>
            </p:cNvPr>
            <p:cNvSpPr/>
            <p:nvPr/>
          </p:nvSpPr>
          <p:spPr>
            <a:xfrm>
              <a:off x="4061538" y="5085532"/>
              <a:ext cx="1061623" cy="2350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정부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ko-KR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협력사</a:t>
              </a:r>
              <a:r>
                <a:rPr lang="en-US" altLang="ko-KR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NGO</a:t>
              </a: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1227575B-2CB7-4A5B-99B5-D42C4BF95C95}"/>
                </a:ext>
              </a:extLst>
            </p:cNvPr>
            <p:cNvSpPr/>
            <p:nvPr/>
          </p:nvSpPr>
          <p:spPr>
            <a:xfrm>
              <a:off x="3618452" y="5085532"/>
              <a:ext cx="396271" cy="2350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108000"/>
              <a:r>
                <a:rPr lang="ko-KR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환경</a:t>
              </a:r>
            </a:p>
          </p:txBody>
        </p:sp>
        <p:sp>
          <p:nvSpPr>
            <p:cNvPr id="73" name="직사각형 72">
              <a:extLst>
                <a:ext uri="{FF2B5EF4-FFF2-40B4-BE49-F238E27FC236}">
                  <a16:creationId xmlns:a16="http://schemas.microsoft.com/office/drawing/2014/main" id="{85E7089F-34EC-4C70-9221-F13341A7F78D}"/>
                </a:ext>
              </a:extLst>
            </p:cNvPr>
            <p:cNvSpPr/>
            <p:nvPr/>
          </p:nvSpPr>
          <p:spPr>
            <a:xfrm>
              <a:off x="5726589" y="5085532"/>
              <a:ext cx="1061623" cy="2350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216000" indent="-108000">
                <a:buFont typeface="Arial" panose="020B0604020202020204" pitchFamily="34" charset="0"/>
                <a:buChar char="•"/>
              </a:pPr>
              <a:r>
                <a:rPr lang="ko-KR" altLang="en-US" sz="800" dirty="0">
                  <a:solidFill>
                    <a:schemeClr val="tx1"/>
                  </a:solidFill>
                </a:rPr>
                <a:t>지역사회</a:t>
              </a:r>
              <a:r>
                <a:rPr lang="en-US" altLang="ko-KR" sz="800" dirty="0">
                  <a:solidFill>
                    <a:schemeClr val="tx1"/>
                  </a:solidFill>
                </a:rPr>
                <a:t>, </a:t>
              </a:r>
              <a:r>
                <a:rPr lang="ko-KR" altLang="en-US" sz="800" dirty="0">
                  <a:solidFill>
                    <a:schemeClr val="tx1"/>
                  </a:solidFill>
                </a:rPr>
                <a:t>언론</a:t>
              </a:r>
              <a:r>
                <a:rPr lang="en-US" altLang="ko-KR" sz="800" dirty="0">
                  <a:solidFill>
                    <a:schemeClr val="tx1"/>
                  </a:solidFill>
                </a:rPr>
                <a:t>, </a:t>
              </a:r>
              <a:r>
                <a:rPr lang="ko-KR" altLang="en-US" sz="800" dirty="0">
                  <a:solidFill>
                    <a:schemeClr val="tx1"/>
                  </a:solidFill>
                </a:rPr>
                <a:t>종업원</a:t>
              </a:r>
              <a:endPara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CA3EEECB-DDFD-4E05-8478-B9765E18500E}"/>
                </a:ext>
              </a:extLst>
            </p:cNvPr>
            <p:cNvSpPr/>
            <p:nvPr/>
          </p:nvSpPr>
          <p:spPr>
            <a:xfrm>
              <a:off x="5283500" y="5085532"/>
              <a:ext cx="396271" cy="2350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108000"/>
              <a:r>
                <a:rPr lang="ko-KR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사회</a:t>
              </a:r>
            </a:p>
          </p:txBody>
        </p:sp>
      </p:grp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87E5B4F9-8191-4623-95F4-AC10F40278FE}"/>
              </a:ext>
            </a:extLst>
          </p:cNvPr>
          <p:cNvSpPr/>
          <p:nvPr/>
        </p:nvSpPr>
        <p:spPr>
          <a:xfrm>
            <a:off x="263361" y="19240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0083BA4C-73C8-41BD-AA4C-49BAB9E79475}"/>
              </a:ext>
            </a:extLst>
          </p:cNvPr>
          <p:cNvSpPr/>
          <p:nvPr/>
        </p:nvSpPr>
        <p:spPr>
          <a:xfrm>
            <a:off x="263361" y="24868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BB2E0C8-85AC-4E74-A3E9-DA389AE0F9F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69939758-3958-4EAE-AB39-8751EA0F66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74E3841E-234A-4DB1-B055-C95E479C36A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9CC0FB06-94D1-4C60-9A6F-1FE1BFE070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46D8CAD3-7D9E-4367-8F3D-FBDF49379DC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CBE71B8C-3D59-46D7-A64D-C519404BA9B9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2F89CC26-A449-4B5F-95F4-DA6D50AFA9C3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7859E927-C2F0-433A-8E40-857BBB9942CD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BC30081-D679-470A-A4B7-41D461FBD4A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45EBB121-34FE-473A-BE3F-D7A0D65EA939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C85BBA6B-3574-4914-8F47-EF48729EC7F8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2BAC729C-D66C-4AE3-B434-4C81CBED4A6F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81" name="그림 80">
              <a:extLst>
                <a:ext uri="{FF2B5EF4-FFF2-40B4-BE49-F238E27FC236}">
                  <a16:creationId xmlns:a16="http://schemas.microsoft.com/office/drawing/2014/main" id="{4B007427-A941-4D3E-AFF1-7DE1293B6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9646BB4B-E637-4277-BFBA-C35EC41EFB0D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8467F2F6-AA36-46BD-A0DA-52C73F0C1E42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F97793A0-5124-4F6E-B5CE-F2D4D7874AFC}"/>
                </a:ext>
              </a:extLst>
            </p:cNvPr>
            <p:cNvSpPr/>
            <p:nvPr/>
          </p:nvSpPr>
          <p:spPr>
            <a:xfrm>
              <a:off x="-1531603" y="5671791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95153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직사각형 90">
            <a:extLst>
              <a:ext uri="{FF2B5EF4-FFF2-40B4-BE49-F238E27FC236}">
                <a16:creationId xmlns:a16="http://schemas.microsoft.com/office/drawing/2014/main" id="{BC1DFDAF-3298-4D24-B0E0-8562119939FD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7"/>
            <a:ext cx="8647314" cy="66056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2BB565D9-D9EE-47FB-A90A-FBF3B9B9BA05}"/>
              </a:ext>
            </a:extLst>
          </p:cNvPr>
          <p:cNvGrpSpPr/>
          <p:nvPr/>
        </p:nvGrpSpPr>
        <p:grpSpPr>
          <a:xfrm>
            <a:off x="479425" y="4077072"/>
            <a:ext cx="8353425" cy="1672838"/>
            <a:chOff x="479425" y="4797152"/>
            <a:chExt cx="8353425" cy="1672838"/>
          </a:xfrm>
        </p:grpSpPr>
        <p:grpSp>
          <p:nvGrpSpPr>
            <p:cNvPr id="123" name="그룹 122">
              <a:extLst>
                <a:ext uri="{FF2B5EF4-FFF2-40B4-BE49-F238E27FC236}">
                  <a16:creationId xmlns:a16="http://schemas.microsoft.com/office/drawing/2014/main" id="{F48CBD1F-48C4-46C2-8F35-F2D3B3481FDD}"/>
                </a:ext>
              </a:extLst>
            </p:cNvPr>
            <p:cNvGrpSpPr/>
            <p:nvPr/>
          </p:nvGrpSpPr>
          <p:grpSpPr>
            <a:xfrm>
              <a:off x="550865" y="5011730"/>
              <a:ext cx="8212843" cy="1458260"/>
              <a:chOff x="550865" y="3737452"/>
              <a:chExt cx="8212843" cy="145826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35F974B3-8C28-4DA6-B94D-F18CA4718361}"/>
                  </a:ext>
                </a:extLst>
              </p:cNvPr>
              <p:cNvSpPr/>
              <p:nvPr/>
            </p:nvSpPr>
            <p:spPr>
              <a:xfrm>
                <a:off x="550865" y="3740186"/>
                <a:ext cx="8212842" cy="145552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spcAft>
                    <a:spcPts val="600"/>
                  </a:spcAft>
                </a:pPr>
                <a:endParaRPr lang="ko-KR" altLang="en-US" sz="1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CF86C1BF-0BA9-4ED3-ABCC-537B5227998E}"/>
                  </a:ext>
                </a:extLst>
              </p:cNvPr>
              <p:cNvSpPr/>
              <p:nvPr/>
            </p:nvSpPr>
            <p:spPr>
              <a:xfrm>
                <a:off x="8611368" y="3737452"/>
                <a:ext cx="152340" cy="145040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600"/>
                  </a:spcAft>
                </a:pPr>
                <a:r>
                  <a:rPr lang="ko-KR" altLang="en-US" sz="900" b="1" dirty="0">
                    <a:solidFill>
                      <a:schemeClr val="tx1"/>
                    </a:solidFill>
                  </a:rPr>
                  <a:t>▶</a:t>
                </a:r>
              </a:p>
            </p:txBody>
          </p:sp>
          <p:pic>
            <p:nvPicPr>
              <p:cNvPr id="132" name="Picture 2" descr="자연 사진, 5,726,000개 이상의 고품질 무료 스톡 사진">
                <a:extLst>
                  <a:ext uri="{FF2B5EF4-FFF2-40B4-BE49-F238E27FC236}">
                    <a16:creationId xmlns:a16="http://schemas.microsoft.com/office/drawing/2014/main" id="{88269BD7-EEB0-49D2-AC88-98D3C96056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174" b="8576"/>
              <a:stretch/>
            </p:blipFill>
            <p:spPr bwMode="auto">
              <a:xfrm>
                <a:off x="983119" y="3824015"/>
                <a:ext cx="1510563" cy="8167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3" name="사각형: 둥근 모서리 132">
                <a:extLst>
                  <a:ext uri="{FF2B5EF4-FFF2-40B4-BE49-F238E27FC236}">
                    <a16:creationId xmlns:a16="http://schemas.microsoft.com/office/drawing/2014/main" id="{192ECF19-7C49-474D-8D01-ADCE129D54F9}"/>
                  </a:ext>
                </a:extLst>
              </p:cNvPr>
              <p:cNvSpPr/>
              <p:nvPr/>
            </p:nvSpPr>
            <p:spPr>
              <a:xfrm>
                <a:off x="978065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업무분류</a:t>
                </a:r>
              </a:p>
            </p:txBody>
          </p:sp>
          <p:sp>
            <p:nvSpPr>
              <p:cNvPr id="134" name="사각형: 둥근 모서리 133">
                <a:extLst>
                  <a:ext uri="{FF2B5EF4-FFF2-40B4-BE49-F238E27FC236}">
                    <a16:creationId xmlns:a16="http://schemas.microsoft.com/office/drawing/2014/main" id="{AF1D5C2D-D929-4CFE-A1FF-EABEA93A8628}"/>
                  </a:ext>
                </a:extLst>
              </p:cNvPr>
              <p:cNvSpPr/>
              <p:nvPr/>
            </p:nvSpPr>
            <p:spPr>
              <a:xfrm>
                <a:off x="1495551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주제분류</a:t>
                </a:r>
              </a:p>
            </p:txBody>
          </p:sp>
          <p:sp>
            <p:nvSpPr>
              <p:cNvPr id="136" name="사각형: 둥근 모서리 135">
                <a:extLst>
                  <a:ext uri="{FF2B5EF4-FFF2-40B4-BE49-F238E27FC236}">
                    <a16:creationId xmlns:a16="http://schemas.microsoft.com/office/drawing/2014/main" id="{DD11BCBD-AA89-4BC7-80DA-5162B2631830}"/>
                  </a:ext>
                </a:extLst>
              </p:cNvPr>
              <p:cNvSpPr/>
              <p:nvPr/>
            </p:nvSpPr>
            <p:spPr>
              <a:xfrm>
                <a:off x="2013037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/>
              <a:lstStyle/>
              <a:p>
                <a:pPr algn="ctr"/>
                <a:r>
                  <a:rPr lang="ko-KR" altLang="en-US" sz="700" b="1" dirty="0" err="1">
                    <a:solidFill>
                      <a:schemeClr val="bg1">
                        <a:lumMod val="50000"/>
                      </a:schemeClr>
                    </a:solidFill>
                  </a:rPr>
                  <a:t>토픽키워드</a:t>
                </a:r>
                <a:endParaRPr lang="ko-KR" altLang="en-US" sz="700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BD6EAD50-956F-4F8B-94CD-1525312AFAC8}"/>
                  </a:ext>
                </a:extLst>
              </p:cNvPr>
              <p:cNvSpPr/>
              <p:nvPr/>
            </p:nvSpPr>
            <p:spPr>
              <a:xfrm>
                <a:off x="982626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500" b="1" dirty="0"/>
                  <a:t>컨텐츠 종류</a:t>
                </a:r>
              </a:p>
            </p:txBody>
          </p:sp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66306C79-16BE-4896-BF56-D450B263321F}"/>
                  </a:ext>
                </a:extLst>
              </p:cNvPr>
              <p:cNvSpPr/>
              <p:nvPr/>
            </p:nvSpPr>
            <p:spPr>
              <a:xfrm>
                <a:off x="1301634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ko-KR" altLang="en-US" sz="800" b="1" dirty="0">
                    <a:solidFill>
                      <a:schemeClr val="tx1"/>
                    </a:solidFill>
                  </a:rPr>
                  <a:t>제목</a:t>
                </a:r>
                <a:endParaRPr lang="en-US" altLang="ko-KR" sz="800" b="1" dirty="0">
                  <a:solidFill>
                    <a:schemeClr val="tx1"/>
                  </a:solidFill>
                </a:endParaRPr>
              </a:p>
              <a:p>
                <a:endParaRPr lang="ko-KR" altLang="en-US" sz="8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1" name="그룹 140">
                <a:extLst>
                  <a:ext uri="{FF2B5EF4-FFF2-40B4-BE49-F238E27FC236}">
                    <a16:creationId xmlns:a16="http://schemas.microsoft.com/office/drawing/2014/main" id="{EEFA86F1-B15F-4CE4-A96B-B50D5B5BDEF1}"/>
                  </a:ext>
                </a:extLst>
              </p:cNvPr>
              <p:cNvGrpSpPr/>
              <p:nvPr/>
            </p:nvGrpSpPr>
            <p:grpSpPr>
              <a:xfrm>
                <a:off x="2930913" y="382401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55" name="사각형: 둥근 모서리 154">
                  <a:extLst>
                    <a:ext uri="{FF2B5EF4-FFF2-40B4-BE49-F238E27FC236}">
                      <a16:creationId xmlns:a16="http://schemas.microsoft.com/office/drawing/2014/main" id="{360BAE0E-CD0B-4C4C-A0A3-4F4AD3763FB8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56" name="사각형: 둥근 모서리 155">
                  <a:extLst>
                    <a:ext uri="{FF2B5EF4-FFF2-40B4-BE49-F238E27FC236}">
                      <a16:creationId xmlns:a16="http://schemas.microsoft.com/office/drawing/2014/main" id="{5EE46980-A440-4530-BD6D-0C5EB2B2A050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금융</a:t>
                  </a:r>
                </a:p>
              </p:txBody>
            </p:sp>
            <p:sp>
              <p:nvSpPr>
                <p:cNvPr id="157" name="사각형: 둥근 모서리 156">
                  <a:extLst>
                    <a:ext uri="{FF2B5EF4-FFF2-40B4-BE49-F238E27FC236}">
                      <a16:creationId xmlns:a16="http://schemas.microsoft.com/office/drawing/2014/main" id="{6F4B33FD-9E1E-4E70-BEDA-DA4F9EF07009}"/>
                    </a:ext>
                  </a:extLst>
                </p:cNvPr>
                <p:cNvSpPr/>
                <p:nvPr/>
              </p:nvSpPr>
              <p:spPr>
                <a:xfrm>
                  <a:off x="3438004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투자</a:t>
                  </a:r>
                </a:p>
              </p:txBody>
            </p:sp>
            <p:sp>
              <p:nvSpPr>
                <p:cNvPr id="158" name="직사각형 157">
                  <a:extLst>
                    <a:ext uri="{FF2B5EF4-FFF2-40B4-BE49-F238E27FC236}">
                      <a16:creationId xmlns:a16="http://schemas.microsoft.com/office/drawing/2014/main" id="{B4707A5B-95E0-4562-8F24-A6C8531DE12B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59" name="직사각형 158">
                  <a:extLst>
                    <a:ext uri="{FF2B5EF4-FFF2-40B4-BE49-F238E27FC236}">
                      <a16:creationId xmlns:a16="http://schemas.microsoft.com/office/drawing/2014/main" id="{2A4D5F67-AE56-42CA-A9C3-17EEB683FC82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금융기관에게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이 갖는 </a:t>
                  </a:r>
                  <a:r>
                    <a:rPr lang="ko-KR" altLang="en-US" sz="800" b="1" dirty="0" err="1">
                      <a:solidFill>
                        <a:schemeClr val="tx1"/>
                      </a:solidFill>
                    </a:rPr>
                    <a:t>의미란</a:t>
                  </a:r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60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6EEA7B2A-CB9D-4C04-B836-48AC2AD5E7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43" name="그룹 142">
                <a:extLst>
                  <a:ext uri="{FF2B5EF4-FFF2-40B4-BE49-F238E27FC236}">
                    <a16:creationId xmlns:a16="http://schemas.microsoft.com/office/drawing/2014/main" id="{192D830E-2D1E-473A-9E55-EBD925F92BC5}"/>
                  </a:ext>
                </a:extLst>
              </p:cNvPr>
              <p:cNvGrpSpPr/>
              <p:nvPr/>
            </p:nvGrpSpPr>
            <p:grpSpPr>
              <a:xfrm>
                <a:off x="4885679" y="3828801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50" name="사각형: 둥근 모서리 149">
                  <a:extLst>
                    <a:ext uri="{FF2B5EF4-FFF2-40B4-BE49-F238E27FC236}">
                      <a16:creationId xmlns:a16="http://schemas.microsoft.com/office/drawing/2014/main" id="{AB97B3AA-076D-4AA4-BC2B-E8EE9234664B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51" name="사각형: 둥근 모서리 150">
                  <a:extLst>
                    <a:ext uri="{FF2B5EF4-FFF2-40B4-BE49-F238E27FC236}">
                      <a16:creationId xmlns:a16="http://schemas.microsoft.com/office/drawing/2014/main" id="{84883B26-FDDC-403C-BFBB-6571BDC48C9E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52" name="직사각형 151">
                  <a:extLst>
                    <a:ext uri="{FF2B5EF4-FFF2-40B4-BE49-F238E27FC236}">
                      <a16:creationId xmlns:a16="http://schemas.microsoft.com/office/drawing/2014/main" id="{627FB275-2825-44A4-BE83-0B5BADA42DDB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B7E542AB-7F50-47BF-AF17-F51680527127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개념 및 이해</a:t>
                  </a:r>
                  <a:endParaRPr lang="en-US" altLang="ko-KR" sz="800" b="1" dirty="0">
                    <a:solidFill>
                      <a:schemeClr val="tx1"/>
                    </a:solidFill>
                  </a:endParaRPr>
                </a:p>
                <a:p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54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5B9D3EC1-FBF5-4C35-9426-4AB49B9DBDF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44" name="그룹 143">
                <a:extLst>
                  <a:ext uri="{FF2B5EF4-FFF2-40B4-BE49-F238E27FC236}">
                    <a16:creationId xmlns:a16="http://schemas.microsoft.com/office/drawing/2014/main" id="{7A0B3A28-B882-412B-9CA3-C793C418C130}"/>
                  </a:ext>
                </a:extLst>
              </p:cNvPr>
              <p:cNvGrpSpPr/>
              <p:nvPr/>
            </p:nvGrpSpPr>
            <p:grpSpPr>
              <a:xfrm>
                <a:off x="6840446" y="382303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45" name="사각형: 둥근 모서리 144">
                  <a:extLst>
                    <a:ext uri="{FF2B5EF4-FFF2-40B4-BE49-F238E27FC236}">
                      <a16:creationId xmlns:a16="http://schemas.microsoft.com/office/drawing/2014/main" id="{58F207A6-0FA5-49CF-A99F-3812791D2B7D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46" name="사각형: 둥근 모서리 145">
                  <a:extLst>
                    <a:ext uri="{FF2B5EF4-FFF2-40B4-BE49-F238E27FC236}">
                      <a16:creationId xmlns:a16="http://schemas.microsoft.com/office/drawing/2014/main" id="{A7D2363A-2AD1-45A5-A03E-802F4AE28481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47" name="직사각형 146">
                  <a:extLst>
                    <a:ext uri="{FF2B5EF4-FFF2-40B4-BE49-F238E27FC236}">
                      <a16:creationId xmlns:a16="http://schemas.microsoft.com/office/drawing/2014/main" id="{CC498964-B7E4-40A7-B0BF-B1B9D7D98F15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영상</a:t>
                  </a:r>
                </a:p>
              </p:txBody>
            </p:sp>
            <p:sp>
              <p:nvSpPr>
                <p:cNvPr id="148" name="직사각형 147">
                  <a:extLst>
                    <a:ext uri="{FF2B5EF4-FFF2-40B4-BE49-F238E27FC236}">
                      <a16:creationId xmlns:a16="http://schemas.microsoft.com/office/drawing/2014/main" id="{70079606-70B8-4ACC-9B81-FD50B44608D4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중소중견기업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온라인 교육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: ESG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이해</a:t>
                  </a:r>
                </a:p>
              </p:txBody>
            </p:sp>
            <p:pic>
              <p:nvPicPr>
                <p:cNvPr id="149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481BC450-2646-4288-8988-278271BDBCD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B8CDEBBB-E178-4746-9C3C-4856CB8B8159}"/>
                </a:ext>
              </a:extLst>
            </p:cNvPr>
            <p:cNvSpPr/>
            <p:nvPr/>
          </p:nvSpPr>
          <p:spPr>
            <a:xfrm>
              <a:off x="479425" y="4797152"/>
              <a:ext cx="8353425" cy="240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관련 컨텐츠</a:t>
              </a:r>
            </a:p>
          </p:txBody>
        </p:sp>
      </p:grp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5695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6359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안내 페이지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1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2574331"/>
                  </a:ext>
                </a:extLst>
              </a:tr>
              <a:tr h="7150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16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연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여부에 따라 다른 내용의 팝업화면이 생성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목록은 별도로 전달 예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명 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정보 기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~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썸네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없는 경우 임의의 일러스트 넣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437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가 한 화면에 보여지는 개수보다 많은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살표를 클릭해서 관련 컨텐츠 목록을 더 확인할 수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1283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해당 부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명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사이트로 이동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Platform: https://www.pwc.com/kr/ko/services/esg-platform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ssurance: https://www.pwc.com/kr/ko/assur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ax: https://www.pwc.com/kr/ko/tax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als: https://www.pwc.com/kr/ko/deal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공부문 컨설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.com/kr/ko/services/krsrc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consulting.co.kr/ko/services/risk-compli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FS: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pwcconsulting.co.kr/ko/services/financial-services.html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4477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Q001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및 요청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팝업 화면이 생성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서비스제공문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[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] 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로 디폴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9072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996952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필요 업무역량</a:t>
            </a:r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DFA29D21-3A8F-4DAC-92DE-88600313B656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AB8A5F99-CCFC-4892-A11D-09590107BE32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표 65">
            <a:extLst>
              <a:ext uri="{FF2B5EF4-FFF2-40B4-BE49-F238E27FC236}">
                <a16:creationId xmlns:a16="http://schemas.microsoft.com/office/drawing/2014/main" id="{B6D36F3E-64DC-4D1C-992A-3DAC64229C88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∙인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62" name="직사각형 61">
            <a:extLst>
              <a:ext uri="{FF2B5EF4-FFF2-40B4-BE49-F238E27FC236}">
                <a16:creationId xmlns:a16="http://schemas.microsoft.com/office/drawing/2014/main" id="{67F875CC-06D7-4F24-823E-9D3D62135BCD}"/>
              </a:ext>
            </a:extLst>
          </p:cNvPr>
          <p:cNvSpPr/>
          <p:nvPr/>
        </p:nvSpPr>
        <p:spPr bwMode="auto">
          <a:xfrm>
            <a:off x="341695" y="694600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80C9187A-3AB9-4B3E-8F3E-29CA401FB388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94EA45C4-FA19-4966-B617-88BA29212B61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CB5D5081-C4DC-4955-B173-76ACA6DDB5B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DF2E3E09-E96E-4777-AE47-99DD6D9E9BFD}"/>
                  </a:ext>
                </a:extLst>
              </p:cNvPr>
              <p:cNvSpPr/>
              <p:nvPr/>
            </p:nvSpPr>
            <p:spPr>
              <a:xfrm>
                <a:off x="9201495" y="467369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B5AF2D6B-9BDA-4911-B92D-6EFA97BB496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75" name="직사각형 74">
                <a:extLst>
                  <a:ext uri="{FF2B5EF4-FFF2-40B4-BE49-F238E27FC236}">
                    <a16:creationId xmlns:a16="http://schemas.microsoft.com/office/drawing/2014/main" id="{0A0A893F-FD11-46DE-9C42-1450695780B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8D31BF7-0747-4A5E-88DF-5E9F6BD47C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478951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0D214780-D571-48CF-9A3D-A6B00FCA24A8}"/>
              </a:ext>
            </a:extLst>
          </p:cNvPr>
          <p:cNvGrpSpPr/>
          <p:nvPr/>
        </p:nvGrpSpPr>
        <p:grpSpPr>
          <a:xfrm>
            <a:off x="479425" y="2388804"/>
            <a:ext cx="4104659" cy="296845"/>
            <a:chOff x="479425" y="2388804"/>
            <a:chExt cx="3855402" cy="296845"/>
          </a:xfrm>
        </p:grpSpPr>
        <p:sp>
          <p:nvSpPr>
            <p:cNvPr id="84" name="사각형: 둥근 위쪽 모서리 83">
              <a:extLst>
                <a:ext uri="{FF2B5EF4-FFF2-40B4-BE49-F238E27FC236}">
                  <a16:creationId xmlns:a16="http://schemas.microsoft.com/office/drawing/2014/main" id="{CA21179B-BBA7-450E-A16D-EE116A6EF502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공시</a:t>
              </a:r>
            </a:p>
          </p:txBody>
        </p:sp>
        <p:sp>
          <p:nvSpPr>
            <p:cNvPr id="85" name="사각형: 둥근 위쪽 모서리 84">
              <a:extLst>
                <a:ext uri="{FF2B5EF4-FFF2-40B4-BE49-F238E27FC236}">
                  <a16:creationId xmlns:a16="http://schemas.microsoft.com/office/drawing/2014/main" id="{1A289B8A-5F40-474B-9B89-03D1635E82E2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평가</a:t>
              </a:r>
            </a:p>
          </p:txBody>
        </p:sp>
        <p:sp>
          <p:nvSpPr>
            <p:cNvPr id="86" name="사각형: 둥근 위쪽 모서리 85">
              <a:extLst>
                <a:ext uri="{FF2B5EF4-FFF2-40B4-BE49-F238E27FC236}">
                  <a16:creationId xmlns:a16="http://schemas.microsoft.com/office/drawing/2014/main" id="{A4475FA1-63C4-405B-9A84-E5188FB8F94B}"/>
                </a:ext>
              </a:extLst>
            </p:cNvPr>
            <p:cNvSpPr/>
            <p:nvPr/>
          </p:nvSpPr>
          <p:spPr>
            <a:xfrm>
              <a:off x="3061883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인증</a:t>
              </a:r>
            </a:p>
          </p:txBody>
        </p:sp>
      </p:grp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50567DA0-406C-4D3F-BF1A-E39F5F0ABE75}"/>
              </a:ext>
            </a:extLst>
          </p:cNvPr>
          <p:cNvSpPr/>
          <p:nvPr/>
        </p:nvSpPr>
        <p:spPr>
          <a:xfrm>
            <a:off x="280261" y="42000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166E76C6-B84F-4015-BDCA-38BEB927B2BB}"/>
              </a:ext>
            </a:extLst>
          </p:cNvPr>
          <p:cNvSpPr/>
          <p:nvPr/>
        </p:nvSpPr>
        <p:spPr>
          <a:xfrm>
            <a:off x="8549933" y="42841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C280B6BB-AC6A-4917-9036-855E2FF20C2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F71E749-9D32-4805-A677-2E79765607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993D6F1-A4EA-4938-BEC2-CBF3E9DBBBC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03162C5C-75DC-468C-8BDC-445DAC2FB1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A843FDC4-5948-4F94-AD9D-B3535592070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5FE7A61-AAA9-4ACE-AEDF-694239651B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22977" y="5793293"/>
            <a:ext cx="737265" cy="490642"/>
          </a:xfrm>
          <a:prstGeom prst="rect">
            <a:avLst/>
          </a:prstGeom>
        </p:spPr>
      </p:pic>
      <p:graphicFrame>
        <p:nvGraphicFramePr>
          <p:cNvPr id="76" name="표 3">
            <a:extLst>
              <a:ext uri="{FF2B5EF4-FFF2-40B4-BE49-F238E27FC236}">
                <a16:creationId xmlns:a16="http://schemas.microsoft.com/office/drawing/2014/main" id="{FD713C80-AFD6-4FC1-8F47-5ABFD4E1DC66}"/>
              </a:ext>
            </a:extLst>
          </p:cNvPr>
          <p:cNvGraphicFramePr>
            <a:graphicFrameLocks noGrp="1"/>
          </p:cNvGraphicFramePr>
          <p:nvPr/>
        </p:nvGraphicFramePr>
        <p:xfrm>
          <a:off x="550733" y="3212976"/>
          <a:ext cx="8064948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74">
                  <a:extLst>
                    <a:ext uri="{9D8B030D-6E8A-4147-A177-3AD203B41FA5}">
                      <a16:colId xmlns:a16="http://schemas.microsoft.com/office/drawing/2014/main" val="3838718113"/>
                    </a:ext>
                  </a:extLst>
                </a:gridCol>
                <a:gridCol w="4032474">
                  <a:extLst>
                    <a:ext uri="{9D8B030D-6E8A-4147-A177-3AD203B41FA5}">
                      <a16:colId xmlns:a16="http://schemas.microsoft.com/office/drawing/2014/main" val="4047136683"/>
                    </a:ext>
                  </a:extLst>
                </a:gridCol>
              </a:tblGrid>
              <a:tr h="4183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공시 기준 및 </a:t>
                      </a:r>
                      <a:r>
                        <a:rPr lang="ko-KR" altLang="en-US" sz="9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기준별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요구사항에 대한 이해</a:t>
                      </a:r>
                    </a:p>
                  </a:txBody>
                  <a:tcPr marT="72000" marB="7200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공시 기준에 따라 공시에 필요한 자료를 판단하는 역량</a:t>
                      </a:r>
                    </a:p>
                  </a:txBody>
                  <a:tcPr marT="72000" marB="7200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063471"/>
                  </a:ext>
                </a:extLst>
              </a:tr>
              <a:tr h="4183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공시 자료 수급을 위해 타 부서의 협조를 구하는 커뮤니케이션 역량</a:t>
                      </a:r>
                    </a:p>
                  </a:txBody>
                  <a:tcPr marT="72000" marB="7200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지속가능보고서를 이해관계자가 이해하기 쉽게 작성하는 글쓰기 역량</a:t>
                      </a:r>
                    </a:p>
                  </a:txBody>
                  <a:tcPr marT="72000" marB="7200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918432"/>
                  </a:ext>
                </a:extLst>
              </a:tr>
            </a:tbl>
          </a:graphicData>
        </a:graphic>
      </p:graphicFrame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41AE930-904F-48E3-A5FE-732436D7F97A}"/>
              </a:ext>
            </a:extLst>
          </p:cNvPr>
          <p:cNvSpPr/>
          <p:nvPr/>
        </p:nvSpPr>
        <p:spPr>
          <a:xfrm>
            <a:off x="550865" y="5805264"/>
            <a:ext cx="8212842" cy="1107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243EE2F-1B9B-4F74-BE5A-51ADC88788C7}"/>
              </a:ext>
            </a:extLst>
          </p:cNvPr>
          <p:cNvSpPr/>
          <p:nvPr/>
        </p:nvSpPr>
        <p:spPr>
          <a:xfrm>
            <a:off x="479425" y="5847972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삼일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서비스 안내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D6C72A2A-67B7-47CF-B206-F40BC3014830}"/>
              </a:ext>
            </a:extLst>
          </p:cNvPr>
          <p:cNvSpPr/>
          <p:nvPr/>
        </p:nvSpPr>
        <p:spPr>
          <a:xfrm>
            <a:off x="735379" y="6080507"/>
            <a:ext cx="3983660" cy="5377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통합보고서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지속가능경영보고서 발간 지원 컨설팅</a:t>
            </a:r>
            <a:br>
              <a:rPr lang="en-US" altLang="ko-KR" sz="10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통합보고서</a:t>
            </a: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/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지속가능경영보고서 작성 자문</a:t>
            </a:r>
            <a:b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보고서 지속 발간을 위한 내부 프로세스 정립과 작성 교육체계 수립 등</a:t>
            </a:r>
            <a:endParaRPr lang="en-US" altLang="ko-KR" sz="900" b="1" dirty="0">
              <a:solidFill>
                <a:prstClr val="black"/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A7E71534-547D-4ABF-8F4B-34D8924A0EC9}"/>
              </a:ext>
            </a:extLst>
          </p:cNvPr>
          <p:cNvGrpSpPr/>
          <p:nvPr/>
        </p:nvGrpSpPr>
        <p:grpSpPr>
          <a:xfrm>
            <a:off x="4898222" y="6081042"/>
            <a:ext cx="3459759" cy="663588"/>
            <a:chOff x="3738568" y="4473311"/>
            <a:chExt cx="2758118" cy="663588"/>
          </a:xfrm>
        </p:grpSpPr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4C0D5FDE-3528-4988-B49D-AB02567985B7}"/>
                </a:ext>
              </a:extLst>
            </p:cNvPr>
            <p:cNvGrpSpPr/>
            <p:nvPr/>
          </p:nvGrpSpPr>
          <p:grpSpPr>
            <a:xfrm>
              <a:off x="3738568" y="4473311"/>
              <a:ext cx="2758118" cy="663588"/>
              <a:chOff x="3662622" y="3994119"/>
              <a:chExt cx="3054276" cy="694284"/>
            </a:xfrm>
          </p:grpSpPr>
          <p:sp>
            <p:nvSpPr>
              <p:cNvPr id="118" name="사각형: 둥근 모서리 117">
                <a:extLst>
                  <a:ext uri="{FF2B5EF4-FFF2-40B4-BE49-F238E27FC236}">
                    <a16:creationId xmlns:a16="http://schemas.microsoft.com/office/drawing/2014/main" id="{7AE9996A-91C2-4824-BC65-E13EBF445D7B}"/>
                  </a:ext>
                </a:extLst>
              </p:cNvPr>
              <p:cNvSpPr/>
              <p:nvPr/>
            </p:nvSpPr>
            <p:spPr>
              <a:xfrm>
                <a:off x="3715463" y="3994119"/>
                <a:ext cx="2843252" cy="694284"/>
              </a:xfrm>
              <a:prstGeom prst="roundRect">
                <a:avLst>
                  <a:gd name="adj" fmla="val 8806"/>
                </a:avLst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23DA206A-D0DD-4FB9-8E93-1E77E247165A}"/>
                  </a:ext>
                </a:extLst>
              </p:cNvPr>
              <p:cNvSpPr/>
              <p:nvPr/>
            </p:nvSpPr>
            <p:spPr>
              <a:xfrm>
                <a:off x="3662622" y="4296303"/>
                <a:ext cx="3054276" cy="312540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삼일회계법인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Assurance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본부 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심재경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FA1625D5-46F4-4512-9CA5-BF9D66C493FB}"/>
                  </a:ext>
                </a:extLst>
              </p:cNvPr>
              <p:cNvSpPr/>
              <p:nvPr/>
            </p:nvSpPr>
            <p:spPr>
              <a:xfrm>
                <a:off x="3662622" y="4099935"/>
                <a:ext cx="1600740" cy="118117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●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담당 부서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137" name="Picture 2" descr="집 ">
                <a:extLst>
                  <a:ext uri="{FF2B5EF4-FFF2-40B4-BE49-F238E27FC236}">
                    <a16:creationId xmlns:a16="http://schemas.microsoft.com/office/drawing/2014/main" id="{1371C711-6249-4CC0-94C0-C48A81DC95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7863" y="4283616"/>
                <a:ext cx="94162" cy="94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14" name="직선 연결선 113">
              <a:extLst>
                <a:ext uri="{FF2B5EF4-FFF2-40B4-BE49-F238E27FC236}">
                  <a16:creationId xmlns:a16="http://schemas.microsoft.com/office/drawing/2014/main" id="{DAA0FC6C-909D-4E76-911D-7F4AF774CE9B}"/>
                </a:ext>
              </a:extLst>
            </p:cNvPr>
            <p:cNvCxnSpPr>
              <a:cxnSpLocks/>
            </p:cNvCxnSpPr>
            <p:nvPr/>
          </p:nvCxnSpPr>
          <p:spPr>
            <a:xfrm>
              <a:off x="3856339" y="4872866"/>
              <a:ext cx="1124121" cy="0"/>
            </a:xfrm>
            <a:prstGeom prst="line">
              <a:avLst/>
            </a:prstGeom>
            <a:ln w="28575">
              <a:solidFill>
                <a:srgbClr val="C04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사각형: 둥근 모서리 139">
            <a:extLst>
              <a:ext uri="{FF2B5EF4-FFF2-40B4-BE49-F238E27FC236}">
                <a16:creationId xmlns:a16="http://schemas.microsoft.com/office/drawing/2014/main" id="{3BC2A936-0BC5-4605-A538-6320835603C4}"/>
              </a:ext>
            </a:extLst>
          </p:cNvPr>
          <p:cNvSpPr/>
          <p:nvPr/>
        </p:nvSpPr>
        <p:spPr>
          <a:xfrm>
            <a:off x="4845381" y="64264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46A251A0-90A3-4FB1-A3DF-D571CA692012}"/>
              </a:ext>
            </a:extLst>
          </p:cNvPr>
          <p:cNvSpPr/>
          <p:nvPr/>
        </p:nvSpPr>
        <p:spPr>
          <a:xfrm>
            <a:off x="6380204" y="2780928"/>
            <a:ext cx="2175097" cy="2359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주요 공시 안내 페이지로 이동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874B4F3E-CCD7-47A3-B339-22349BCC3C30}"/>
              </a:ext>
            </a:extLst>
          </p:cNvPr>
          <p:cNvSpPr/>
          <p:nvPr/>
        </p:nvSpPr>
        <p:spPr>
          <a:xfrm>
            <a:off x="6180082" y="2830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497A889E-C516-4CD4-9C5A-AA137FD65553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2D083901-E64A-4076-862E-271B14B55EE3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46698071-B8DB-4520-9CD5-8DFC6F0A0895}"/>
              </a:ext>
            </a:extLst>
          </p:cNvPr>
          <p:cNvSpPr/>
          <p:nvPr/>
        </p:nvSpPr>
        <p:spPr>
          <a:xfrm>
            <a:off x="4829359" y="6080507"/>
            <a:ext cx="3550408" cy="552503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리스트 제거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/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5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A57D00DC-C1DB-4D07-847C-A274CD3401D2}"/>
              </a:ext>
            </a:extLst>
          </p:cNvPr>
          <p:cNvSpPr/>
          <p:nvPr/>
        </p:nvSpPr>
        <p:spPr>
          <a:xfrm>
            <a:off x="735379" y="6652765"/>
            <a:ext cx="3983660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456EA637-1C87-4959-AD39-F0ED0985521A}"/>
              </a:ext>
            </a:extLst>
          </p:cNvPr>
          <p:cNvSpPr/>
          <p:nvPr/>
        </p:nvSpPr>
        <p:spPr>
          <a:xfrm>
            <a:off x="8973779" y="-1"/>
            <a:ext cx="3218221" cy="13615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‘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관련 컨텐츠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’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영역을 디자인 시안에 맞게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유형분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+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컨텐츠종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+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제목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b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</a:b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업무분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+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주제분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+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토픽키워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+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제목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)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관련하여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, [4]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기능 설명 수정함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단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디자인 시안에 문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영상 구분 박스 필요함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서비스 문의하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‘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버튼 위치를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디자인 시안과 같이 왼쪽으로 이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63" name="그림 162">
            <a:extLst>
              <a:ext uri="{FF2B5EF4-FFF2-40B4-BE49-F238E27FC236}">
                <a16:creationId xmlns:a16="http://schemas.microsoft.com/office/drawing/2014/main" id="{5036855E-8CB7-4296-BCD2-B62FD64931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40117" y="61225"/>
            <a:ext cx="990266" cy="976464"/>
          </a:xfrm>
          <a:prstGeom prst="rect">
            <a:avLst/>
          </a:prstGeom>
        </p:spPr>
      </p:pic>
      <p:sp>
        <p:nvSpPr>
          <p:cNvPr id="87" name="직사각형 86">
            <a:extLst>
              <a:ext uri="{FF2B5EF4-FFF2-40B4-BE49-F238E27FC236}">
                <a16:creationId xmlns:a16="http://schemas.microsoft.com/office/drawing/2014/main" id="{FF69B58E-AE8E-48D0-9A7A-8FEA35C5DBD0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A4DB153D-8F31-4506-ADED-12A48C7D9769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974437F7-250B-4E54-A997-3E77DC6EC708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B7BA5B57-7092-449B-A80C-1CC9A4C27610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93" name="그림 92">
              <a:extLst>
                <a:ext uri="{FF2B5EF4-FFF2-40B4-BE49-F238E27FC236}">
                  <a16:creationId xmlns:a16="http://schemas.microsoft.com/office/drawing/2014/main" id="{90002906-3556-49ED-80E1-9B55F50557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AEB0A513-EC93-453D-8F04-DFEC6DC0F734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77B1A9D7-AF18-4790-8421-F2D822FD5E9A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08D68DA0-7696-49F3-8E2F-153321F1B447}"/>
                </a:ext>
              </a:extLst>
            </p:cNvPr>
            <p:cNvSpPr/>
            <p:nvPr/>
          </p:nvSpPr>
          <p:spPr>
            <a:xfrm>
              <a:off x="-1531603" y="5671791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6740071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직사각형 45">
            <a:extLst>
              <a:ext uri="{FF2B5EF4-FFF2-40B4-BE49-F238E27FC236}">
                <a16:creationId xmlns:a16="http://schemas.microsoft.com/office/drawing/2014/main" id="{8BA09954-30FB-4BD1-B1D4-DCF9262C80C7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-20757" y="885"/>
          <a:ext cx="12191999" cy="4897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135368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∙인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3573016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9A25D588-F7AB-4309-B26A-CBA6E09BD7E4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07A6C9E9-0611-46F1-9805-F7D83761920E}"/>
              </a:ext>
            </a:extLst>
          </p:cNvPr>
          <p:cNvGrpSpPr/>
          <p:nvPr/>
        </p:nvGrpSpPr>
        <p:grpSpPr>
          <a:xfrm>
            <a:off x="479425" y="2388804"/>
            <a:ext cx="4104659" cy="296845"/>
            <a:chOff x="479425" y="2388804"/>
            <a:chExt cx="3855402" cy="296845"/>
          </a:xfrm>
        </p:grpSpPr>
        <p:sp>
          <p:nvSpPr>
            <p:cNvPr id="3" name="사각형: 둥근 위쪽 모서리 2">
              <a:extLst>
                <a:ext uri="{FF2B5EF4-FFF2-40B4-BE49-F238E27FC236}">
                  <a16:creationId xmlns:a16="http://schemas.microsoft.com/office/drawing/2014/main" id="{10E82A3C-390A-4818-BFCF-F4AC1947CEAF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공시</a:t>
              </a:r>
            </a:p>
          </p:txBody>
        </p:sp>
        <p:sp>
          <p:nvSpPr>
            <p:cNvPr id="65" name="사각형: 둥근 위쪽 모서리 64">
              <a:extLst>
                <a:ext uri="{FF2B5EF4-FFF2-40B4-BE49-F238E27FC236}">
                  <a16:creationId xmlns:a16="http://schemas.microsoft.com/office/drawing/2014/main" id="{AAE5B265-444D-4775-96AD-9FFCAC81869C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>
                  <a:solidFill>
                    <a:schemeClr val="bg1"/>
                  </a:solidFill>
                </a:rPr>
                <a:t>ESG </a:t>
              </a:r>
              <a:r>
                <a:rPr lang="ko-KR" altLang="en-US" sz="1000" b="1">
                  <a:solidFill>
                    <a:schemeClr val="bg1"/>
                  </a:solidFill>
                </a:rPr>
                <a:t>평가</a:t>
              </a:r>
              <a:endParaRPr lang="ko-KR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사각형: 둥근 위쪽 모서리 38">
              <a:extLst>
                <a:ext uri="{FF2B5EF4-FFF2-40B4-BE49-F238E27FC236}">
                  <a16:creationId xmlns:a16="http://schemas.microsoft.com/office/drawing/2014/main" id="{3F1881A7-BD34-422C-8FD4-AB76085FB66B}"/>
                </a:ext>
              </a:extLst>
            </p:cNvPr>
            <p:cNvSpPr/>
            <p:nvPr/>
          </p:nvSpPr>
          <p:spPr>
            <a:xfrm>
              <a:off x="3061883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>
                  <a:solidFill>
                    <a:schemeClr val="bg1">
                      <a:lumMod val="65000"/>
                    </a:schemeClr>
                  </a:solidFill>
                </a:rPr>
                <a:t>인증</a:t>
              </a:r>
              <a:endParaRPr lang="ko-KR" altLang="en-US" sz="1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70892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2888353-667D-485A-802C-D8BB8B692A92}"/>
              </a:ext>
            </a:extLst>
          </p:cNvPr>
          <p:cNvSpPr/>
          <p:nvPr/>
        </p:nvSpPr>
        <p:spPr>
          <a:xfrm>
            <a:off x="479425" y="4437112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356AD6CA-B8A7-4E7F-95B1-F9EAA933F62E}"/>
              </a:ext>
            </a:extLst>
          </p:cNvPr>
          <p:cNvSpPr/>
          <p:nvPr/>
        </p:nvSpPr>
        <p:spPr>
          <a:xfrm>
            <a:off x="550863" y="4718808"/>
            <a:ext cx="1225713" cy="1590512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공시 보고서 작성</a:t>
            </a: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0875A8C5-D87D-449D-ADDA-74B5A2E79E5B}"/>
              </a:ext>
            </a:extLst>
          </p:cNvPr>
          <p:cNvSpPr/>
          <p:nvPr/>
        </p:nvSpPr>
        <p:spPr>
          <a:xfrm>
            <a:off x="1832069" y="4718807"/>
            <a:ext cx="6820706" cy="15905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평가 등급 취득</a:t>
            </a:r>
            <a:br>
              <a:rPr lang="en-US" altLang="ko-KR" sz="900" dirty="0">
                <a:solidFill>
                  <a:schemeClr val="tx1"/>
                </a:solidFill>
              </a:rPr>
            </a:b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개별 기업의 의뢰로 진행되기도 하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의뢰 없이 평가 결과가 전달되기도 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 경우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정보 공시 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평가를 고려하여 공시할 수 있음</a:t>
            </a:r>
            <a:r>
              <a:rPr lang="en-US" altLang="ko-KR" sz="900" dirty="0">
                <a:solidFill>
                  <a:schemeClr val="tx1"/>
                </a:solidFill>
              </a:rPr>
              <a:t>)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평가 등급을 취득하거나 개선하고자 하는 평가 기관을 선택 후 해당 기관의 평가 항목 분석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동일 업종 선진 사례 벤치마킹 및 기업 </a:t>
            </a:r>
            <a:r>
              <a:rPr lang="ko-KR" altLang="en-US" sz="900" dirty="0" err="1">
                <a:solidFill>
                  <a:schemeClr val="tx1"/>
                </a:solidFill>
              </a:rPr>
              <a:t>내외부</a:t>
            </a:r>
            <a:r>
              <a:rPr lang="ko-KR" altLang="en-US" sz="900" dirty="0">
                <a:solidFill>
                  <a:schemeClr val="tx1"/>
                </a:solidFill>
              </a:rPr>
              <a:t> 현황 분석을 통한 평가 답변 방향성 수립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평가 항목 답변 자료 작성 후 제출 또는 공시 자료에 반영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평가 등급 개선 활동 수행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낮은 등급을 받은 분야에 대한 원인 및 </a:t>
            </a:r>
            <a:r>
              <a:rPr lang="ko-KR" altLang="en-US" sz="900" dirty="0" err="1">
                <a:solidFill>
                  <a:schemeClr val="tx1"/>
                </a:solidFill>
              </a:rPr>
              <a:t>갭분석</a:t>
            </a:r>
            <a:endParaRPr lang="ko-KR" altLang="en-US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새로운 목표 및 성과 지표의 설정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개선 활동 기획 및 운영 원부자재 사용 관리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5B4D095-22DA-4302-8C0C-153F7F3AA653}"/>
              </a:ext>
            </a:extLst>
          </p:cNvPr>
          <p:cNvSpPr/>
          <p:nvPr/>
        </p:nvSpPr>
        <p:spPr>
          <a:xfrm>
            <a:off x="550863" y="2956846"/>
            <a:ext cx="8208962" cy="126502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</a:t>
            </a:r>
            <a:r>
              <a:rPr lang="ko-KR" altLang="en-US" sz="900" dirty="0">
                <a:solidFill>
                  <a:schemeClr val="tx1"/>
                </a:solidFill>
              </a:rPr>
              <a:t>가 기업의 가치와 지속가능성에 영향을 미친다는 인식이 확산됨에 따라 </a:t>
            </a:r>
            <a:r>
              <a:rPr lang="en-US" altLang="ko-KR" sz="900" dirty="0">
                <a:solidFill>
                  <a:schemeClr val="tx1"/>
                </a:solidFill>
              </a:rPr>
              <a:t>ESG</a:t>
            </a:r>
            <a:r>
              <a:rPr lang="ko-KR" altLang="en-US" sz="900" dirty="0">
                <a:solidFill>
                  <a:schemeClr val="tx1"/>
                </a:solidFill>
              </a:rPr>
              <a:t>를 의사결정의 기준으로 고려하는 이해관계자들이 </a:t>
            </a:r>
            <a:r>
              <a:rPr lang="ko-KR" altLang="en-US" sz="900" dirty="0" err="1">
                <a:solidFill>
                  <a:schemeClr val="tx1"/>
                </a:solidFill>
              </a:rPr>
              <a:t>증가하고있으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의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 활동의 수준을 객관적으로 평가할 필요성이 높아졌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이에 따라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전문 평가기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신용평가 기관 등 국내외 다양한 기관에서 기업의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활동 평가 등급과 관련 정보를 제공하고 있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그러나</a:t>
            </a:r>
            <a:r>
              <a:rPr lang="en-US" altLang="ko-KR" sz="900" dirty="0">
                <a:solidFill>
                  <a:schemeClr val="tx1"/>
                </a:solidFill>
              </a:rPr>
              <a:t>, ESG </a:t>
            </a:r>
            <a:r>
              <a:rPr lang="ko-KR" altLang="en-US" sz="900" dirty="0">
                <a:solidFill>
                  <a:schemeClr val="tx1"/>
                </a:solidFill>
              </a:rPr>
              <a:t>평가는 전세계적으로 표준화된 기준에 따라 수행되는 신용등급 평가 등과 달리 개별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평가 기관의 자체 방법론을 바탕으로 진행되기 때문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다양한 기관의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평가 기준을 충족하기 위해서는 전략적인 평가 대응방안이 필요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평가 결과가 기업의 평판에 영향을 미치기도 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이 협력사</a:t>
            </a:r>
            <a:r>
              <a:rPr lang="en-US" altLang="ko-KR" sz="900" dirty="0">
                <a:solidFill>
                  <a:schemeClr val="tx1"/>
                </a:solidFill>
              </a:rPr>
              <a:t>/</a:t>
            </a:r>
            <a:r>
              <a:rPr lang="ko-KR" altLang="en-US" sz="900" dirty="0">
                <a:solidFill>
                  <a:schemeClr val="tx1"/>
                </a:solidFill>
              </a:rPr>
              <a:t>거래처 선정 시 활용하기도 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정부의 정책 지원 대상 선정이나 금융사의 금융 투자 대상 선정에 활용되기도 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BB2E0C8-85AC-4E74-A3E9-DA389AE0F9F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69939758-3958-4EAE-AB39-8751EA0F66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74E3841E-234A-4DB1-B055-C95E479C36A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9CC0FB06-94D1-4C60-9A6F-1FE1BFE070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46D8CAD3-7D9E-4367-8F3D-FBDF49379DC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CBE71B8C-3D59-46D7-A64D-C519404BA9B9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4217FA00-B7AD-4833-8558-57BFB72C718C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13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공시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7E84F91A-BC1B-4168-ADF3-40CCD529D3A7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7EAD6E71-272D-49D3-84A9-647E35836AFB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B12E2982-DA5D-491F-8499-D1404699D5D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4BDBEBE1-E85A-4CED-9CA4-181F3316AC68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248BD65-E4DE-4C59-8E6C-DB60606B8632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0B79561-A2B9-4456-80A2-C2E59ADD5F1C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48" name="그림 47">
              <a:extLst>
                <a:ext uri="{FF2B5EF4-FFF2-40B4-BE49-F238E27FC236}">
                  <a16:creationId xmlns:a16="http://schemas.microsoft.com/office/drawing/2014/main" id="{5D893F89-50E8-4D05-93FE-0543360A83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C2807548-5289-479C-98F2-E514325BB06A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4F0F69D9-0019-4CDB-B4CF-2D268D8E00DB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E59DDF88-B05C-45BB-89CB-6BFD3C282370}"/>
                </a:ext>
              </a:extLst>
            </p:cNvPr>
            <p:cNvSpPr/>
            <p:nvPr/>
          </p:nvSpPr>
          <p:spPr>
            <a:xfrm>
              <a:off x="-1513554" y="589983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1729177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직사각형 45">
            <a:extLst>
              <a:ext uri="{FF2B5EF4-FFF2-40B4-BE49-F238E27FC236}">
                <a16:creationId xmlns:a16="http://schemas.microsoft.com/office/drawing/2014/main" id="{921BF025-1726-4F0D-A6AD-D285CE113203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∙인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3573016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9A25D588-F7AB-4309-B26A-CBA6E09BD7E4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07A6C9E9-0611-46F1-9805-F7D83761920E}"/>
              </a:ext>
            </a:extLst>
          </p:cNvPr>
          <p:cNvGrpSpPr/>
          <p:nvPr/>
        </p:nvGrpSpPr>
        <p:grpSpPr>
          <a:xfrm>
            <a:off x="479425" y="2388804"/>
            <a:ext cx="4104659" cy="296845"/>
            <a:chOff x="479425" y="2388804"/>
            <a:chExt cx="3855402" cy="296845"/>
          </a:xfrm>
        </p:grpSpPr>
        <p:sp>
          <p:nvSpPr>
            <p:cNvPr id="3" name="사각형: 둥근 위쪽 모서리 2">
              <a:extLst>
                <a:ext uri="{FF2B5EF4-FFF2-40B4-BE49-F238E27FC236}">
                  <a16:creationId xmlns:a16="http://schemas.microsoft.com/office/drawing/2014/main" id="{10E82A3C-390A-4818-BFCF-F4AC1947CEAF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공시</a:t>
              </a:r>
            </a:p>
          </p:txBody>
        </p:sp>
        <p:sp>
          <p:nvSpPr>
            <p:cNvPr id="65" name="사각형: 둥근 위쪽 모서리 64">
              <a:extLst>
                <a:ext uri="{FF2B5EF4-FFF2-40B4-BE49-F238E27FC236}">
                  <a16:creationId xmlns:a16="http://schemas.microsoft.com/office/drawing/2014/main" id="{AAE5B265-444D-4775-96AD-9FFCAC81869C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평가</a:t>
              </a:r>
            </a:p>
          </p:txBody>
        </p:sp>
        <p:sp>
          <p:nvSpPr>
            <p:cNvPr id="39" name="사각형: 둥근 위쪽 모서리 38">
              <a:extLst>
                <a:ext uri="{FF2B5EF4-FFF2-40B4-BE49-F238E27FC236}">
                  <a16:creationId xmlns:a16="http://schemas.microsoft.com/office/drawing/2014/main" id="{3F1881A7-BD34-422C-8FD4-AB76085FB66B}"/>
                </a:ext>
              </a:extLst>
            </p:cNvPr>
            <p:cNvSpPr/>
            <p:nvPr/>
          </p:nvSpPr>
          <p:spPr>
            <a:xfrm>
              <a:off x="3061883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인증</a:t>
              </a:r>
            </a:p>
          </p:txBody>
        </p:sp>
      </p:grp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solidFill>
            <a:schemeClr val="tx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70892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2888353-667D-485A-802C-D8BB8B692A92}"/>
              </a:ext>
            </a:extLst>
          </p:cNvPr>
          <p:cNvSpPr/>
          <p:nvPr/>
        </p:nvSpPr>
        <p:spPr>
          <a:xfrm>
            <a:off x="479425" y="3908624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356AD6CA-B8A7-4E7F-95B1-F9EAA933F62E}"/>
              </a:ext>
            </a:extLst>
          </p:cNvPr>
          <p:cNvSpPr/>
          <p:nvPr/>
        </p:nvSpPr>
        <p:spPr>
          <a:xfrm>
            <a:off x="550863" y="4149079"/>
            <a:ext cx="1225713" cy="959249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제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 인증</a:t>
            </a: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0875A8C5-D87D-449D-ADDA-74B5A2E79E5B}"/>
              </a:ext>
            </a:extLst>
          </p:cNvPr>
          <p:cNvSpPr/>
          <p:nvPr/>
        </p:nvSpPr>
        <p:spPr>
          <a:xfrm>
            <a:off x="1832069" y="4149079"/>
            <a:ext cx="6820706" cy="959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독립적이고 자격이 있는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의 기관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회계법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전문컨설팅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신용평가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학술기관 등</a:t>
            </a:r>
            <a:r>
              <a:rPr lang="en-US" altLang="ko-KR" sz="900" dirty="0">
                <a:solidFill>
                  <a:schemeClr val="tx1"/>
                </a:solidFill>
              </a:rPr>
              <a:t>)</a:t>
            </a:r>
            <a:r>
              <a:rPr lang="ko-KR" altLang="en-US" sz="900" dirty="0">
                <a:solidFill>
                  <a:schemeClr val="tx1"/>
                </a:solidFill>
              </a:rPr>
              <a:t>을 선정하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속가능경영보고서 내 작성된 내용 및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지표 및 성과에 대한 인증 요청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인증기관은 독립적이어야 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윤리 기준 및 품질관리 기준 준수 필요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공인된 인증 방법론 및 인증 수준에 따른 인증 필요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인증 의견에 따라 보고 내용의 수정 및 보완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5B4D095-22DA-4302-8C0C-153F7F3AA653}"/>
              </a:ext>
            </a:extLst>
          </p:cNvPr>
          <p:cNvSpPr/>
          <p:nvPr/>
        </p:nvSpPr>
        <p:spPr>
          <a:xfrm>
            <a:off x="550863" y="2956846"/>
            <a:ext cx="8208962" cy="87471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이 공개하는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련 정보의 신뢰성을 제고하여 투자자 및 이해관계자의 판단을 지원하기 위해서는 독립적인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의 인증이 중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 인증의 대상에는 지속가능경영보고서를 통해 공개하는 지속가능성 관련 지표 및 성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이 발행하는 </a:t>
            </a:r>
            <a:r>
              <a:rPr lang="ko-KR" altLang="en-US" sz="900" dirty="0" err="1">
                <a:solidFill>
                  <a:schemeClr val="tx1"/>
                </a:solidFill>
              </a:rPr>
              <a:t>녹색∙사회적∙지속가능</a:t>
            </a:r>
            <a:r>
              <a:rPr lang="ko-KR" altLang="en-US" sz="900" dirty="0">
                <a:solidFill>
                  <a:schemeClr val="tx1"/>
                </a:solidFill>
              </a:rPr>
              <a:t> 채권의 자금 관리 방법 등이 있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현재 우리나라는 지속가능성 보고가 </a:t>
            </a:r>
            <a:r>
              <a:rPr lang="ko-KR" altLang="en-US" sz="900" dirty="0" err="1">
                <a:solidFill>
                  <a:schemeClr val="tx1"/>
                </a:solidFill>
              </a:rPr>
              <a:t>자율공시이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녹색 채권 등의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 검토 역시 의무 사항이 아니기 때문에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 인증은 기업의 재량에 따르고 있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하지만 </a:t>
            </a:r>
            <a:r>
              <a:rPr lang="en-US" altLang="ko-KR" sz="900" dirty="0">
                <a:solidFill>
                  <a:schemeClr val="tx1"/>
                </a:solidFill>
              </a:rPr>
              <a:t>EU CSRD</a:t>
            </a:r>
            <a:r>
              <a:rPr lang="ko-KR" altLang="en-US" sz="900" dirty="0">
                <a:solidFill>
                  <a:schemeClr val="tx1"/>
                </a:solidFill>
              </a:rPr>
              <a:t>의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 인증 의무화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우리나라를 포함한 글로벌 지속가능 공시 의무화 추세 등에 따라 인증 의무화에 대한 대비가 필요합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BB2E0C8-85AC-4E74-A3E9-DA389AE0F9F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69939758-3958-4EAE-AB39-8751EA0F66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74E3841E-234A-4DB1-B055-C95E479C36A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9CC0FB06-94D1-4C60-9A6F-1FE1BFE070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46D8CAD3-7D9E-4367-8F3D-FBDF49379DC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CBE71B8C-3D59-46D7-A64D-C519404BA9B9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9ECA1D55-DEE5-4125-AF69-9EB3F838100F}"/>
              </a:ext>
            </a:extLst>
          </p:cNvPr>
          <p:cNvSpPr/>
          <p:nvPr/>
        </p:nvSpPr>
        <p:spPr>
          <a:xfrm>
            <a:off x="550863" y="5301208"/>
            <a:ext cx="1225713" cy="959249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채권 외부 기관 검증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5879B463-5A40-4FCE-9A37-D01646194616}"/>
              </a:ext>
            </a:extLst>
          </p:cNvPr>
          <p:cNvSpPr/>
          <p:nvPr/>
        </p:nvSpPr>
        <p:spPr>
          <a:xfrm>
            <a:off x="1832069" y="5301208"/>
            <a:ext cx="6820706" cy="959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녹색채권 가이드라인에 따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녹색채권 발행 전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녹색채권원칙의 핵심 </a:t>
            </a:r>
            <a:r>
              <a:rPr lang="en-US" altLang="ko-KR" sz="900" dirty="0">
                <a:solidFill>
                  <a:schemeClr val="tx1"/>
                </a:solidFill>
              </a:rPr>
              <a:t>4</a:t>
            </a:r>
            <a:r>
              <a:rPr lang="ko-KR" altLang="en-US" sz="900" dirty="0">
                <a:solidFill>
                  <a:schemeClr val="tx1"/>
                </a:solidFill>
              </a:rPr>
              <a:t>요소인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조달 자금의 사용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프로젝트 평가 및 선정 과정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조달 자금 관리 방안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보고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에 발행 기업의 프레임워크가 일치하는지에 대한 제</a:t>
            </a:r>
            <a:r>
              <a:rPr lang="en-US" altLang="ko-KR" sz="900" dirty="0">
                <a:solidFill>
                  <a:schemeClr val="tx1"/>
                </a:solidFill>
              </a:rPr>
              <a:t>3</a:t>
            </a:r>
            <a:r>
              <a:rPr lang="ko-KR" altLang="en-US" sz="900" dirty="0">
                <a:solidFill>
                  <a:schemeClr val="tx1"/>
                </a:solidFill>
              </a:rPr>
              <a:t>자 검토 필요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녹색채권 발행 후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만기까지 정기적으로 자금관리 방법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조달자금 사용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환경개선 효과를 보고하고 이에 대한 독립적이고 객관적인 외부 검토가 권고됨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인증 기관</a:t>
            </a:r>
            <a:r>
              <a:rPr lang="en-US" altLang="ko-KR" sz="900" dirty="0">
                <a:solidFill>
                  <a:schemeClr val="tx1"/>
                </a:solidFill>
              </a:rPr>
              <a:t>: </a:t>
            </a:r>
            <a:r>
              <a:rPr lang="ko-KR" altLang="en-US" sz="900" dirty="0">
                <a:solidFill>
                  <a:schemeClr val="tx1"/>
                </a:solidFill>
              </a:rPr>
              <a:t>회계법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전문컨설팅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신용평가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학술기관 등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외부 검토 시 </a:t>
            </a:r>
            <a:r>
              <a:rPr lang="en-US" altLang="ko-KR" sz="900" dirty="0">
                <a:solidFill>
                  <a:schemeClr val="tx1"/>
                </a:solidFill>
              </a:rPr>
              <a:t>ICMA</a:t>
            </a:r>
            <a:r>
              <a:rPr lang="ko-KR" altLang="en-US" sz="900" dirty="0">
                <a:solidFill>
                  <a:schemeClr val="tx1"/>
                </a:solidFill>
              </a:rPr>
              <a:t>의 녹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회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속가능성 채권에 대한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외부검토자를 위한 가이드라인</a:t>
            </a:r>
            <a:r>
              <a:rPr lang="en-US" altLang="ko-KR" sz="900" dirty="0">
                <a:solidFill>
                  <a:schemeClr val="tx1"/>
                </a:solidFill>
              </a:rPr>
              <a:t>' </a:t>
            </a:r>
            <a:r>
              <a:rPr lang="ko-KR" altLang="en-US" sz="900" dirty="0">
                <a:solidFill>
                  <a:schemeClr val="tx1"/>
                </a:solidFill>
              </a:rPr>
              <a:t>참고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A3979B9A-DBEF-452F-A308-15480AD80C12}"/>
              </a:ext>
            </a:extLst>
          </p:cNvPr>
          <p:cNvCxnSpPr>
            <a:cxnSpLocks/>
          </p:cNvCxnSpPr>
          <p:nvPr/>
        </p:nvCxnSpPr>
        <p:spPr>
          <a:xfrm>
            <a:off x="498469" y="5204768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DC9C3F8-34C9-4B4C-A06A-6B88204FE114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13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공시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12BB8536-DADC-4A67-9447-B40848C487DD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9038715-4A79-4B64-9112-402E2C14C0CD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61DEC2A1-70E5-4BC6-B283-C26BE33ED4C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A2016FE2-64F5-4355-A47E-340A015983F6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CE31D22-C760-4BC7-97FC-7606341BD63B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16C1FEDE-5C9B-41E5-998E-C13584E99B36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48" name="그림 47">
              <a:extLst>
                <a:ext uri="{FF2B5EF4-FFF2-40B4-BE49-F238E27FC236}">
                  <a16:creationId xmlns:a16="http://schemas.microsoft.com/office/drawing/2014/main" id="{A137C5D0-5FDA-4F9C-A083-3C338A2430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8E7D4544-B98F-4E78-98EA-DBE4B4DEE13C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60A783BD-13A2-415B-901B-0885F7B72F5B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2B70E53B-3E21-4BAA-B1AA-740ECEBCE962}"/>
                </a:ext>
              </a:extLst>
            </p:cNvPr>
            <p:cNvSpPr/>
            <p:nvPr/>
          </p:nvSpPr>
          <p:spPr>
            <a:xfrm>
              <a:off x="-1519430" y="6114921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96404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ESG </a:t>
            </a:r>
            <a:r>
              <a:rPr lang="ko-KR" altLang="en-US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실행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390122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BDE3CDFA-101B-4867-87C0-DD222587F932}"/>
              </a:ext>
            </a:extLst>
          </p:cNvPr>
          <p:cNvSpPr txBox="1"/>
          <p:nvPr/>
        </p:nvSpPr>
        <p:spPr>
          <a:xfrm>
            <a:off x="263352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레이아웃 및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코너별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운영 관리 정책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403D76D-C83D-46A9-A981-FB4D76412F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70" b="17124"/>
          <a:stretch/>
        </p:blipFill>
        <p:spPr>
          <a:xfrm>
            <a:off x="662453" y="935933"/>
            <a:ext cx="3057283" cy="233831"/>
          </a:xfrm>
          <a:prstGeom prst="rect">
            <a:avLst/>
          </a:prstGeom>
          <a:ln>
            <a:noFill/>
          </a:ln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CAD67D36-347F-4F57-897C-1121479831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453" y="6028165"/>
            <a:ext cx="3057283" cy="3045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aphicFrame>
        <p:nvGraphicFramePr>
          <p:cNvPr id="22" name="표 22">
            <a:extLst>
              <a:ext uri="{FF2B5EF4-FFF2-40B4-BE49-F238E27FC236}">
                <a16:creationId xmlns:a16="http://schemas.microsoft.com/office/drawing/2014/main" id="{F8E33070-CA11-4CE4-9D8E-44FBCF239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2225"/>
              </p:ext>
            </p:extLst>
          </p:nvPr>
        </p:nvGraphicFramePr>
        <p:xfrm>
          <a:off x="5552241" y="361111"/>
          <a:ext cx="6291909" cy="2057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0425">
                  <a:extLst>
                    <a:ext uri="{9D8B030D-6E8A-4147-A177-3AD203B41FA5}">
                      <a16:colId xmlns:a16="http://schemas.microsoft.com/office/drawing/2014/main" val="3535254200"/>
                    </a:ext>
                  </a:extLst>
                </a:gridCol>
                <a:gridCol w="934939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3916936421"/>
                    </a:ext>
                  </a:extLst>
                </a:gridCol>
                <a:gridCol w="1152129">
                  <a:extLst>
                    <a:ext uri="{9D8B030D-6E8A-4147-A177-3AD203B41FA5}">
                      <a16:colId xmlns:a16="http://schemas.microsoft.com/office/drawing/2014/main" val="1186297400"/>
                    </a:ext>
                  </a:extLst>
                </a:gridCol>
              </a:tblGrid>
              <a:tr h="163753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코너명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동 관리여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노출개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itle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O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 불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명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요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dmin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strike="noStrike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en-US" altLang="ko-KR" sz="900" b="0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동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-tube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모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5382043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mil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Talk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771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dmin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6003104"/>
                  </a:ext>
                </a:extLst>
              </a:tr>
            </a:tbl>
          </a:graphicData>
        </a:graphic>
      </p:graphicFrame>
      <p:pic>
        <p:nvPicPr>
          <p:cNvPr id="24" name="그림 23">
            <a:extLst>
              <a:ext uri="{FF2B5EF4-FFF2-40B4-BE49-F238E27FC236}">
                <a16:creationId xmlns:a16="http://schemas.microsoft.com/office/drawing/2014/main" id="{AF3FA5C9-64A5-4ABC-B52E-19336F72D39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350" b="63934"/>
          <a:stretch/>
        </p:blipFill>
        <p:spPr>
          <a:xfrm>
            <a:off x="675650" y="1218757"/>
            <a:ext cx="2923275" cy="626952"/>
          </a:xfrm>
          <a:prstGeom prst="rect">
            <a:avLst/>
          </a:prstGeom>
        </p:spPr>
      </p:pic>
      <p:sp>
        <p:nvSpPr>
          <p:cNvPr id="34" name="직사각형 33">
            <a:extLst>
              <a:ext uri="{FF2B5EF4-FFF2-40B4-BE49-F238E27FC236}">
                <a16:creationId xmlns:a16="http://schemas.microsoft.com/office/drawing/2014/main" id="{C7920D3C-C284-4AF4-BDCC-E104D228FAFA}"/>
              </a:ext>
            </a:extLst>
          </p:cNvPr>
          <p:cNvSpPr/>
          <p:nvPr/>
        </p:nvSpPr>
        <p:spPr>
          <a:xfrm>
            <a:off x="662452" y="928232"/>
            <a:ext cx="3051903" cy="5309080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90CA39AC-BA86-4746-803F-21096FE17B87}"/>
              </a:ext>
            </a:extLst>
          </p:cNvPr>
          <p:cNvSpPr/>
          <p:nvPr/>
        </p:nvSpPr>
        <p:spPr>
          <a:xfrm>
            <a:off x="3870965" y="3461354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ents Area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1A7BEA6-DB94-496D-8141-D6660C9D4BB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7040"/>
          <a:stretch/>
        </p:blipFill>
        <p:spPr>
          <a:xfrm>
            <a:off x="680136" y="1871191"/>
            <a:ext cx="2923275" cy="70288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B6180C4-C26F-4433-BD26-1F03FDD5BB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0268" y="3828080"/>
            <a:ext cx="2816269" cy="1197485"/>
          </a:xfrm>
          <a:prstGeom prst="rect">
            <a:avLst/>
          </a:prstGeom>
        </p:spPr>
      </p:pic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B5A63FB2-9EDC-4426-BF04-6C9F2FE9B69C}"/>
              </a:ext>
            </a:extLst>
          </p:cNvPr>
          <p:cNvCxnSpPr>
            <a:cxnSpLocks/>
          </p:cNvCxnSpPr>
          <p:nvPr/>
        </p:nvCxnSpPr>
        <p:spPr>
          <a:xfrm>
            <a:off x="472020" y="1192586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E42FF354-1B50-4878-9BB8-A9603DD09004}"/>
              </a:ext>
            </a:extLst>
          </p:cNvPr>
          <p:cNvCxnSpPr>
            <a:cxnSpLocks/>
          </p:cNvCxnSpPr>
          <p:nvPr/>
        </p:nvCxnSpPr>
        <p:spPr>
          <a:xfrm>
            <a:off x="472020" y="6034902"/>
            <a:ext cx="43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3F5BB78A-8302-4D49-990F-F999D9369284}"/>
              </a:ext>
            </a:extLst>
          </p:cNvPr>
          <p:cNvCxnSpPr>
            <a:cxnSpLocks/>
          </p:cNvCxnSpPr>
          <p:nvPr/>
        </p:nvCxnSpPr>
        <p:spPr>
          <a:xfrm>
            <a:off x="472020" y="1556792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B9F2BE92-207C-4893-ABF8-17A22EC87A1B}"/>
              </a:ext>
            </a:extLst>
          </p:cNvPr>
          <p:cNvCxnSpPr>
            <a:cxnSpLocks/>
          </p:cNvCxnSpPr>
          <p:nvPr/>
        </p:nvCxnSpPr>
        <p:spPr>
          <a:xfrm>
            <a:off x="472020" y="1835588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1211C85-5839-4108-A78A-FA7AEDA574FB}"/>
              </a:ext>
            </a:extLst>
          </p:cNvPr>
          <p:cNvSpPr/>
          <p:nvPr/>
        </p:nvSpPr>
        <p:spPr>
          <a:xfrm>
            <a:off x="3733894" y="935933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Header / GNB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374C0A43-79E9-4085-8588-4C4F4F0B6F2C}"/>
              </a:ext>
            </a:extLst>
          </p:cNvPr>
          <p:cNvSpPr/>
          <p:nvPr/>
        </p:nvSpPr>
        <p:spPr>
          <a:xfrm>
            <a:off x="3743130" y="1254731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itle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59" name="직선 연결선 58">
            <a:extLst>
              <a:ext uri="{FF2B5EF4-FFF2-40B4-BE49-F238E27FC236}">
                <a16:creationId xmlns:a16="http://schemas.microsoft.com/office/drawing/2014/main" id="{AABB4F22-881F-4299-A510-A94C89230F03}"/>
              </a:ext>
            </a:extLst>
          </p:cNvPr>
          <p:cNvCxnSpPr>
            <a:cxnSpLocks/>
          </p:cNvCxnSpPr>
          <p:nvPr/>
        </p:nvCxnSpPr>
        <p:spPr>
          <a:xfrm>
            <a:off x="3863752" y="1556792"/>
            <a:ext cx="0" cy="4471373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EC9D7FA-1F45-49AA-AF64-718EB4213907}"/>
              </a:ext>
            </a:extLst>
          </p:cNvPr>
          <p:cNvSpPr/>
          <p:nvPr/>
        </p:nvSpPr>
        <p:spPr>
          <a:xfrm>
            <a:off x="3733894" y="6024880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FB1866AB-ADCA-43F2-8A23-C15E3C12C0FA}"/>
              </a:ext>
            </a:extLst>
          </p:cNvPr>
          <p:cNvCxnSpPr>
            <a:cxnSpLocks/>
          </p:cNvCxnSpPr>
          <p:nvPr/>
        </p:nvCxnSpPr>
        <p:spPr>
          <a:xfrm>
            <a:off x="472020" y="2574080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A4D7416-2909-4837-A48B-B99906C9E0DB}"/>
              </a:ext>
            </a:extLst>
          </p:cNvPr>
          <p:cNvSpPr/>
          <p:nvPr/>
        </p:nvSpPr>
        <p:spPr>
          <a:xfrm>
            <a:off x="677234" y="1193599"/>
            <a:ext cx="3024181" cy="4821765"/>
          </a:xfrm>
          <a:prstGeom prst="rect">
            <a:avLst/>
          </a:prstGeom>
          <a:solidFill>
            <a:srgbClr val="FFFFFF">
              <a:alpha val="30196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endParaRPr lang="ko-KR" altLang="en-US" sz="105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8EA66AA9-04BB-4753-8C7E-664031990D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797"/>
          <a:stretch/>
        </p:blipFill>
        <p:spPr>
          <a:xfrm>
            <a:off x="705342" y="2609682"/>
            <a:ext cx="2996073" cy="118279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488F8EE6-BD67-4897-9CF8-E0172FAD38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2656" y="5060149"/>
            <a:ext cx="2816269" cy="968016"/>
          </a:xfrm>
          <a:prstGeom prst="rect">
            <a:avLst/>
          </a:prstGeom>
        </p:spPr>
      </p:pic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id="{B031E48A-2520-4812-9690-66225ED5A3BA}"/>
              </a:ext>
            </a:extLst>
          </p:cNvPr>
          <p:cNvCxnSpPr>
            <a:cxnSpLocks/>
          </p:cNvCxnSpPr>
          <p:nvPr/>
        </p:nvCxnSpPr>
        <p:spPr>
          <a:xfrm>
            <a:off x="466906" y="3792479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DBBF88A3-3E18-4B74-AFCE-908DB64F647A}"/>
              </a:ext>
            </a:extLst>
          </p:cNvPr>
          <p:cNvCxnSpPr>
            <a:cxnSpLocks/>
          </p:cNvCxnSpPr>
          <p:nvPr/>
        </p:nvCxnSpPr>
        <p:spPr>
          <a:xfrm>
            <a:off x="479233" y="5060149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4A591F5C-66EA-4EA4-B472-D8D8A735ABFB}"/>
              </a:ext>
            </a:extLst>
          </p:cNvPr>
          <p:cNvSpPr/>
          <p:nvPr/>
        </p:nvSpPr>
        <p:spPr>
          <a:xfrm>
            <a:off x="655240" y="5461027"/>
            <a:ext cx="3008030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이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공하는 서비스</a:t>
            </a:r>
            <a:endParaRPr lang="en-US" altLang="ko-KR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0A589454-789A-4EB5-801D-16AAECD71AE5}"/>
              </a:ext>
            </a:extLst>
          </p:cNvPr>
          <p:cNvSpPr/>
          <p:nvPr/>
        </p:nvSpPr>
        <p:spPr>
          <a:xfrm>
            <a:off x="3010567" y="1565293"/>
            <a:ext cx="688629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opic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00AA51A-99C5-44CB-86C3-DA307238BDEE}"/>
              </a:ext>
            </a:extLst>
          </p:cNvPr>
          <p:cNvSpPr/>
          <p:nvPr/>
        </p:nvSpPr>
        <p:spPr>
          <a:xfrm>
            <a:off x="2856639" y="2124781"/>
            <a:ext cx="791088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념요약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5830CE56-7068-465B-B6ED-FAA5E27F6BE4}"/>
              </a:ext>
            </a:extLst>
          </p:cNvPr>
          <p:cNvSpPr/>
          <p:nvPr/>
        </p:nvSpPr>
        <p:spPr>
          <a:xfrm>
            <a:off x="642913" y="4364283"/>
            <a:ext cx="3008030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천 컨텐츠</a:t>
            </a:r>
            <a:endParaRPr lang="en-US" altLang="ko-KR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0466240A-EE8E-4683-A3CA-761BD8C245BF}"/>
              </a:ext>
            </a:extLst>
          </p:cNvPr>
          <p:cNvSpPr/>
          <p:nvPr/>
        </p:nvSpPr>
        <p:spPr>
          <a:xfrm>
            <a:off x="2310958" y="3068657"/>
            <a:ext cx="1336770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3FBCABFC-2AC5-48EB-BEC0-0FC2BB7676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22098" y="5387608"/>
            <a:ext cx="3105598" cy="493908"/>
          </a:xfrm>
          <a:prstGeom prst="rect">
            <a:avLst/>
          </a:prstGeom>
        </p:spPr>
      </p:pic>
      <p:sp>
        <p:nvSpPr>
          <p:cNvPr id="44" name="직사각형 43">
            <a:extLst>
              <a:ext uri="{FF2B5EF4-FFF2-40B4-BE49-F238E27FC236}">
                <a16:creationId xmlns:a16="http://schemas.microsoft.com/office/drawing/2014/main" id="{35A95B1F-D1D0-4DE6-9D97-96BE870C394D}"/>
              </a:ext>
            </a:extLst>
          </p:cNvPr>
          <p:cNvSpPr/>
          <p:nvPr/>
        </p:nvSpPr>
        <p:spPr>
          <a:xfrm>
            <a:off x="4213809" y="5118485"/>
            <a:ext cx="3322352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BO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M024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에 등록된 제목 영역 화면 하단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x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C4B51F8D-211E-4976-9D81-EF9F524011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4773" y="4800349"/>
            <a:ext cx="3096356" cy="1047621"/>
          </a:xfrm>
          <a:prstGeom prst="rect">
            <a:avLst/>
          </a:prstGeom>
        </p:spPr>
      </p:pic>
      <p:sp>
        <p:nvSpPr>
          <p:cNvPr id="45" name="직사각형 44">
            <a:extLst>
              <a:ext uri="{FF2B5EF4-FFF2-40B4-BE49-F238E27FC236}">
                <a16:creationId xmlns:a16="http://schemas.microsoft.com/office/drawing/2014/main" id="{84D14A18-11C4-4F8C-AB53-B8DE491CE885}"/>
              </a:ext>
            </a:extLst>
          </p:cNvPr>
          <p:cNvSpPr/>
          <p:nvPr/>
        </p:nvSpPr>
        <p:spPr>
          <a:xfrm>
            <a:off x="8040216" y="4222294"/>
            <a:ext cx="4008091" cy="40168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strike="sngStrike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펼치기 버튼 클릭 또는 화면 최하단으로 스크롤 시 펼쳐짐</a:t>
            </a:r>
            <a:endParaRPr lang="en-US" altLang="ko-KR" sz="1000" b="1" strike="sngStrike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버튼 클릭 시 화면 최하단으로 이동하며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Fix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역 해제되어 삼일제공서비스 제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전문가 리스트 출력 </a:t>
            </a:r>
            <a:endParaRPr lang="en-US" altLang="ko-KR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이 해당영역까지 스크롤을 직접 내리는 경우도 동일 반영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" name="자유형: 도형 24">
            <a:extLst>
              <a:ext uri="{FF2B5EF4-FFF2-40B4-BE49-F238E27FC236}">
                <a16:creationId xmlns:a16="http://schemas.microsoft.com/office/drawing/2014/main" id="{1F1A4F6F-B1AF-4802-8DE3-706127B3E2C0}"/>
              </a:ext>
            </a:extLst>
          </p:cNvPr>
          <p:cNvSpPr/>
          <p:nvPr/>
        </p:nvSpPr>
        <p:spPr>
          <a:xfrm>
            <a:off x="3877910" y="5082540"/>
            <a:ext cx="465489" cy="967740"/>
          </a:xfrm>
          <a:custGeom>
            <a:avLst/>
            <a:gdLst>
              <a:gd name="connsiteX0" fmla="*/ 0 w 480060"/>
              <a:gd name="connsiteY0" fmla="*/ 0 h 967740"/>
              <a:gd name="connsiteX1" fmla="*/ 0 w 480060"/>
              <a:gd name="connsiteY1" fmla="*/ 967740 h 967740"/>
              <a:gd name="connsiteX2" fmla="*/ 480060 w 480060"/>
              <a:gd name="connsiteY2" fmla="*/ 746760 h 967740"/>
              <a:gd name="connsiteX3" fmla="*/ 480060 w 480060"/>
              <a:gd name="connsiteY3" fmla="*/ 480060 h 967740"/>
              <a:gd name="connsiteX4" fmla="*/ 0 w 480060"/>
              <a:gd name="connsiteY4" fmla="*/ 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0060" h="967740">
                <a:moveTo>
                  <a:pt x="0" y="0"/>
                </a:moveTo>
                <a:lnTo>
                  <a:pt x="0" y="967740"/>
                </a:lnTo>
                <a:lnTo>
                  <a:pt x="480060" y="746760"/>
                </a:lnTo>
                <a:lnTo>
                  <a:pt x="480060" y="480060"/>
                </a:lnTo>
                <a:lnTo>
                  <a:pt x="0" y="0"/>
                </a:lnTo>
                <a:close/>
              </a:path>
            </a:pathLst>
          </a:custGeom>
          <a:solidFill>
            <a:srgbClr val="FBE5D6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6" name="자유형: 도형 25">
            <a:extLst>
              <a:ext uri="{FF2B5EF4-FFF2-40B4-BE49-F238E27FC236}">
                <a16:creationId xmlns:a16="http://schemas.microsoft.com/office/drawing/2014/main" id="{C4616479-D41E-42A4-A05E-B7DCE74D4126}"/>
              </a:ext>
            </a:extLst>
          </p:cNvPr>
          <p:cNvSpPr/>
          <p:nvPr/>
        </p:nvSpPr>
        <p:spPr>
          <a:xfrm>
            <a:off x="7399020" y="4953000"/>
            <a:ext cx="746760" cy="891540"/>
          </a:xfrm>
          <a:custGeom>
            <a:avLst/>
            <a:gdLst>
              <a:gd name="connsiteX0" fmla="*/ 0 w 746760"/>
              <a:gd name="connsiteY0" fmla="*/ 594360 h 891540"/>
              <a:gd name="connsiteX1" fmla="*/ 0 w 746760"/>
              <a:gd name="connsiteY1" fmla="*/ 891540 h 891540"/>
              <a:gd name="connsiteX2" fmla="*/ 746760 w 746760"/>
              <a:gd name="connsiteY2" fmla="*/ 891540 h 891540"/>
              <a:gd name="connsiteX3" fmla="*/ 746760 w 746760"/>
              <a:gd name="connsiteY3" fmla="*/ 0 h 891540"/>
              <a:gd name="connsiteX4" fmla="*/ 0 w 746760"/>
              <a:gd name="connsiteY4" fmla="*/ 594360 h 891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6760" h="891540">
                <a:moveTo>
                  <a:pt x="0" y="594360"/>
                </a:moveTo>
                <a:lnTo>
                  <a:pt x="0" y="891540"/>
                </a:lnTo>
                <a:lnTo>
                  <a:pt x="746760" y="891540"/>
                </a:lnTo>
                <a:lnTo>
                  <a:pt x="74676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BE5D6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48" name="표 22">
            <a:extLst>
              <a:ext uri="{FF2B5EF4-FFF2-40B4-BE49-F238E27FC236}">
                <a16:creationId xmlns:a16="http://schemas.microsoft.com/office/drawing/2014/main" id="{D73C6686-BF4F-4595-B762-664FC59104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900891"/>
              </p:ext>
            </p:extLst>
          </p:nvPr>
        </p:nvGraphicFramePr>
        <p:xfrm>
          <a:off x="5552240" y="2496497"/>
          <a:ext cx="6291909" cy="1600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0425">
                  <a:extLst>
                    <a:ext uri="{9D8B030D-6E8A-4147-A177-3AD203B41FA5}">
                      <a16:colId xmlns:a16="http://schemas.microsoft.com/office/drawing/2014/main" val="3535254200"/>
                    </a:ext>
                  </a:extLst>
                </a:gridCol>
                <a:gridCol w="934939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4896545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</a:tblGrid>
              <a:tr h="163753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 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적자원 관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고객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망 관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주권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윤리경영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198589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strike="noStrike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endParaRPr lang="en-US" altLang="ko-KR" sz="900" b="0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배출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ax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국경세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세와 세제혜택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무투명성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 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M&amp;A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674EFE0E-BA00-451A-A495-D5857B125273}"/>
              </a:ext>
            </a:extLst>
          </p:cNvPr>
          <p:cNvSpPr/>
          <p:nvPr/>
        </p:nvSpPr>
        <p:spPr>
          <a:xfrm>
            <a:off x="8210521" y="4780280"/>
            <a:ext cx="288031" cy="225725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55955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832099"/>
              </p:ext>
            </p:extLst>
          </p:nvPr>
        </p:nvGraphicFramePr>
        <p:xfrm>
          <a:off x="9267391" y="759198"/>
          <a:ext cx="2922885" cy="45233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EBFC37FA-6B66-4E04-8C15-0C1E94F679BC}"/>
              </a:ext>
            </a:extLst>
          </p:cNvPr>
          <p:cNvSpPr/>
          <p:nvPr/>
        </p:nvSpPr>
        <p:spPr>
          <a:xfrm>
            <a:off x="8194882" y="2449036"/>
            <a:ext cx="925454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53B54409-4757-43C6-A6B0-716ADB824C79}"/>
              </a:ext>
            </a:extLst>
          </p:cNvPr>
          <p:cNvSpPr/>
          <p:nvPr/>
        </p:nvSpPr>
        <p:spPr>
          <a:xfrm>
            <a:off x="626144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원 및 순환경제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탄소국경세가 시범 운영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부터 본격적으로 시행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철강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알루미늄 등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제품군에 대해 탄소국경세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arbon Border Adjustment Mechanism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”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적용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격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ETS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거래가격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연동될 예정임에 따라 관련 기업의 대응이 필요할 것으로 보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온실가스 배출 규제가 느슨한 국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)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사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규제가 엄격한 국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물품을 수출할 때 발생하는 가격차이를 보전하기 위해 비용을 부과하는 일종의 무역관 관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정 합의안에 따르면 시범 기간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10.01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5.12.31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제품의 온실가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reenhouse Gas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HG”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자국에 대해 분기별 보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접 및 간접 배출 포함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수행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는 수입자가 수입 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서 구매 후 해당 내역을 당국에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고해야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탄소국경세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6F9EE90-0745-4B9B-8AFB-A21F750F3EF5}"/>
              </a:ext>
            </a:extLst>
          </p:cNvPr>
          <p:cNvGrpSpPr/>
          <p:nvPr/>
        </p:nvGrpSpPr>
        <p:grpSpPr>
          <a:xfrm>
            <a:off x="332993" y="1552688"/>
            <a:ext cx="8662177" cy="1516272"/>
            <a:chOff x="332993" y="1552688"/>
            <a:chExt cx="8662177" cy="1516272"/>
          </a:xfrm>
        </p:grpSpPr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6F785CFA-8F18-4143-ACF0-4A2E6706B0DA}"/>
                </a:ext>
              </a:extLst>
            </p:cNvPr>
            <p:cNvSpPr/>
            <p:nvPr/>
          </p:nvSpPr>
          <p:spPr>
            <a:xfrm>
              <a:off x="427900" y="1942197"/>
              <a:ext cx="5884124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환경 과제 중에서 주요 이슈를 선별하여 핵심 개념 요약부터 추천 컨텐츠까지 바로 확인하실 수 있습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1066C5A0-CB5D-4394-BD56-2643247AC877}"/>
                </a:ext>
              </a:extLst>
            </p:cNvPr>
            <p:cNvCxnSpPr>
              <a:cxnSpLocks/>
            </p:cNvCxnSpPr>
            <p:nvPr/>
          </p:nvCxnSpPr>
          <p:spPr>
            <a:xfrm>
              <a:off x="352742" y="2246114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A25339CF-C29A-49DA-8E7C-BEB10EB57406}"/>
                </a:ext>
              </a:extLst>
            </p:cNvPr>
            <p:cNvCxnSpPr>
              <a:cxnSpLocks/>
            </p:cNvCxnSpPr>
            <p:nvPr/>
          </p:nvCxnSpPr>
          <p:spPr>
            <a:xfrm>
              <a:off x="332993" y="3068960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349F7D6E-232B-4CC7-89A0-66FC51ACA3D0}"/>
                </a:ext>
              </a:extLst>
            </p:cNvPr>
            <p:cNvSpPr/>
            <p:nvPr/>
          </p:nvSpPr>
          <p:spPr>
            <a:xfrm>
              <a:off x="461122" y="2458360"/>
              <a:ext cx="1693826" cy="441286"/>
            </a:xfrm>
            <a:prstGeom prst="roundRect">
              <a:avLst>
                <a:gd name="adj" fmla="val 9800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88B0E773-FC45-4F95-9975-D39BD55A57D8}"/>
                </a:ext>
              </a:extLst>
            </p:cNvPr>
            <p:cNvSpPr/>
            <p:nvPr/>
          </p:nvSpPr>
          <p:spPr>
            <a:xfrm>
              <a:off x="2394562" y="2458360"/>
              <a:ext cx="1693826" cy="44128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변화</a:t>
              </a:r>
            </a:p>
          </p:txBody>
        </p:sp>
        <p:sp>
          <p:nvSpPr>
            <p:cNvPr id="72" name="사각형: 둥근 모서리 71">
              <a:extLst>
                <a:ext uri="{FF2B5EF4-FFF2-40B4-BE49-F238E27FC236}">
                  <a16:creationId xmlns:a16="http://schemas.microsoft.com/office/drawing/2014/main" id="{DBAFF049-5C27-4DF1-B1C7-27824BB484F3}"/>
                </a:ext>
              </a:extLst>
            </p:cNvPr>
            <p:cNvSpPr/>
            <p:nvPr/>
          </p:nvSpPr>
          <p:spPr>
            <a:xfrm>
              <a:off x="4328002" y="2458360"/>
              <a:ext cx="1693826" cy="44128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너지전환</a:t>
              </a:r>
            </a:p>
          </p:txBody>
        </p:sp>
        <p:sp>
          <p:nvSpPr>
            <p:cNvPr id="104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64C1F76F-DDD7-4F2F-B66A-68F3E848447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70792" y="1552688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2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</a:t>
              </a: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nvironment(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</p:txBody>
        </p:sp>
      </p:grp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ABB09CAB-C339-4CD2-9625-D758F5B43F51}"/>
              </a:ext>
            </a:extLst>
          </p:cNvPr>
          <p:cNvSpPr/>
          <p:nvPr/>
        </p:nvSpPr>
        <p:spPr>
          <a:xfrm>
            <a:off x="8972055" y="1"/>
            <a:ext cx="3218221" cy="19791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7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변화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너지전환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원 및 순환경제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물다양성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       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오염과 폐기물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친환경제품 및 기술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C4B16076-7CEC-4CC0-B71D-29C47C0D1BC5}"/>
              </a:ext>
            </a:extLst>
          </p:cNvPr>
          <p:cNvSpPr/>
          <p:nvPr/>
        </p:nvSpPr>
        <p:spPr>
          <a:xfrm>
            <a:off x="401673" y="3266652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온실가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의 이해</a:t>
            </a: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22">
            <a:extLst>
              <a:ext uri="{FF2B5EF4-FFF2-40B4-BE49-F238E27FC236}">
                <a16:creationId xmlns:a16="http://schemas.microsoft.com/office/drawing/2014/main" id="{FDABAFD0-230D-4B25-BBE4-BC8090F854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862050"/>
              </p:ext>
            </p:extLst>
          </p:nvPr>
        </p:nvGraphicFramePr>
        <p:xfrm>
          <a:off x="1160947" y="6985942"/>
          <a:ext cx="6291909" cy="1600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0425">
                  <a:extLst>
                    <a:ext uri="{9D8B030D-6E8A-4147-A177-3AD203B41FA5}">
                      <a16:colId xmlns:a16="http://schemas.microsoft.com/office/drawing/2014/main" val="3535254200"/>
                    </a:ext>
                  </a:extLst>
                </a:gridCol>
                <a:gridCol w="934939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4896545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</a:tblGrid>
              <a:tr h="163753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 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적자원 관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고객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망 관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주권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윤리경영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198589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strike="noStrike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금융</a:t>
                      </a:r>
                      <a:endParaRPr lang="en-US" altLang="ko-KR" sz="900" b="0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권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배출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ax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국경세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세와 세제혜택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무투명성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203002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 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사</a:t>
                      </a:r>
                      <a:r>
                        <a:rPr lang="en-US" altLang="ko-KR" sz="9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M&amp;A</a:t>
                      </a:r>
                      <a:endParaRPr lang="ko-KR" altLang="en-US" sz="9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</a:tbl>
          </a:graphicData>
        </a:graphic>
      </p:graphicFrame>
      <p:pic>
        <p:nvPicPr>
          <p:cNvPr id="63" name="그림 62">
            <a:extLst>
              <a:ext uri="{FF2B5EF4-FFF2-40B4-BE49-F238E27FC236}">
                <a16:creationId xmlns:a16="http://schemas.microsoft.com/office/drawing/2014/main" id="{1FE98B19-6E97-4695-A310-788672ED57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521" y="5346134"/>
            <a:ext cx="8342221" cy="830418"/>
          </a:xfrm>
          <a:prstGeom prst="rect">
            <a:avLst/>
          </a:prstGeom>
        </p:spPr>
      </p:pic>
      <p:sp>
        <p:nvSpPr>
          <p:cNvPr id="62" name="직사각형 61">
            <a:extLst>
              <a:ext uri="{FF2B5EF4-FFF2-40B4-BE49-F238E27FC236}">
                <a16:creationId xmlns:a16="http://schemas.microsoft.com/office/drawing/2014/main" id="{A1AA05EE-DC27-492B-87B2-AA043E89F710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33900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785401"/>
              </p:ext>
            </p:extLst>
          </p:nvPr>
        </p:nvGraphicFramePr>
        <p:xfrm>
          <a:off x="342860" y="871489"/>
          <a:ext cx="11500841" cy="54225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54400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00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47612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544360">
                <a:tc rowSpan="11"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abic Typesetting" panose="020B0604020202020204" pitchFamily="66" charset="-78"/>
                          <a:ea typeface="맑은 고딕" panose="020B0503020000020004" pitchFamily="50" charset="-127"/>
                          <a:cs typeface="Arabic Typesetting" panose="020B0604020202020204" pitchFamily="66" charset="-78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abic Typesetting" panose="020B0604020202020204" pitchFamily="66" charset="-78"/>
                          <a:ea typeface="맑은 고딕" panose="020B0503020000020004" pitchFamily="50" charset="-127"/>
                          <a:cs typeface="Arabic Typesetting" panose="020B0604020202020204" pitchFamily="66" charset="-78"/>
                        </a:rPr>
                        <a:t>동향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물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켓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nsigh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News Flash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센터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발간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으로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레포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리스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의 탭으로 구성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면은 </a:t>
                      </a:r>
                      <a:r>
                        <a:rPr lang="ko-KR" altLang="en-US" sz="800" b="0" kern="1200" spc="-4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레포트</a:t>
                      </a:r>
                      <a:r>
                        <a:rPr lang="ko-KR" altLang="en-US" sz="800" b="0" kern="1200" spc="-4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출력</a:t>
                      </a:r>
                      <a:endParaRPr lang="en-US" altLang="ko-KR" sz="800" b="0" kern="1200" spc="-4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740049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4629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55935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리스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894447"/>
                  </a:ext>
                </a:extLst>
              </a:tr>
              <a:tr h="5443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외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문서 목록을 조회하는 화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의 탭으로 구성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면은 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 탭 출력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4443403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509443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157074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024564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뉴스를 보여주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뉴스 목록을 조회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485464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1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분석상세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3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595976"/>
                  </a:ext>
                </a:extLst>
              </a:tr>
              <a:tr h="42863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맑은 고딕" panose="020B0503020000020004" pitchFamily="50" charset="-127"/>
                        <a:cs typeface="Arabic Typesetting" panose="020B0604020202020204" pitchFamily="66" charset="-78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u="none" strike="noStrike" dirty="0">
                          <a:effectLst/>
                        </a:rPr>
                        <a:t>ESG </a:t>
                      </a:r>
                      <a:r>
                        <a:rPr lang="ko-KR" altLang="en-US" sz="900" u="none" strike="noStrike" dirty="0">
                          <a:effectLst/>
                        </a:rPr>
                        <a:t>교육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특강과 당사에서 제공가능한 교육 프로그램을 간략하게 요약 소개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12904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2B2C097-AAB0-4FBF-BD68-BA2817961C42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5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931604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835813"/>
              </p:ext>
            </p:extLst>
          </p:nvPr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810835"/>
              </p:ext>
            </p:extLst>
          </p:nvPr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930013" cy="756071"/>
            <a:chOff x="3010743" y="2119302"/>
            <a:chExt cx="3930013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09" y="2440602"/>
              <a:ext cx="722744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4340966" y="2440602"/>
              <a:ext cx="369361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esson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조정제도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CBAM) –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 내용 및 기업의 대응방안  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2" y="4004569"/>
            <a:ext cx="1574676" cy="155552"/>
            <a:chOff x="3287688" y="7159620"/>
            <a:chExt cx="1069338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490804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4106199" y="7159620"/>
              <a:ext cx="25082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2151688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지속가능경영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기준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930013" cy="756071"/>
            <a:chOff x="3010743" y="2119302"/>
            <a:chExt cx="3930013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722744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4340966" y="2440602"/>
              <a:ext cx="369361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6DA35B9C-D0E8-410B-8256-4AD8CE932AAB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852BA0AB-5A27-4DF5-A7B2-7A4532B1030F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사이트 →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삼일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8" name="그림 107">
            <a:extLst>
              <a:ext uri="{FF2B5EF4-FFF2-40B4-BE49-F238E27FC236}">
                <a16:creationId xmlns:a16="http://schemas.microsoft.com/office/drawing/2014/main" id="{51AE5BAA-C8DD-471D-AF65-469CE95E0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521" y="5346134"/>
            <a:ext cx="8342221" cy="830418"/>
          </a:xfrm>
          <a:prstGeom prst="rect">
            <a:avLst/>
          </a:prstGeom>
        </p:spPr>
      </p:pic>
      <p:sp>
        <p:nvSpPr>
          <p:cNvPr id="97" name="직사각형 96">
            <a:extLst>
              <a:ext uri="{FF2B5EF4-FFF2-40B4-BE49-F238E27FC236}">
                <a16:creationId xmlns:a16="http://schemas.microsoft.com/office/drawing/2014/main" id="{DBE8F20A-DEA9-46F7-BB2F-01B4276156A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25772993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123059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391765"/>
              </p:ext>
            </p:extLst>
          </p:nvPr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도 탄소국경조정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화당 의원까지 나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권 거래제  개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범위는 늘고 무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 완벽정리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IEP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외경제정책연구원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배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업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1607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곳에 환경데이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9B9426CB-4DF1-47CF-BB71-F1EE6B3037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1354" y="2089971"/>
            <a:ext cx="2447943" cy="1202363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736786"/>
              </p:ext>
            </p:extLst>
          </p:nvPr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8CF74482-9BF5-496A-A30A-5BA41F4F1A09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D373DF55-D084-42F4-8E2F-8BC89892F1C7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40" name="직사각형 139">
              <a:extLst>
                <a:ext uri="{FF2B5EF4-FFF2-40B4-BE49-F238E27FC236}">
                  <a16:creationId xmlns:a16="http://schemas.microsoft.com/office/drawing/2014/main" id="{68A91B34-122E-4DCC-9AE7-2A1969DE90EE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41" name="사각형: 둥근 모서리 140">
            <a:extLst>
              <a:ext uri="{FF2B5EF4-FFF2-40B4-BE49-F238E27FC236}">
                <a16:creationId xmlns:a16="http://schemas.microsoft.com/office/drawing/2014/main" id="{48DBC396-A975-49FA-B0C7-FF39DFF29802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1F7B619-F0D2-44F8-8DDA-B319DB49E3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521" y="5346134"/>
            <a:ext cx="8342221" cy="830418"/>
          </a:xfrm>
          <a:prstGeom prst="rect">
            <a:avLst/>
          </a:prstGeom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40CB4C9A-CCFA-492F-933B-E2D551EE4DE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15252337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9456737"/>
              </p:ext>
            </p:extLst>
          </p:nvPr>
        </p:nvGraphicFramePr>
        <p:xfrm>
          <a:off x="9267391" y="759198"/>
          <a:ext cx="2922885" cy="65857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큐레이션 화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하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위치 고정되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기화면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-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으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30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 또는 큐레이션 화면에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하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-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으로 확장되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779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버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영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4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제공서비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제공 서비스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 내용 출력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 서비스 내 제목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 위치 고정되어 있을 때 기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노출 화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30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또는 큐레이션 화면에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하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이동 시 출력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M024]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리스트 내용 출력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우스 오버 시 라인 컬러변경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M024]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홈페이지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문가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된 정보 없을 경우 영역 출력되지 않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서비스 문의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만 노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0056203"/>
                  </a:ext>
                </a:extLst>
              </a:tr>
              <a:tr h="22935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팝업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Q001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서비스제공문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‘[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공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드립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디폴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5596297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62708" y="272875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320098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356EE445-9AD0-4622-8F69-D8C44A4CFD8C}"/>
              </a:ext>
            </a:extLst>
          </p:cNvPr>
          <p:cNvSpPr/>
          <p:nvPr/>
        </p:nvSpPr>
        <p:spPr>
          <a:xfrm>
            <a:off x="555441" y="2124196"/>
            <a:ext cx="8023068" cy="48281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타원 2">
            <a:extLst>
              <a:ext uri="{FF2B5EF4-FFF2-40B4-BE49-F238E27FC236}">
                <a16:creationId xmlns:a16="http://schemas.microsoft.com/office/drawing/2014/main" id="{44C7CD55-7FFE-4524-BA1F-E4B12E655F75}"/>
              </a:ext>
            </a:extLst>
          </p:cNvPr>
          <p:cNvSpPr/>
          <p:nvPr/>
        </p:nvSpPr>
        <p:spPr>
          <a:xfrm>
            <a:off x="839416" y="1810916"/>
            <a:ext cx="648072" cy="6480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80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" name="화살표: 갈매기형 수장 4">
            <a:extLst>
              <a:ext uri="{FF2B5EF4-FFF2-40B4-BE49-F238E27FC236}">
                <a16:creationId xmlns:a16="http://schemas.microsoft.com/office/drawing/2014/main" id="{A6F033B1-5486-4336-A842-49247CD03DCC}"/>
              </a:ext>
            </a:extLst>
          </p:cNvPr>
          <p:cNvSpPr/>
          <p:nvPr/>
        </p:nvSpPr>
        <p:spPr>
          <a:xfrm rot="16200000" flipV="1">
            <a:off x="1090606" y="1899157"/>
            <a:ext cx="130452" cy="209298"/>
          </a:xfrm>
          <a:prstGeom prst="chevron">
            <a:avLst>
              <a:gd name="adj" fmla="val 66536"/>
            </a:avLst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7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848876" y="20632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2DED901C-CE4B-4FC0-B173-64CDAF29A01F}"/>
              </a:ext>
            </a:extLst>
          </p:cNvPr>
          <p:cNvSpPr/>
          <p:nvPr/>
        </p:nvSpPr>
        <p:spPr>
          <a:xfrm>
            <a:off x="812922" y="2106094"/>
            <a:ext cx="1552018" cy="34534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ECFDDA95-4744-46E7-91ED-3A61EDE97C16}"/>
              </a:ext>
            </a:extLst>
          </p:cNvPr>
          <p:cNvSpPr/>
          <p:nvPr/>
        </p:nvSpPr>
        <p:spPr>
          <a:xfrm>
            <a:off x="561048" y="3703345"/>
            <a:ext cx="8023068" cy="264822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b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25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타원 35">
            <a:extLst>
              <a:ext uri="{FF2B5EF4-FFF2-40B4-BE49-F238E27FC236}">
                <a16:creationId xmlns:a16="http://schemas.microsoft.com/office/drawing/2014/main" id="{1B3026A7-55C4-46D2-BEB5-A31CDEA3D6AD}"/>
              </a:ext>
            </a:extLst>
          </p:cNvPr>
          <p:cNvSpPr/>
          <p:nvPr/>
        </p:nvSpPr>
        <p:spPr>
          <a:xfrm>
            <a:off x="831796" y="3361919"/>
            <a:ext cx="648072" cy="6480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화살표: 갈매기형 수장 36">
            <a:extLst>
              <a:ext uri="{FF2B5EF4-FFF2-40B4-BE49-F238E27FC236}">
                <a16:creationId xmlns:a16="http://schemas.microsoft.com/office/drawing/2014/main" id="{A386234F-4BA8-491E-A8E8-BC1AC23D549C}"/>
              </a:ext>
            </a:extLst>
          </p:cNvPr>
          <p:cNvSpPr/>
          <p:nvPr/>
        </p:nvSpPr>
        <p:spPr>
          <a:xfrm rot="5400000">
            <a:off x="1090606" y="3463829"/>
            <a:ext cx="130452" cy="209298"/>
          </a:xfrm>
          <a:prstGeom prst="chevron">
            <a:avLst>
              <a:gd name="adj" fmla="val 66536"/>
            </a:avLst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F623DE90-7C10-45C0-80E0-5047A25D17CD}"/>
              </a:ext>
            </a:extLst>
          </p:cNvPr>
          <p:cNvSpPr/>
          <p:nvPr/>
        </p:nvSpPr>
        <p:spPr>
          <a:xfrm>
            <a:off x="833904" y="3854922"/>
            <a:ext cx="5092036" cy="445295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150000"/>
              </a:lnSpc>
            </a:pP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C1478881-E8F8-4FA8-82BD-4D4207780CA6}"/>
              </a:ext>
            </a:extLst>
          </p:cNvPr>
          <p:cNvSpPr/>
          <p:nvPr/>
        </p:nvSpPr>
        <p:spPr>
          <a:xfrm>
            <a:off x="2453623" y="2136327"/>
            <a:ext cx="5092036" cy="456220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탄소 집약적 제품을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출하는 기업 대상 고려 요소 자문 및 컨설팅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15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시작되는 새로운 보고 요건에 대비하기 위해 필요한 액션 플랜 수립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02573FCE-9140-449D-B25E-4832313265E8}"/>
              </a:ext>
            </a:extLst>
          </p:cNvPr>
          <p:cNvSpPr/>
          <p:nvPr/>
        </p:nvSpPr>
        <p:spPr>
          <a:xfrm>
            <a:off x="2479017" y="3828699"/>
            <a:ext cx="5092036" cy="1296881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탄소 집약적 제품을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출하는 기업 대상 고려 요소 자문 및 컨설팅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다양한 시나리오 기반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출에 대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잠재적 재정적 영향 분석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〮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사업의 가치사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Value Chain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점검 및 변경 필요 부문 자문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전략에 대한 잠재적 효과 분석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15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시작되는 새로운 보고 요건에 대비하기 위해 필요한 액션 플랜 수립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15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출물품의 상품코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N Code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범위에 포함되는지 확인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H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산 방법론 검토 및 평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BCE3EC1-058D-491A-A0A2-5A778DB67FAB}"/>
              </a:ext>
            </a:extLst>
          </p:cNvPr>
          <p:cNvSpPr/>
          <p:nvPr/>
        </p:nvSpPr>
        <p:spPr>
          <a:xfrm>
            <a:off x="336670" y="2063237"/>
            <a:ext cx="2708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9-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8FE38274-6C62-4FF6-B50D-BBC3C5BF2CD3}"/>
              </a:ext>
            </a:extLst>
          </p:cNvPr>
          <p:cNvSpPr/>
          <p:nvPr/>
        </p:nvSpPr>
        <p:spPr>
          <a:xfrm>
            <a:off x="1090971" y="175561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2C0DE4F6-02F4-4A09-8087-66A2AC7F4191}"/>
              </a:ext>
            </a:extLst>
          </p:cNvPr>
          <p:cNvSpPr/>
          <p:nvPr/>
        </p:nvSpPr>
        <p:spPr>
          <a:xfrm>
            <a:off x="1083351" y="33058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9903A85-CEDD-4380-AFF0-E9D78E03FC99}"/>
              </a:ext>
            </a:extLst>
          </p:cNvPr>
          <p:cNvSpPr/>
          <p:nvPr/>
        </p:nvSpPr>
        <p:spPr>
          <a:xfrm>
            <a:off x="2390462" y="21656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C525C76A-0050-499A-A2F4-DDFBBF4C8208}"/>
              </a:ext>
            </a:extLst>
          </p:cNvPr>
          <p:cNvSpPr/>
          <p:nvPr/>
        </p:nvSpPr>
        <p:spPr>
          <a:xfrm>
            <a:off x="519410" y="40016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8E72C4D3-161F-4BB9-8A7D-C508998D523D}"/>
              </a:ext>
            </a:extLst>
          </p:cNvPr>
          <p:cNvSpPr/>
          <p:nvPr/>
        </p:nvSpPr>
        <p:spPr>
          <a:xfrm>
            <a:off x="357040" y="3645024"/>
            <a:ext cx="2708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9-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AB70FA06-3A91-4F0D-BA58-F024F218441C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25ECC522-1DB6-4CD1-9C48-512664F25843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1E5BC4B8-EE2C-431B-A3F1-7BD2A2F09CC5}"/>
                </a:ext>
              </a:extLst>
            </p:cNvPr>
            <p:cNvSpPr/>
            <p:nvPr/>
          </p:nvSpPr>
          <p:spPr>
            <a:xfrm>
              <a:off x="-1981325" y="1787888"/>
              <a:ext cx="1157290" cy="260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66" name="그림 65">
              <a:extLst>
                <a:ext uri="{FF2B5EF4-FFF2-40B4-BE49-F238E27FC236}">
                  <a16:creationId xmlns:a16="http://schemas.microsoft.com/office/drawing/2014/main" id="{1A6DFADA-B12E-41B3-B4B5-58C73271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0" y="1362129"/>
              <a:ext cx="449001" cy="383626"/>
            </a:xfrm>
            <a:prstGeom prst="rect">
              <a:avLst/>
            </a:prstGeom>
          </p:spPr>
        </p:pic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A2CBE15C-4257-487D-A043-9B4B78F34ED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24279B71-FD67-4B7B-B37A-1040823F9FE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9" name="그림 68">
              <a:extLst>
                <a:ext uri="{FF2B5EF4-FFF2-40B4-BE49-F238E27FC236}">
                  <a16:creationId xmlns:a16="http://schemas.microsoft.com/office/drawing/2014/main" id="{3BFF91A6-719D-4438-92F3-3726666E68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10CE3122-181F-40A3-A5B3-C0091C335DD4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3" name="그림 72">
              <a:extLst>
                <a:ext uri="{FF2B5EF4-FFF2-40B4-BE49-F238E27FC236}">
                  <a16:creationId xmlns:a16="http://schemas.microsoft.com/office/drawing/2014/main" id="{EBA70868-13C6-44B4-A106-A91B8B063B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C12F858D-1320-4FC7-B74C-6DA48043BE5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C9FE9AD-67D2-4734-9AB4-06D4051B4E7C}"/>
              </a:ext>
            </a:extLst>
          </p:cNvPr>
          <p:cNvSpPr/>
          <p:nvPr/>
        </p:nvSpPr>
        <p:spPr>
          <a:xfrm>
            <a:off x="2521270" y="6020488"/>
            <a:ext cx="1918545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8BD68EC9-43C3-450B-AD68-ECD9B12DA744}"/>
              </a:ext>
            </a:extLst>
          </p:cNvPr>
          <p:cNvSpPr/>
          <p:nvPr/>
        </p:nvSpPr>
        <p:spPr>
          <a:xfrm>
            <a:off x="2327090" y="51884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84" name="직선 연결선 83">
            <a:extLst>
              <a:ext uri="{FF2B5EF4-FFF2-40B4-BE49-F238E27FC236}">
                <a16:creationId xmlns:a16="http://schemas.microsoft.com/office/drawing/2014/main" id="{40BD0D19-DD1E-4672-9F8F-E90C5C8EC0BB}"/>
              </a:ext>
            </a:extLst>
          </p:cNvPr>
          <p:cNvCxnSpPr>
            <a:cxnSpLocks/>
          </p:cNvCxnSpPr>
          <p:nvPr/>
        </p:nvCxnSpPr>
        <p:spPr>
          <a:xfrm flipV="1">
            <a:off x="743312" y="3933056"/>
            <a:ext cx="0" cy="117856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2C3B99B4-1860-4DA9-8AB9-16A0A35FB6E4}"/>
              </a:ext>
            </a:extLst>
          </p:cNvPr>
          <p:cNvCxnSpPr>
            <a:cxnSpLocks/>
          </p:cNvCxnSpPr>
          <p:nvPr/>
        </p:nvCxnSpPr>
        <p:spPr>
          <a:xfrm>
            <a:off x="645613" y="5102436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C2F4F47F-2403-4FFB-9E9F-56A26E371C52}"/>
              </a:ext>
            </a:extLst>
          </p:cNvPr>
          <p:cNvCxnSpPr>
            <a:cxnSpLocks/>
          </p:cNvCxnSpPr>
          <p:nvPr/>
        </p:nvCxnSpPr>
        <p:spPr>
          <a:xfrm>
            <a:off x="661984" y="3934931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그림 20">
            <a:extLst>
              <a:ext uri="{FF2B5EF4-FFF2-40B4-BE49-F238E27FC236}">
                <a16:creationId xmlns:a16="http://schemas.microsoft.com/office/drawing/2014/main" id="{4FF3C6C7-E598-4C8C-B0D3-A671669C5A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68408" y="5842940"/>
            <a:ext cx="2098051" cy="1387004"/>
          </a:xfrm>
          <a:prstGeom prst="rect">
            <a:avLst/>
          </a:prstGeom>
        </p:spPr>
      </p:pic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F92985E7-5DA6-437E-8840-3E240A8EC9A6}"/>
              </a:ext>
            </a:extLst>
          </p:cNvPr>
          <p:cNvSpPr/>
          <p:nvPr/>
        </p:nvSpPr>
        <p:spPr>
          <a:xfrm>
            <a:off x="696100" y="223867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1D004E7C-38A8-42B7-8231-38B4AE369B11}"/>
              </a:ext>
            </a:extLst>
          </p:cNvPr>
          <p:cNvGrpSpPr/>
          <p:nvPr/>
        </p:nvGrpSpPr>
        <p:grpSpPr>
          <a:xfrm>
            <a:off x="8959220" y="10355"/>
            <a:ext cx="3218221" cy="2441086"/>
            <a:chOff x="8996659" y="52650"/>
            <a:chExt cx="3218221" cy="2441086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B56F117F-4DBD-4297-8F89-407E88D5E074}"/>
                </a:ext>
              </a:extLst>
            </p:cNvPr>
            <p:cNvSpPr/>
            <p:nvPr/>
          </p:nvSpPr>
          <p:spPr>
            <a:xfrm>
              <a:off x="8996659" y="52650"/>
              <a:ext cx="3218221" cy="244108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ap="sq" cmpd="sng" algn="ctr">
              <a:solidFill>
                <a:srgbClr val="D04A02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&lt;23.08.09&gt;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수정</a:t>
              </a:r>
              <a:endPara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[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34]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사진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,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이름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+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직급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,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소속부서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,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소속법인 순으로 출력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        -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소속 클릭 시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,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해당 부서 사이트로 이동하는 기능 삭제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        삼일 서비스 문의하기 → 서비스 문의하기로 </a:t>
              </a:r>
              <a:r>
                <a:rPr lang="ko-KR" altLang="en-US" sz="800" b="1" kern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워딩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변경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&lt;23.08.29&gt;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기획서 통합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문가 리스트 클릭 시</a:t>
              </a: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홈페이지 </a:t>
              </a:r>
              <a:r>
                <a:rPr lang="ko-KR" altLang="en-US" sz="8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창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출력 기능 삭제</a:t>
              </a:r>
              <a:endPara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BO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</a:t>
              </a:r>
              <a:r>
                <a:rPr lang="ko-KR" altLang="en-US" sz="8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매핑된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전문가 정보 없을 경우</a:t>
              </a: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당 영역 출력되지 않고</a:t>
              </a: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[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endPara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서비스 문의하기</a:t>
              </a: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] 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버튼만 노출</a:t>
              </a:r>
              <a:endPara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lt;23.09.01&gt;</a:t>
              </a: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et’s Talk </a:t>
              </a:r>
              <a:r>
                <a:rPr lang="ko-KR" altLang="en-US" sz="8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워딩</a:t>
              </a:r>
              <a:r>
                <a: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삭제 </a:t>
              </a:r>
              <a:endPara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2" name="그림 81">
              <a:extLst>
                <a:ext uri="{FF2B5EF4-FFF2-40B4-BE49-F238E27FC236}">
                  <a16:creationId xmlns:a16="http://schemas.microsoft.com/office/drawing/2014/main" id="{37128045-E395-47C4-A0D2-81D4F65F6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98579" y="642189"/>
              <a:ext cx="2825825" cy="337727"/>
            </a:xfrm>
            <a:prstGeom prst="rect">
              <a:avLst/>
            </a:prstGeom>
          </p:spPr>
        </p:pic>
      </p:grp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9D70161F-C626-4586-9323-67F9EBDA586C}"/>
              </a:ext>
            </a:extLst>
          </p:cNvPr>
          <p:cNvSpPr/>
          <p:nvPr/>
        </p:nvSpPr>
        <p:spPr>
          <a:xfrm>
            <a:off x="950089" y="5154559"/>
            <a:ext cx="1017788" cy="32749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en-US" altLang="ko-KR" sz="9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Let’s Talk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E217C936-04F8-4AE2-952B-804D3B0DB909}"/>
              </a:ext>
            </a:extLst>
          </p:cNvPr>
          <p:cNvSpPr/>
          <p:nvPr/>
        </p:nvSpPr>
        <p:spPr>
          <a:xfrm>
            <a:off x="2521271" y="5205149"/>
            <a:ext cx="609932" cy="6803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EF559DF7-469C-47C4-ACE8-81CE0D997B99}"/>
              </a:ext>
            </a:extLst>
          </p:cNvPr>
          <p:cNvSpPr/>
          <p:nvPr/>
        </p:nvSpPr>
        <p:spPr>
          <a:xfrm>
            <a:off x="3117719" y="5248932"/>
            <a:ext cx="1815718" cy="680345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ctr">
            <a:noAutofit/>
          </a:bodyPr>
          <a:lstStyle/>
          <a:p>
            <a:pPr>
              <a:lnSpc>
                <a:spcPct val="13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진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rtner </a:t>
            </a:r>
          </a:p>
          <a:p>
            <a:pPr>
              <a:lnSpc>
                <a:spcPct val="130000"/>
              </a:lnSpc>
            </a:pPr>
            <a:endParaRPr lang="en-US" altLang="ko-KR" sz="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ssurance</a:t>
            </a:r>
          </a:p>
          <a:p>
            <a:pPr>
              <a:lnSpc>
                <a:spcPct val="13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7C6FB2C3-6264-448E-BE34-A4090FA1CAB7}"/>
              </a:ext>
            </a:extLst>
          </p:cNvPr>
          <p:cNvSpPr/>
          <p:nvPr/>
        </p:nvSpPr>
        <p:spPr>
          <a:xfrm>
            <a:off x="5192142" y="5210773"/>
            <a:ext cx="609932" cy="6803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41F43157-8248-4CBE-B045-C9FA968A54B9}"/>
              </a:ext>
            </a:extLst>
          </p:cNvPr>
          <p:cNvSpPr/>
          <p:nvPr/>
        </p:nvSpPr>
        <p:spPr>
          <a:xfrm>
            <a:off x="5788590" y="5254556"/>
            <a:ext cx="1815718" cy="680345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ctr">
            <a:noAutofit/>
          </a:bodyPr>
          <a:lstStyle/>
          <a:p>
            <a:pPr>
              <a:lnSpc>
                <a:spcPct val="130000"/>
              </a:lnSpc>
            </a:pP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진유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rtner </a:t>
            </a:r>
          </a:p>
          <a:p>
            <a:pPr>
              <a:lnSpc>
                <a:spcPct val="130000"/>
              </a:lnSpc>
            </a:pPr>
            <a:endParaRPr lang="en-US" altLang="ko-KR" sz="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nancial Service</a:t>
            </a:r>
          </a:p>
          <a:p>
            <a:pPr>
              <a:lnSpc>
                <a:spcPct val="130000"/>
              </a:lnSpc>
            </a:pPr>
            <a:r>
              <a:rPr lang="en-US" altLang="ko-KR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C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09F719E9-A729-45A3-B014-E42D1CE5B53F}"/>
              </a:ext>
            </a:extLst>
          </p:cNvPr>
          <p:cNvSpPr/>
          <p:nvPr/>
        </p:nvSpPr>
        <p:spPr>
          <a:xfrm>
            <a:off x="2321126" y="59596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CBBAE0F5-3F40-4F19-8815-F6BB900493A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9A3518DD-977C-47C3-9357-BFEAD7F22FB5}"/>
              </a:ext>
            </a:extLst>
          </p:cNvPr>
          <p:cNvSpPr/>
          <p:nvPr/>
        </p:nvSpPr>
        <p:spPr>
          <a:xfrm>
            <a:off x="1828349" y="1835400"/>
            <a:ext cx="4850647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 진입 시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BO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M024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에 등록된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”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영역이 화면 하단에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x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되어 노출됨 </a:t>
            </a:r>
          </a:p>
          <a:p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E65F6275-7BD3-45E6-9964-EA1B36D613FB}"/>
              </a:ext>
            </a:extLst>
          </p:cNvPr>
          <p:cNvSpPr/>
          <p:nvPr/>
        </p:nvSpPr>
        <p:spPr>
          <a:xfrm>
            <a:off x="1796751" y="3174303"/>
            <a:ext cx="6477064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 ) [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역까지 스크롤을 내리면 </a:t>
            </a:r>
            <a:endParaRPr lang="en-US" altLang="ko-KR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목만 노출하도록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x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되어 있던 영역 해제되어 삼일제공서비스 제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전문가 리스트 출력</a:t>
            </a:r>
            <a:endParaRPr lang="en-US" altLang="ko-KR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endParaRPr lang="ko-KR" altLang="en-US" sz="5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) [30]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버튼 클릭하는 경우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 영역으로 바로 내려오고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 </a:t>
            </a:r>
          </a:p>
          <a:p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만 노출하도록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x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되어 있던 영역 해제되어 삼일제공서비스 제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전문가 리스트 출력</a:t>
            </a:r>
          </a:p>
          <a:p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741191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221759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867556"/>
              </p:ext>
            </p:extLst>
          </p:nvPr>
        </p:nvGraphicFramePr>
        <p:xfrm>
          <a:off x="9267391" y="759198"/>
          <a:ext cx="2922885" cy="43252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급망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적자원 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자 및 고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역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사회 과제 중에서 주요 이슈를 선별하여 핵심 개념 요약부터 추천 컨텐츠까지 바로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A25339CF-C29A-49DA-8E7C-BEB10EB57406}"/>
              </a:ext>
            </a:extLst>
          </p:cNvPr>
          <p:cNvCxnSpPr>
            <a:cxnSpLocks/>
          </p:cNvCxnSpPr>
          <p:nvPr/>
        </p:nvCxnSpPr>
        <p:spPr>
          <a:xfrm>
            <a:off x="332993" y="3068960"/>
            <a:ext cx="8634659" cy="0"/>
          </a:xfrm>
          <a:prstGeom prst="line">
            <a:avLst/>
          </a:prstGeom>
          <a:ln w="3175">
            <a:solidFill>
              <a:srgbClr val="D04A0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349F7D6E-232B-4CC7-89A0-66FC51ACA3D0}"/>
              </a:ext>
            </a:extLst>
          </p:cNvPr>
          <p:cNvSpPr/>
          <p:nvPr/>
        </p:nvSpPr>
        <p:spPr>
          <a:xfrm>
            <a:off x="46112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tx1">
              <a:lumMod val="75000"/>
              <a:lumOff val="2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 관리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239456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권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DBAFF049-5C27-4DF1-B1C7-27824BB484F3}"/>
              </a:ext>
            </a:extLst>
          </p:cNvPr>
          <p:cNvSpPr/>
          <p:nvPr/>
        </p:nvSpPr>
        <p:spPr>
          <a:xfrm>
            <a:off x="432800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적자원 관리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53B54409-4757-43C6-A6B0-716ADB824C79}"/>
              </a:ext>
            </a:extLst>
          </p:cNvPr>
          <p:cNvSpPr/>
          <p:nvPr/>
        </p:nvSpPr>
        <p:spPr>
          <a:xfrm>
            <a:off x="626144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비자 및 고객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탄소국경세가 시범 운영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부터 본격적으로 시행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철강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알루미늄 등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제품군에 대해 탄소국경세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arbon Border Adjustment Mechanism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”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적용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격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ETS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거래가격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연동될 예정임에 따라 관련 기업의 대응이 필요할 것으로 보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온실가스 배출 규제가 느슨한 국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)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사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규제가 엄격한 국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물품을 수출할 때 발생하는 가격차이를 보전하기 위해 비용을 부과하는 일종의 무역관 관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정 합의안에 따르면 시범 기간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10.01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5.12.31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제품의 온실가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reenhouse Gas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HG”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자국에 대해 분기별 보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접 및 간접 배출 포함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수행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는 수입자가 수입 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서 구매 후 해당 내역을 당국에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고해야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공급망 관리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2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cial(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D4FD26BC-B8EE-40D9-B89A-B850ED8642FE}"/>
              </a:ext>
            </a:extLst>
          </p:cNvPr>
          <p:cNvSpPr/>
          <p:nvPr/>
        </p:nvSpPr>
        <p:spPr>
          <a:xfrm>
            <a:off x="401673" y="3266652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관리」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해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2B452A9-A406-470A-8991-53D1E5B0A3B6}"/>
              </a:ext>
            </a:extLst>
          </p:cNvPr>
          <p:cNvSpPr/>
          <p:nvPr/>
        </p:nvSpPr>
        <p:spPr>
          <a:xfrm>
            <a:off x="8967079" y="0"/>
            <a:ext cx="3218221" cy="19791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5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관리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권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적자원 관리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비자 및 고객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역사회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0CA7335B-62FF-4AE6-AD21-3EA3F7530F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993" y="5252141"/>
            <a:ext cx="8494545" cy="845581"/>
          </a:xfrm>
          <a:prstGeom prst="rect">
            <a:avLst/>
          </a:prstGeom>
        </p:spPr>
      </p:pic>
      <p:sp>
        <p:nvSpPr>
          <p:cNvPr id="57" name="직사각형 56">
            <a:extLst>
              <a:ext uri="{FF2B5EF4-FFF2-40B4-BE49-F238E27FC236}">
                <a16:creationId xmlns:a16="http://schemas.microsoft.com/office/drawing/2014/main" id="{50A8831B-8F44-4389-9A76-7F4D56C9348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15437817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4343431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930013" cy="756071"/>
            <a:chOff x="3010743" y="2119302"/>
            <a:chExt cx="3930013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관리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실사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ESG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리스크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‘S(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사회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)’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리스크 완화를 위한 공급망 전략</a:t>
              </a: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09" y="2440602"/>
              <a:ext cx="369361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3977792" y="2440602"/>
              <a:ext cx="732536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 관리</a:t>
              </a: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esson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조정제도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CBAM) –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 내용 및 기업의 대응방안  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2" y="4004569"/>
            <a:ext cx="1574676" cy="155552"/>
            <a:chOff x="3287688" y="7159620"/>
            <a:chExt cx="1069338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490804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4106199" y="7159620"/>
              <a:ext cx="25082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2151688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지속가능경영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기준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930013" cy="756071"/>
            <a:chOff x="3010743" y="2119302"/>
            <a:chExt cx="3930013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722744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4340966" y="2440602"/>
              <a:ext cx="369361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0C96E058-E07E-4CC1-9FD6-364601D99DF0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3" name="그림 102">
            <a:extLst>
              <a:ext uri="{FF2B5EF4-FFF2-40B4-BE49-F238E27FC236}">
                <a16:creationId xmlns:a16="http://schemas.microsoft.com/office/drawing/2014/main" id="{23038149-34CD-4842-AD42-89EF2E0877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993" y="5252141"/>
            <a:ext cx="8494545" cy="845581"/>
          </a:xfrm>
          <a:prstGeom prst="rect">
            <a:avLst/>
          </a:prstGeom>
        </p:spPr>
      </p:pic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4A22AA95-0BD8-45CA-8E3E-17CBCF1CEFD5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67BDF88-AA4C-4E67-8781-285E3855AEF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486075141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도 탄소국경조정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화당 의원까지 나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권 거래제  개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범위는 늘고 무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 완벽정리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IEP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외경제정책연구원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257248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배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업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1607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곳에 환경데이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9B9426CB-4DF1-47CF-BB71-F1EE6B3037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1354" y="2089971"/>
            <a:ext cx="2447943" cy="1202363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/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40" name="그림 139">
            <a:extLst>
              <a:ext uri="{FF2B5EF4-FFF2-40B4-BE49-F238E27FC236}">
                <a16:creationId xmlns:a16="http://schemas.microsoft.com/office/drawing/2014/main" id="{3FF935FB-C8AB-4B1E-B542-027AB4830D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993" y="5252141"/>
            <a:ext cx="8494545" cy="845581"/>
          </a:xfrm>
          <a:prstGeom prst="rect">
            <a:avLst/>
          </a:prstGeom>
        </p:spPr>
      </p:pic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6AF72B3C-C9D0-4E19-B1CB-0C28570BA443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52" name="직사각형 151">
              <a:extLst>
                <a:ext uri="{FF2B5EF4-FFF2-40B4-BE49-F238E27FC236}">
                  <a16:creationId xmlns:a16="http://schemas.microsoft.com/office/drawing/2014/main" id="{AC18367E-53D9-42A4-A3C4-389B8CD9E0E2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3" name="직사각형 152">
              <a:extLst>
                <a:ext uri="{FF2B5EF4-FFF2-40B4-BE49-F238E27FC236}">
                  <a16:creationId xmlns:a16="http://schemas.microsoft.com/office/drawing/2014/main" id="{028525F5-F2DC-40F1-B05F-594C6E40A586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71BE76DB-6F84-41B9-936B-1E97FEBAF2EC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8F4F7D62-5185-4656-8D65-BFA456A346A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28620614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5541472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196182"/>
              </p:ext>
            </p:extLst>
          </p:nvPr>
        </p:nvGraphicFramePr>
        <p:xfrm>
          <a:off x="9267391" y="759198"/>
          <a:ext cx="2922885" cy="43252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주권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윤리경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험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거버넌스 과제 중에서 주요 이슈를 선별하여 핵심 개념 요약부터 추천 컨텐츠까지 바로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A25339CF-C29A-49DA-8E7C-BEB10EB57406}"/>
              </a:ext>
            </a:extLst>
          </p:cNvPr>
          <p:cNvCxnSpPr>
            <a:cxnSpLocks/>
          </p:cNvCxnSpPr>
          <p:nvPr/>
        </p:nvCxnSpPr>
        <p:spPr>
          <a:xfrm>
            <a:off x="332993" y="3068960"/>
            <a:ext cx="8634659" cy="0"/>
          </a:xfrm>
          <a:prstGeom prst="line">
            <a:avLst/>
          </a:prstGeom>
          <a:ln w="3175">
            <a:solidFill>
              <a:srgbClr val="D04A0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349F7D6E-232B-4CC7-89A0-66FC51ACA3D0}"/>
              </a:ext>
            </a:extLst>
          </p:cNvPr>
          <p:cNvSpPr/>
          <p:nvPr/>
        </p:nvSpPr>
        <p:spPr>
          <a:xfrm>
            <a:off x="46112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tx1">
              <a:lumMod val="75000"/>
              <a:lumOff val="2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239456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주권리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DBAFF049-5C27-4DF1-B1C7-27824BB484F3}"/>
              </a:ext>
            </a:extLst>
          </p:cNvPr>
          <p:cNvSpPr/>
          <p:nvPr/>
        </p:nvSpPr>
        <p:spPr>
          <a:xfrm>
            <a:off x="432800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윤리경영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53B54409-4757-43C6-A6B0-716ADB824C79}"/>
              </a:ext>
            </a:extLst>
          </p:cNvPr>
          <p:cNvSpPr/>
          <p:nvPr/>
        </p:nvSpPr>
        <p:spPr>
          <a:xfrm>
            <a:off x="626144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을 위한 이사회의 역할이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>
              <a:lnSpc>
                <a:spcPct val="130000"/>
              </a:lnSpc>
            </a:pPr>
            <a:endParaRPr lang="en-US" altLang="ko-KR" sz="5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76200">
              <a:lnSpc>
                <a:spcPct val="115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의 중요한 역할은 단기적 성과와 지속가능한 장기 전략에 균형을 맞추고 다양한 이해집단 간의 이해관계를 조율하는 것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장기 가치 측면에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중요한 요소로 평가하는 기관투자자들이 늘어나고 고객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임직원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부기관에 이르는 다양한 이해관계자들이 기업의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에 관심이 갖음에 따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안에 주목하고 최고 경영진이 기업의 전략에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반영하는 한편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로 인한 기회와 리스크를 확인하고 대응하도록 감시해야 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15000"/>
              </a:lnSpc>
            </a:pPr>
            <a:endParaRPr lang="en-US" altLang="ko-KR" sz="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76200">
              <a:lnSpc>
                <a:spcPct val="115000"/>
              </a:lnSpc>
            </a:pPr>
            <a:r>
              <a:rPr lang="ko-KR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는 ESG 경영을 위하여 최고 경영진에게 다음을 조언하고 감시하는 역할을 수행해야 합니다. 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이사회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2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vernance</a:t>
            </a: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E1F4E7A9-7EA6-4303-8224-DA59A1CB4713}"/>
              </a:ext>
            </a:extLst>
          </p:cNvPr>
          <p:cNvSpPr/>
          <p:nvPr/>
        </p:nvSpPr>
        <p:spPr>
          <a:xfrm>
            <a:off x="401673" y="3266652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」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해</a:t>
            </a: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26D5FF4-8AB3-4C9D-8DB4-B5F5BA9163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360" y="5359190"/>
            <a:ext cx="8467899" cy="842929"/>
          </a:xfrm>
          <a:prstGeom prst="rect">
            <a:avLst/>
          </a:prstGeom>
        </p:spPr>
      </p:pic>
      <p:sp>
        <p:nvSpPr>
          <p:cNvPr id="76" name="직사각형 75">
            <a:extLst>
              <a:ext uri="{FF2B5EF4-FFF2-40B4-BE49-F238E27FC236}">
                <a16:creationId xmlns:a16="http://schemas.microsoft.com/office/drawing/2014/main" id="{8CAEF779-889E-4DAE-8856-3D1E76B4B9D6}"/>
              </a:ext>
            </a:extLst>
          </p:cNvPr>
          <p:cNvSpPr/>
          <p:nvPr/>
        </p:nvSpPr>
        <p:spPr>
          <a:xfrm>
            <a:off x="8967079" y="0"/>
            <a:ext cx="3218221" cy="18844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4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주권리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윤리경영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CD60E33-23FF-4D87-8EEA-CBA7DDAAE11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8216050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5112324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732255" cy="756071"/>
            <a:chOff x="3010743" y="2119302"/>
            <a:chExt cx="3732255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1822314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CSO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Chief Sustainability Officer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09" y="2440602"/>
              <a:ext cx="466885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4075316" y="2440602"/>
              <a:ext cx="635012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esson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것이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고싶다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1" y="4004569"/>
            <a:ext cx="1574677" cy="155552"/>
            <a:chOff x="3287688" y="7159620"/>
            <a:chExt cx="1069339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321532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3942431" y="7159620"/>
              <a:ext cx="414596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190230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배구조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732255" cy="756071"/>
            <a:chOff x="3010743" y="2119302"/>
            <a:chExt cx="3732255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1897814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배구조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경영을 위한 이사회의 역할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562931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4171362" y="2440602"/>
              <a:ext cx="538966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사회</a:t>
              </a: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0BE932FD-A523-409D-8414-ECDF0ECD0BBE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4" name="그림 103">
            <a:extLst>
              <a:ext uri="{FF2B5EF4-FFF2-40B4-BE49-F238E27FC236}">
                <a16:creationId xmlns:a16="http://schemas.microsoft.com/office/drawing/2014/main" id="{414F89B3-E25E-42E8-B760-E2CA7183C8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360" y="5359190"/>
            <a:ext cx="8467899" cy="842929"/>
          </a:xfrm>
          <a:prstGeom prst="rect">
            <a:avLst/>
          </a:prstGeom>
        </p:spPr>
      </p:pic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54811D30-1F99-4B90-A9EC-2586E94F13D0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삼일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849DA634-CA26-42CA-B056-5EC964C1664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53010148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디즈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장 내 차별 소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</a:p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장 내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차별법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범위 정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7.04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651728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회 및 이사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U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재무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</a:p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Y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 통합 플랫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ESA…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6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overnance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어떻게 시작하나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한상공회의소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2.10.19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462579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524627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건 스탠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CEO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승계 문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두고 여성 후보 부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5.28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/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B5BAABD-A128-4965-BFDF-3298B5E120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2408" y="2105925"/>
            <a:ext cx="2465788" cy="1215223"/>
          </a:xfrm>
          <a:prstGeom prst="rect">
            <a:avLst/>
          </a:prstGeom>
        </p:spPr>
      </p:pic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141" name="그림 140">
            <a:extLst>
              <a:ext uri="{FF2B5EF4-FFF2-40B4-BE49-F238E27FC236}">
                <a16:creationId xmlns:a16="http://schemas.microsoft.com/office/drawing/2014/main" id="{48426EFD-6BA0-4B40-A5B2-6D08587C29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5360" y="5359190"/>
            <a:ext cx="8467899" cy="842929"/>
          </a:xfrm>
          <a:prstGeom prst="rect">
            <a:avLst/>
          </a:prstGeom>
        </p:spPr>
      </p:pic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E9AFA9CC-7A8E-4CFC-AC81-5899A6E19876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BD56DCC3-FA06-4CEC-976F-310C84526283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F43B1B35-FC47-43BA-A19F-D6AF9957BD7B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1" name="사각형: 둥근 모서리 150">
            <a:extLst>
              <a:ext uri="{FF2B5EF4-FFF2-40B4-BE49-F238E27FC236}">
                <a16:creationId xmlns:a16="http://schemas.microsoft.com/office/drawing/2014/main" id="{AD82EA25-08B3-492A-9ECE-57FACB271521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CB82A1F3-9B9D-4C43-92A5-B374B147504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75611052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40953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181631"/>
              </p:ext>
            </p:extLst>
          </p:nvPr>
        </p:nvGraphicFramePr>
        <p:xfrm>
          <a:off x="9267391" y="759198"/>
          <a:ext cx="2922885" cy="43252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배출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금융 과제 중에서 주요 이슈를 선별하여 핵심 개념 요약부터 추천 컨텐츠까지 바로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A25339CF-C29A-49DA-8E7C-BEB10EB57406}"/>
              </a:ext>
            </a:extLst>
          </p:cNvPr>
          <p:cNvCxnSpPr>
            <a:cxnSpLocks/>
          </p:cNvCxnSpPr>
          <p:nvPr/>
        </p:nvCxnSpPr>
        <p:spPr>
          <a:xfrm>
            <a:off x="332993" y="3068960"/>
            <a:ext cx="8634659" cy="0"/>
          </a:xfrm>
          <a:prstGeom prst="line">
            <a:avLst/>
          </a:prstGeom>
          <a:ln w="3175">
            <a:solidFill>
              <a:srgbClr val="D04A0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349F7D6E-232B-4CC7-89A0-66FC51ACA3D0}"/>
              </a:ext>
            </a:extLst>
          </p:cNvPr>
          <p:cNvSpPr/>
          <p:nvPr/>
        </p:nvSpPr>
        <p:spPr>
          <a:xfrm>
            <a:off x="46112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tx1">
              <a:lumMod val="75000"/>
              <a:lumOff val="2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239456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채권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DBAFF049-5C27-4DF1-B1C7-27824BB484F3}"/>
              </a:ext>
            </a:extLst>
          </p:cNvPr>
          <p:cNvSpPr/>
          <p:nvPr/>
        </p:nvSpPr>
        <p:spPr>
          <a:xfrm>
            <a:off x="432800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투자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 marL="76200"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limate-related Risk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체계가 자연적 변동 수준을 벗어나 정상 수준으로 돌아오지 않고 장기적으로 변화함에 따라 발생하는 ‘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나 저탄소 경제로의 전환과정에서 발생하는 경영악화 등의 ‘이행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ransition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말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변화 자체로 인해 발생하는 회사의 경제적 비용과 금융손실을 의미하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‘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행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en-US" altLang="ko-KR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rasition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저탄소 경제로 급격하게 전환하면서 발생할 수 있는 금융손실을 의미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공정책의 변화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급진적인 기술개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과 투자자의 인식 변화 등 지속가능한 경제로의 조정과정에서 발생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endParaRPr lang="en-US" altLang="ko-KR" sz="3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76200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변화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율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리스크 파급 경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2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nance</a:t>
            </a: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96579550-5574-4947-AC98-664BE1D9814C}"/>
              </a:ext>
            </a:extLst>
          </p:cNvPr>
          <p:cNvSpPr/>
          <p:nvPr/>
        </p:nvSpPr>
        <p:spPr>
          <a:xfrm>
            <a:off x="433060" y="3248850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」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해</a:t>
            </a: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92B2EAD-D16F-45C6-8C4D-09B098AA7E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695" y="5077528"/>
            <a:ext cx="8545470" cy="1103899"/>
          </a:xfrm>
          <a:prstGeom prst="rect">
            <a:avLst/>
          </a:prstGeom>
        </p:spPr>
      </p:pic>
      <p:sp>
        <p:nvSpPr>
          <p:cNvPr id="76" name="직사각형 75">
            <a:extLst>
              <a:ext uri="{FF2B5EF4-FFF2-40B4-BE49-F238E27FC236}">
                <a16:creationId xmlns:a16="http://schemas.microsoft.com/office/drawing/2014/main" id="{4D84E999-386E-4CFB-8699-C9BF29A9155C}"/>
              </a:ext>
            </a:extLst>
          </p:cNvPr>
          <p:cNvSpPr/>
          <p:nvPr/>
        </p:nvSpPr>
        <p:spPr>
          <a:xfrm>
            <a:off x="8967079" y="0"/>
            <a:ext cx="3218221" cy="18844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4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채권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투자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배출량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5D06EA5B-E539-405C-91E8-35EBBEF5DF2C}"/>
              </a:ext>
            </a:extLst>
          </p:cNvPr>
          <p:cNvSpPr/>
          <p:nvPr/>
        </p:nvSpPr>
        <p:spPr>
          <a:xfrm>
            <a:off x="6198244" y="2455951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배출량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70DAF462-117A-4800-9B1B-A218B0DE978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1492883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914748"/>
              </p:ext>
            </p:extLst>
          </p:nvPr>
        </p:nvGraphicFramePr>
        <p:xfrm>
          <a:off x="342860" y="871488"/>
          <a:ext cx="11511641" cy="54378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65200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00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368133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337980">
                <a:tc rowSpan="6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abic Typesetting" panose="020B0604020202020204" pitchFamily="66" charset="-78"/>
                          <a:ea typeface="맑은 고딕" panose="020B0503020000020004" pitchFamily="50" charset="-127"/>
                          <a:cs typeface="Arabic Typesetting" panose="020B0604020202020204" pitchFamily="66" charset="-78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abic Typesetting" panose="020B0604020202020204" pitchFamily="66" charset="-78"/>
                          <a:ea typeface="맑은 고딕" panose="020B0503020000020004" pitchFamily="50" charset="-127"/>
                          <a:cs typeface="Arabic Typesetting" panose="020B0604020202020204" pitchFamily="66" charset="-78"/>
                        </a:rPr>
                        <a:t>동향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상세보기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자료 상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질적인 자료 내용이 보여지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뷰어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연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07281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+mn-ea"/>
                        <a:cs typeface="Arabic Typesetting" panose="020B0604020202020204" pitchFamily="66" charset="-7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Arabic Typesetting" panose="020B0604020202020204" pitchFamily="66" charset="-78"/>
                        <a:cs typeface="Arabic Typesetting" panose="020B0604020202020204" pitchFamily="66" charset="-78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자료 상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질적인 영상자료가 보여지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레이어로 연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99220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+mn-ea"/>
                        <a:cs typeface="Arabic Typesetting" panose="020B0604020202020204" pitchFamily="66" charset="-7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Arabic Typesetting" panose="020B0604020202020204" pitchFamily="66" charset="-78"/>
                        <a:cs typeface="Arabic Typesetting" panose="020B0604020202020204" pitchFamily="66" charset="-78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자료 상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u="none" strike="noStrike" dirty="0">
                          <a:effectLst/>
                        </a:rPr>
                        <a:t>목록을 </a:t>
                      </a:r>
                      <a:r>
                        <a:rPr lang="ko-KR" alt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선택하였을 때</a:t>
                      </a:r>
                      <a:r>
                        <a:rPr lang="en-US" altLang="ko-K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뉴스컨텐츠</a:t>
                      </a:r>
                      <a:r>
                        <a:rPr lang="en-US" altLang="ko-K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기사 내용이 보여지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975651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+mn-ea"/>
                        <a:cs typeface="Arabic Typesetting" panose="020B0604020202020204" pitchFamily="66" charset="-7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Arabic Typesetting" panose="020B0604020202020204" pitchFamily="66" charset="-78"/>
                        <a:cs typeface="Arabic Typesetting" panose="020B0604020202020204" pitchFamily="66" charset="-78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 자료 상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으로 등록된 컨텐츠 출력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044485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+mn-ea"/>
                        <a:cs typeface="Arabic Typesetting" panose="020B0604020202020204" pitchFamily="66" charset="-7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가이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등 화면에서 개별 컨텐츠 클릭 시 출력 화면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611065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abic Typesetting" panose="020B0604020202020204" pitchFamily="66" charset="-78"/>
                        <a:ea typeface="+mn-ea"/>
                        <a:cs typeface="Arabic Typesetting" panose="020B0604020202020204" pitchFamily="66" charset="-78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보기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에서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체보기 클릭 시 출력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585768"/>
                  </a:ext>
                </a:extLst>
              </a:tr>
              <a:tr h="337980">
                <a:tc rowSpan="3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문의</a:t>
                      </a:r>
                      <a:r>
                        <a:rPr lang="en-US" altLang="ko-K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요청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문의</a:t>
                      </a:r>
                      <a:r>
                        <a:rPr lang="en-US" altLang="ko-K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요청 등록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Q0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요청 등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577868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문의</a:t>
                      </a:r>
                      <a:r>
                        <a:rPr lang="en-US" altLang="ko-K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요청 조회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Q0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나의 문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현황 조회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676988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Q0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상세 조회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464981"/>
                  </a:ext>
                </a:extLst>
              </a:tr>
              <a:tr h="337980">
                <a:tc rowSpan="6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기타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lang="en-US" altLang="ko-K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기타 페이지</a:t>
                      </a:r>
                      <a:r>
                        <a:rPr lang="en-US" altLang="ko-KR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ESG.com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용약관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225102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ESG.com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처리방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222759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ESG.com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처리방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002647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광고성 정보 수신 및 마케팅 활용 동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1356938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egal Disclaimer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314404"/>
                  </a:ext>
                </a:extLst>
              </a:tr>
              <a:tr h="337980"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페이지 오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endParaRPr lang="ko-KR" altLang="en-US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16015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2B2C097-AAB0-4FBF-BD68-BA2817961C42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6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635673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06300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732255" cy="756071"/>
            <a:chOff x="3010743" y="2119302"/>
            <a:chExt cx="3732255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1822314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변화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재무영향분석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후변화 시나리오와 재무영향 분석</a:t>
              </a: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10" y="2440602"/>
              <a:ext cx="36093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3986666" y="2440602"/>
              <a:ext cx="723662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edia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금융업 전략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1" y="4004569"/>
            <a:ext cx="1574677" cy="155552"/>
            <a:chOff x="3287688" y="7159620"/>
            <a:chExt cx="1069339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272633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3882230" y="7159620"/>
              <a:ext cx="47479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200524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업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위기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732255" cy="756071"/>
            <a:chOff x="3010743" y="2119302"/>
            <a:chExt cx="3732255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1953930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Scope 3 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cope3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배출량 측정과 공급망 탄소배출량 감축 전략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39836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3990158" y="2440602"/>
              <a:ext cx="72017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2032DE8A-CF87-4A61-95D6-210E8DB101FA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10" name="그림 109">
            <a:extLst>
              <a:ext uri="{FF2B5EF4-FFF2-40B4-BE49-F238E27FC236}">
                <a16:creationId xmlns:a16="http://schemas.microsoft.com/office/drawing/2014/main" id="{5F75B8DA-35C0-471A-AA17-4C46B0F0A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695" y="5077529"/>
            <a:ext cx="8485801" cy="1096190"/>
          </a:xfrm>
          <a:prstGeom prst="rect">
            <a:avLst/>
          </a:prstGeom>
        </p:spPr>
      </p:pic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C0FB9A7F-AAAB-40CE-8B9A-854D7C9754DD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22D02550-0451-4BC6-A58A-43A2582F10F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9730065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648853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스코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cope)3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측정과 공급망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글로벌 흐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5.26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651728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공시 요건으로 시나리오 분석 요구한다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1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overnance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어떻게 시작하나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한상공회의소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2.10.19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940127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703706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 금융안정감독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리스크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자문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FRAC)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0.26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/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B5BAABD-A128-4965-BFDF-3298B5E120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2408" y="2105925"/>
            <a:ext cx="2465788" cy="1215223"/>
          </a:xfrm>
          <a:prstGeom prst="rect">
            <a:avLst/>
          </a:prstGeom>
        </p:spPr>
      </p:pic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33639EC2-AA83-4CF6-B734-43A9ED11BE31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A2EC91BD-45A4-4864-82C8-DBB2476FC33C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2EAE1ED9-7452-45E1-A6C2-F0B095B5D4F5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7" name="사각형: 둥근 모서리 156">
            <a:extLst>
              <a:ext uri="{FF2B5EF4-FFF2-40B4-BE49-F238E27FC236}">
                <a16:creationId xmlns:a16="http://schemas.microsoft.com/office/drawing/2014/main" id="{F3AE0A8A-22FD-44BA-BA77-EBE563C8890A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41" name="그림 140">
            <a:extLst>
              <a:ext uri="{FF2B5EF4-FFF2-40B4-BE49-F238E27FC236}">
                <a16:creationId xmlns:a16="http://schemas.microsoft.com/office/drawing/2014/main" id="{4A7F4FD0-70DA-44F4-8D10-5F4E3D6FA2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1695" y="5077528"/>
            <a:ext cx="8467211" cy="1093789"/>
          </a:xfrm>
          <a:prstGeom prst="rect">
            <a:avLst/>
          </a:prstGeom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33ABB975-3612-4834-B53D-14D8F753FC2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48917272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456568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197337"/>
              </p:ext>
            </p:extLst>
          </p:nvPr>
        </p:nvGraphicFramePr>
        <p:xfrm>
          <a:off x="9267391" y="759198"/>
          <a:ext cx="2922885" cy="43252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국경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와 세제혜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무투명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세제 관련 과제 중에서 주요 이슈를 선별하여 핵심 개념 요약부터 추천 컨텐츠까지 바로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A25339CF-C29A-49DA-8E7C-BEB10EB57406}"/>
              </a:ext>
            </a:extLst>
          </p:cNvPr>
          <p:cNvCxnSpPr>
            <a:cxnSpLocks/>
          </p:cNvCxnSpPr>
          <p:nvPr/>
        </p:nvCxnSpPr>
        <p:spPr>
          <a:xfrm>
            <a:off x="332993" y="3068960"/>
            <a:ext cx="8634659" cy="0"/>
          </a:xfrm>
          <a:prstGeom prst="line">
            <a:avLst/>
          </a:prstGeom>
          <a:ln w="3175">
            <a:solidFill>
              <a:srgbClr val="D04A0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349F7D6E-232B-4CC7-89A0-66FC51ACA3D0}"/>
              </a:ext>
            </a:extLst>
          </p:cNvPr>
          <p:cNvSpPr/>
          <p:nvPr/>
        </p:nvSpPr>
        <p:spPr>
          <a:xfrm>
            <a:off x="46112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tx1">
              <a:lumMod val="75000"/>
              <a:lumOff val="2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239456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세와 세제혜택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DBAFF049-5C27-4DF1-B1C7-27824BB484F3}"/>
              </a:ext>
            </a:extLst>
          </p:cNvPr>
          <p:cNvSpPr/>
          <p:nvPr/>
        </p:nvSpPr>
        <p:spPr>
          <a:xfrm>
            <a:off x="432800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무투명성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 marL="76200"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limate-related Risk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체계가 자연적 변동 수준을 벗어나 정상 수준으로 돌아오지 않고 장기적으로 변화함에 따라 발생하는 ‘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나 저탄소 경제로의 전환과정에서 발생하는 경영악화 등의 ‘이행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ransition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말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변화 자체로 인해 발생하는 회사의 경제적 비용과 금융손실을 의미하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‘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행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en-US" altLang="ko-KR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rasition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저탄소 경제로 급격하게 전환하면서 발생할 수 있는 금융손실을 의미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공정책의 변화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급진적인 기술개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과 투자자의 인식 변화 등 지속가능한 경제로의 조정과정에서 발생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endParaRPr lang="en-US" altLang="ko-KR" sz="3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76200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변화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율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리스크 파급 경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Tax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96579550-5574-4947-AC98-664BE1D9814C}"/>
              </a:ext>
            </a:extLst>
          </p:cNvPr>
          <p:cNvSpPr/>
          <p:nvPr/>
        </p:nvSpPr>
        <p:spPr>
          <a:xfrm>
            <a:off x="433060" y="3248850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」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해</a:t>
            </a: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92B2EAD-D16F-45C6-8C4D-09B098AA7E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695" y="5077528"/>
            <a:ext cx="8545470" cy="1103899"/>
          </a:xfrm>
          <a:prstGeom prst="rect">
            <a:avLst/>
          </a:prstGeom>
        </p:spPr>
      </p:pic>
      <p:sp>
        <p:nvSpPr>
          <p:cNvPr id="76" name="직사각형 75">
            <a:extLst>
              <a:ext uri="{FF2B5EF4-FFF2-40B4-BE49-F238E27FC236}">
                <a16:creationId xmlns:a16="http://schemas.microsoft.com/office/drawing/2014/main" id="{4D84E999-386E-4CFB-8699-C9BF29A9155C}"/>
              </a:ext>
            </a:extLst>
          </p:cNvPr>
          <p:cNvSpPr/>
          <p:nvPr/>
        </p:nvSpPr>
        <p:spPr>
          <a:xfrm>
            <a:off x="8967079" y="0"/>
            <a:ext cx="3218221" cy="18844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세와 세제혜택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무투명성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9F2D60FA-823A-4D9D-9A8A-7686127122A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63647655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5482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732255" cy="756071"/>
            <a:chOff x="3010743" y="2119302"/>
            <a:chExt cx="3732255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1822314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변화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재무영향분석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후변화 시나리오와 재무영향 분석</a:t>
              </a: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10" y="2440602"/>
              <a:ext cx="36093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3986666" y="2440602"/>
              <a:ext cx="723662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edia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금융업 전략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1" y="4004569"/>
            <a:ext cx="1574677" cy="155552"/>
            <a:chOff x="3287688" y="7159620"/>
            <a:chExt cx="1069339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272633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3882230" y="7159620"/>
              <a:ext cx="47479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200524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업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위기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732255" cy="756071"/>
            <a:chOff x="3010743" y="2119302"/>
            <a:chExt cx="3732255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1953930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Scope 3 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cope3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배출량 측정과 공급망 탄소배출량 감축 전략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39836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3990158" y="2440602"/>
              <a:ext cx="72017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2032DE8A-CF87-4A61-95D6-210E8DB101FA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10" name="그림 109">
            <a:extLst>
              <a:ext uri="{FF2B5EF4-FFF2-40B4-BE49-F238E27FC236}">
                <a16:creationId xmlns:a16="http://schemas.microsoft.com/office/drawing/2014/main" id="{5F75B8DA-35C0-471A-AA17-4C46B0F0A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695" y="5077529"/>
            <a:ext cx="8485801" cy="1096190"/>
          </a:xfrm>
          <a:prstGeom prst="rect">
            <a:avLst/>
          </a:prstGeom>
        </p:spPr>
      </p:pic>
      <p:sp>
        <p:nvSpPr>
          <p:cNvPr id="97" name="직사각형 96">
            <a:extLst>
              <a:ext uri="{FF2B5EF4-FFF2-40B4-BE49-F238E27FC236}">
                <a16:creationId xmlns:a16="http://schemas.microsoft.com/office/drawing/2014/main" id="{6695B2C0-2DEE-4997-A32B-518EF7B9B45C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341E2EA7-1AF0-4A3A-940A-28869FCA2D7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97287017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648853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스코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cope)3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측정과 공급망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글로벌 흐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5.26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651728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공시 요건으로 시나리오 분석 요구한다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1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overnance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어떻게 시작하나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한상공회의소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2.10.19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703706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 금융안정감독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리스크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자문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FRAC)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0.26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/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B5BAABD-A128-4965-BFDF-3298B5E120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2408" y="2105925"/>
            <a:ext cx="2465788" cy="1215223"/>
          </a:xfrm>
          <a:prstGeom prst="rect">
            <a:avLst/>
          </a:prstGeom>
        </p:spPr>
      </p:pic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33639EC2-AA83-4CF6-B734-43A9ED11BE31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A2EC91BD-45A4-4864-82C8-DBB2476FC33C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2EAE1ED9-7452-45E1-A6C2-F0B095B5D4F5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7" name="사각형: 둥근 모서리 156">
            <a:extLst>
              <a:ext uri="{FF2B5EF4-FFF2-40B4-BE49-F238E27FC236}">
                <a16:creationId xmlns:a16="http://schemas.microsoft.com/office/drawing/2014/main" id="{F3AE0A8A-22FD-44BA-BA77-EBE563C8890A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41" name="그림 140">
            <a:extLst>
              <a:ext uri="{FF2B5EF4-FFF2-40B4-BE49-F238E27FC236}">
                <a16:creationId xmlns:a16="http://schemas.microsoft.com/office/drawing/2014/main" id="{4A7F4FD0-70DA-44F4-8D10-5F4E3D6FA2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1695" y="5077528"/>
            <a:ext cx="8467211" cy="1093789"/>
          </a:xfrm>
          <a:prstGeom prst="rect">
            <a:avLst/>
          </a:prstGeom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E329BE5D-01AA-4C36-B5AD-A49C276AC1E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05378559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558833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3252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67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1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B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어드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관리하는 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배출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412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정의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핵심 개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HTM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5,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에서 불러오는 데이터는 같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펼치기 전 노출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높이는 퍼블리싱 단계에서 확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6282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 펼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기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펼치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Area + 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출력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한 주요 이슈를 선별하여 핵심 개념 요약부터 추천 컨텐츠까지 바로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A25339CF-C29A-49DA-8E7C-BEB10EB57406}"/>
              </a:ext>
            </a:extLst>
          </p:cNvPr>
          <p:cNvCxnSpPr>
            <a:cxnSpLocks/>
          </p:cNvCxnSpPr>
          <p:nvPr/>
        </p:nvCxnSpPr>
        <p:spPr>
          <a:xfrm>
            <a:off x="332993" y="3068960"/>
            <a:ext cx="8634659" cy="0"/>
          </a:xfrm>
          <a:prstGeom prst="line">
            <a:avLst/>
          </a:prstGeom>
          <a:ln w="3175">
            <a:solidFill>
              <a:srgbClr val="D04A0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349F7D6E-232B-4CC7-89A0-66FC51ACA3D0}"/>
              </a:ext>
            </a:extLst>
          </p:cNvPr>
          <p:cNvSpPr/>
          <p:nvPr/>
        </p:nvSpPr>
        <p:spPr>
          <a:xfrm>
            <a:off x="46112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tx1">
              <a:lumMod val="75000"/>
              <a:lumOff val="2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책임투자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239456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사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DBAFF049-5C27-4DF1-B1C7-27824BB484F3}"/>
              </a:ext>
            </a:extLst>
          </p:cNvPr>
          <p:cNvSpPr/>
          <p:nvPr/>
        </p:nvSpPr>
        <p:spPr>
          <a:xfrm>
            <a:off x="4328002" y="2458360"/>
            <a:ext cx="1693826" cy="441286"/>
          </a:xfrm>
          <a:prstGeom prst="roundRect">
            <a:avLst>
              <a:gd name="adj" fmla="val 9800"/>
            </a:avLst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M&amp;A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F821EB2-0798-409C-936C-4B641D7FDCC0}"/>
              </a:ext>
            </a:extLst>
          </p:cNvPr>
          <p:cNvSpPr/>
          <p:nvPr/>
        </p:nvSpPr>
        <p:spPr>
          <a:xfrm>
            <a:off x="515712" y="3561780"/>
            <a:ext cx="8172576" cy="1607165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 marL="76200"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limate-related Risk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체계가 자연적 변동 수준을 벗어나 정상 수준으로 돌아오지 않고 장기적으로 변화함에 따라 발생하는 ‘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나 저탄소 경제로의 전환과정에서 발생하는 경영악화 등의 ‘이행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ransition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말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hysical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후변화 자체로 인해 발생하는 회사의 경제적 비용과 금융손실을 의미하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‘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행리스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en-US" altLang="ko-KR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rasition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Risk)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저탄소 경제로 급격하게 전환하면서 발생할 수 있는 금융손실을 의미하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공정책의 변화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급진적인 기술개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과 투자자의 인식 변화 등 지속가능한 경제로의 조정과정에서 발생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76200">
              <a:lnSpc>
                <a:spcPct val="130000"/>
              </a:lnSpc>
            </a:pPr>
            <a:endParaRPr lang="en-US" altLang="ko-KR" sz="3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76200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변화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율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리스크 파급 경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물리적 리스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ECC30549-CF66-4524-98E6-B72691D22E58}"/>
              </a:ext>
            </a:extLst>
          </p:cNvPr>
          <p:cNvSpPr/>
          <p:nvPr/>
        </p:nvSpPr>
        <p:spPr>
          <a:xfrm>
            <a:off x="461122" y="3307737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개념 정의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5FD6BC96-1E9C-40CD-8A22-FB5F06792963}"/>
              </a:ext>
            </a:extLst>
          </p:cNvPr>
          <p:cNvGrpSpPr/>
          <p:nvPr/>
        </p:nvGrpSpPr>
        <p:grpSpPr>
          <a:xfrm>
            <a:off x="4390575" y="4943620"/>
            <a:ext cx="684825" cy="225325"/>
            <a:chOff x="4088388" y="4943620"/>
            <a:chExt cx="684825" cy="225325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22B0775-27C8-4FF9-B7A5-2146A405C17D}"/>
                </a:ext>
              </a:extLst>
            </p:cNvPr>
            <p:cNvSpPr/>
            <p:nvPr/>
          </p:nvSpPr>
          <p:spPr>
            <a:xfrm>
              <a:off x="4088388" y="4943620"/>
              <a:ext cx="684825" cy="22532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펼치기 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6" name="직선 화살표 연결선 85">
              <a:extLst>
                <a:ext uri="{FF2B5EF4-FFF2-40B4-BE49-F238E27FC236}">
                  <a16:creationId xmlns:a16="http://schemas.microsoft.com/office/drawing/2014/main" id="{B5EA8F2C-CD60-4E9F-AB31-C9673511EA12}"/>
                </a:ext>
              </a:extLst>
            </p:cNvPr>
            <p:cNvCxnSpPr>
              <a:cxnSpLocks/>
            </p:cNvCxnSpPr>
            <p:nvPr/>
          </p:nvCxnSpPr>
          <p:spPr>
            <a:xfrm>
              <a:off x="4655840" y="4999950"/>
              <a:ext cx="0" cy="9000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559999FE-E120-4A36-86C8-3AB880D1B08F}"/>
                </a:ext>
              </a:extLst>
            </p:cNvPr>
            <p:cNvCxnSpPr/>
            <p:nvPr/>
          </p:nvCxnSpPr>
          <p:spPr>
            <a:xfrm>
              <a:off x="4622071" y="5108044"/>
              <a:ext cx="72008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EAE7F433-B4FC-4AE7-81D9-B4AB32CC8FA9}"/>
              </a:ext>
            </a:extLst>
          </p:cNvPr>
          <p:cNvGrpSpPr/>
          <p:nvPr/>
        </p:nvGrpSpPr>
        <p:grpSpPr>
          <a:xfrm>
            <a:off x="8827554" y="1518147"/>
            <a:ext cx="152360" cy="4895999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6D9ED50A-E147-4812-941B-F8A7D0974C2F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5D3762DC-2A96-4866-9E6F-F3B0335E8FF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A770029E-68EB-4BAE-9A60-876A6DA2814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2CECB870-C62C-4E35-B376-C7F5F125850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A752F116-EEC0-4D75-ACFC-B7CA60CBE4F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371B6451-B3C0-4F20-B652-4CFE8C601A9C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CC0E634-3351-4A90-B089-F120C6F4B813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B67A1E1-43E2-4551-BE70-2BC4D765A490}"/>
              </a:ext>
            </a:extLst>
          </p:cNvPr>
          <p:cNvSpPr/>
          <p:nvPr/>
        </p:nvSpPr>
        <p:spPr>
          <a:xfrm>
            <a:off x="298311" y="23475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B46D3197-4E69-499C-8AD0-45CCCDEC5A60}"/>
              </a:ext>
            </a:extLst>
          </p:cNvPr>
          <p:cNvSpPr/>
          <p:nvPr/>
        </p:nvSpPr>
        <p:spPr>
          <a:xfrm>
            <a:off x="4306902" y="48854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07DE9870-A3EE-4905-AC4C-BAC7E11A3659}"/>
              </a:ext>
            </a:extLst>
          </p:cNvPr>
          <p:cNvSpPr/>
          <p:nvPr/>
        </p:nvSpPr>
        <p:spPr>
          <a:xfrm>
            <a:off x="454298" y="36735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49173180-9AC6-41B5-B2EB-45C1724EA154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F657D6E6-1F77-44C8-86EC-A9DF21BE8451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F3281055-65C9-4463-BADB-AD879F228690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E96032F6-087E-4585-B8F0-E55E3148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CAA41132-FD7C-4FCC-8440-E30FC92262FA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1B27496D-146F-4FC6-B7E4-3608AF1D308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8972C8D5-F6F2-4EDE-9F80-DBEFF6A0C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C2BAC499-A22B-47CE-9832-3E18F26BCBD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FEAC563-0E51-46EF-972F-F99D969E94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BCC52E3-B8EA-4D14-8DB6-C585BB671C1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96579550-5574-4947-AC98-664BE1D9814C}"/>
              </a:ext>
            </a:extLst>
          </p:cNvPr>
          <p:cNvSpPr/>
          <p:nvPr/>
        </p:nvSpPr>
        <p:spPr>
          <a:xfrm>
            <a:off x="433060" y="3248850"/>
            <a:ext cx="1708664" cy="274715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책임투자」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해</a:t>
            </a: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217967A1-CE98-46DC-A2D8-A4D765BDF349}"/>
              </a:ext>
            </a:extLst>
          </p:cNvPr>
          <p:cNvSpPr/>
          <p:nvPr/>
        </p:nvSpPr>
        <p:spPr>
          <a:xfrm>
            <a:off x="375107" y="3205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92B2EAD-D16F-45C6-8C4D-09B098AA7E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695" y="5077528"/>
            <a:ext cx="8545470" cy="1103899"/>
          </a:xfrm>
          <a:prstGeom prst="rect">
            <a:avLst/>
          </a:prstGeom>
        </p:spPr>
      </p:pic>
      <p:sp>
        <p:nvSpPr>
          <p:cNvPr id="76" name="직사각형 75">
            <a:extLst>
              <a:ext uri="{FF2B5EF4-FFF2-40B4-BE49-F238E27FC236}">
                <a16:creationId xmlns:a16="http://schemas.microsoft.com/office/drawing/2014/main" id="{4D84E999-386E-4CFB-8699-C9BF29A9155C}"/>
              </a:ext>
            </a:extLst>
          </p:cNvPr>
          <p:cNvSpPr/>
          <p:nvPr/>
        </p:nvSpPr>
        <p:spPr>
          <a:xfrm>
            <a:off x="8967079" y="0"/>
            <a:ext cx="3218221" cy="18844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념 정의 →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$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」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의 이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amil’s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Talk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Talk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3] Topic Bar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출력 토픽 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책임투자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사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M&amp;A] 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출력</a:t>
            </a:r>
            <a:endParaRPr lang="en-US" altLang="ko-KR" sz="80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Talk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 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2B9F803-8CA3-4DAB-9970-0B01A8028B9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Deal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0D54FAA-293D-42ED-AA48-BB26855C813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74632037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1B5D58A-A01F-479C-863C-6CFBC4EB754B}"/>
              </a:ext>
            </a:extLst>
          </p:cNvPr>
          <p:cNvSpPr/>
          <p:nvPr/>
        </p:nvSpPr>
        <p:spPr>
          <a:xfrm>
            <a:off x="418943" y="1650219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인사이트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C9D85AAC-6A64-4A36-BCB2-BE23D7DF9591}"/>
              </a:ext>
            </a:extLst>
          </p:cNvPr>
          <p:cNvSpPr/>
          <p:nvPr/>
        </p:nvSpPr>
        <p:spPr>
          <a:xfrm>
            <a:off x="440619" y="1924902"/>
            <a:ext cx="8161072" cy="4096386"/>
          </a:xfrm>
          <a:prstGeom prst="rect">
            <a:avLst/>
          </a:prstGeom>
          <a:solidFill>
            <a:srgbClr val="D9D9D9">
              <a:alpha val="50196"/>
            </a:srgb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57">
            <a:extLst>
              <a:ext uri="{FF2B5EF4-FFF2-40B4-BE49-F238E27FC236}">
                <a16:creationId xmlns:a16="http://schemas.microsoft.com/office/drawing/2014/main" id="{6A3669FF-EB54-4B1F-8CF9-F77AF7622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111164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76BEA67A-65E0-4036-B509-2A691296E40C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E434FD3C-A90B-4E65-BAB0-3956F085042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1" name="그룹 60">
              <a:extLst>
                <a:ext uri="{FF2B5EF4-FFF2-40B4-BE49-F238E27FC236}">
                  <a16:creationId xmlns:a16="http://schemas.microsoft.com/office/drawing/2014/main" id="{F09E78DB-10B9-4940-858D-C4B4C8F1C3F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5260B3E-8FE1-4B3D-8A32-FD4E60CEC45E}"/>
                  </a:ext>
                </a:extLst>
              </p:cNvPr>
              <p:cNvSpPr/>
              <p:nvPr/>
            </p:nvSpPr>
            <p:spPr>
              <a:xfrm>
                <a:off x="9201495" y="2609387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D70B2E0C-0327-4BEF-AA46-3940E3E24B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D6A4160D-0F34-4C22-B733-C4C2E6FC187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4FA04DFA-A36D-4F3E-8D80-BC01CA56C487}"/>
              </a:ext>
            </a:extLst>
          </p:cNvPr>
          <p:cNvSpPr/>
          <p:nvPr/>
        </p:nvSpPr>
        <p:spPr>
          <a:xfrm>
            <a:off x="418943" y="18782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0" name="표 10">
            <a:extLst>
              <a:ext uri="{FF2B5EF4-FFF2-40B4-BE49-F238E27FC236}">
                <a16:creationId xmlns:a16="http://schemas.microsoft.com/office/drawing/2014/main" id="{BEC5158D-7665-4974-BE2D-7B2F1E527944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4D84AE56-0886-418A-AD95-76384904F3B3}"/>
              </a:ext>
            </a:extLst>
          </p:cNvPr>
          <p:cNvGrpSpPr/>
          <p:nvPr/>
        </p:nvGrpSpPr>
        <p:grpSpPr>
          <a:xfrm>
            <a:off x="2423353" y="2429234"/>
            <a:ext cx="3732255" cy="756071"/>
            <a:chOff x="3010743" y="2119302"/>
            <a:chExt cx="3732255" cy="756071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BA98B7B-B121-485F-9119-DB8036E53D42}"/>
                </a:ext>
              </a:extLst>
            </p:cNvPr>
            <p:cNvSpPr/>
            <p:nvPr/>
          </p:nvSpPr>
          <p:spPr>
            <a:xfrm>
              <a:off x="4789068" y="2440602"/>
              <a:ext cx="1822314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변화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재무영향분석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C25B5D2-9C2B-49B5-9204-6157FDC0459E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후변화 시나리오와 재무영향 분석</a:t>
              </a: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47BE8182-FC78-4899-82D1-45B860FE7407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20D5A2B8-6F7F-4770-9E07-1D119E2EBA8F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2800FD0C-8A36-4244-8C97-BE8E031DF6E5}"/>
                </a:ext>
              </a:extLst>
            </p:cNvPr>
            <p:cNvSpPr/>
            <p:nvPr/>
          </p:nvSpPr>
          <p:spPr>
            <a:xfrm>
              <a:off x="3552210" y="2440602"/>
              <a:ext cx="36093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BEE864FC-44CC-46E3-A2F7-0FD16F897983}"/>
                </a:ext>
              </a:extLst>
            </p:cNvPr>
            <p:cNvSpPr/>
            <p:nvPr/>
          </p:nvSpPr>
          <p:spPr>
            <a:xfrm>
              <a:off x="3986666" y="2440602"/>
              <a:ext cx="723662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A158D587-1C56-4B69-8F09-EA501515FDA9}"/>
              </a:ext>
            </a:extLst>
          </p:cNvPr>
          <p:cNvGrpSpPr/>
          <p:nvPr/>
        </p:nvGrpSpPr>
        <p:grpSpPr>
          <a:xfrm>
            <a:off x="599488" y="2136659"/>
            <a:ext cx="1820374" cy="1075495"/>
            <a:chOff x="3925318" y="3675504"/>
            <a:chExt cx="1124954" cy="765997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D5620926-A92F-437B-A3C6-4E8A21ECE22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64" name="직선 연결선 163">
              <a:extLst>
                <a:ext uri="{FF2B5EF4-FFF2-40B4-BE49-F238E27FC236}">
                  <a16:creationId xmlns:a16="http://schemas.microsoft.com/office/drawing/2014/main" id="{28192C81-264E-483C-A12E-45BF885082C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직선 연결선 164">
              <a:extLst>
                <a:ext uri="{FF2B5EF4-FFF2-40B4-BE49-F238E27FC236}">
                  <a16:creationId xmlns:a16="http://schemas.microsoft.com/office/drawing/2014/main" id="{3ED6A534-0E6C-4FAC-BAFA-1F361D8FA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34DADACE-7165-400E-BD7A-56226973FBD5}"/>
              </a:ext>
            </a:extLst>
          </p:cNvPr>
          <p:cNvGrpSpPr/>
          <p:nvPr/>
        </p:nvGrpSpPr>
        <p:grpSpPr>
          <a:xfrm>
            <a:off x="2998868" y="3397119"/>
            <a:ext cx="764659" cy="231036"/>
            <a:chOff x="1483869" y="7479163"/>
            <a:chExt cx="764659" cy="231036"/>
          </a:xfrm>
        </p:grpSpPr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9B924F42-7A65-415C-AAC5-651567E855A9}"/>
                </a:ext>
              </a:extLst>
            </p:cNvPr>
            <p:cNvSpPr/>
            <p:nvPr/>
          </p:nvSpPr>
          <p:spPr>
            <a:xfrm>
              <a:off x="1579068" y="7501594"/>
              <a:ext cx="556172" cy="20391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187477AB-BCB4-411A-A094-DB80A5E0D11E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edia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F1A27826-40C8-49BD-AE8C-D05E83CCBD0D}"/>
              </a:ext>
            </a:extLst>
          </p:cNvPr>
          <p:cNvSpPr/>
          <p:nvPr/>
        </p:nvSpPr>
        <p:spPr>
          <a:xfrm>
            <a:off x="1421335" y="2381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C2752BF-69FE-427A-9A52-D3F7902F3230}"/>
              </a:ext>
            </a:extLst>
          </p:cNvPr>
          <p:cNvGrpSpPr/>
          <p:nvPr/>
        </p:nvGrpSpPr>
        <p:grpSpPr>
          <a:xfrm>
            <a:off x="2424814" y="3698999"/>
            <a:ext cx="5275929" cy="745513"/>
            <a:chOff x="1410704" y="4990597"/>
            <a:chExt cx="5492992" cy="745513"/>
          </a:xfrm>
        </p:grpSpPr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5B76E6E7-8773-4803-BFAE-7379C936BD38}"/>
                </a:ext>
              </a:extLst>
            </p:cNvPr>
            <p:cNvSpPr/>
            <p:nvPr/>
          </p:nvSpPr>
          <p:spPr>
            <a:xfrm>
              <a:off x="1410704" y="4990597"/>
              <a:ext cx="5492992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금융업 전략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686FF38-36A9-4884-9287-B43AE6463230}"/>
                </a:ext>
              </a:extLst>
            </p:cNvPr>
            <p:cNvSpPr/>
            <p:nvPr/>
          </p:nvSpPr>
          <p:spPr>
            <a:xfrm>
              <a:off x="1424954" y="5523801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</p:grp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B43BAEDA-47FD-4C7A-BFF0-CDF65BECC1F1}"/>
              </a:ext>
            </a:extLst>
          </p:cNvPr>
          <p:cNvGrpSpPr/>
          <p:nvPr/>
        </p:nvGrpSpPr>
        <p:grpSpPr>
          <a:xfrm>
            <a:off x="2523771" y="4004569"/>
            <a:ext cx="1574677" cy="155552"/>
            <a:chOff x="3287688" y="7159620"/>
            <a:chExt cx="1069339" cy="218101"/>
          </a:xfrm>
        </p:grpSpPr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B962B5BD-A580-418E-812E-D86617AFE0FF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2C587BA1-C86A-43FE-B993-7EEB6DF8FD42}"/>
                </a:ext>
              </a:extLst>
            </p:cNvPr>
            <p:cNvSpPr/>
            <p:nvPr/>
          </p:nvSpPr>
          <p:spPr>
            <a:xfrm>
              <a:off x="3582719" y="7159620"/>
              <a:ext cx="272633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240F2910-EEEF-4031-B204-DCC82A4086A5}"/>
                </a:ext>
              </a:extLst>
            </p:cNvPr>
            <p:cNvSpPr/>
            <p:nvPr/>
          </p:nvSpPr>
          <p:spPr>
            <a:xfrm>
              <a:off x="3882230" y="7159620"/>
              <a:ext cx="47479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73AAB747-FDC4-41BF-871C-5F6727756CE4}"/>
              </a:ext>
            </a:extLst>
          </p:cNvPr>
          <p:cNvGrpSpPr/>
          <p:nvPr/>
        </p:nvGrpSpPr>
        <p:grpSpPr>
          <a:xfrm>
            <a:off x="599488" y="3419097"/>
            <a:ext cx="1820374" cy="1075495"/>
            <a:chOff x="3925318" y="3675504"/>
            <a:chExt cx="1124954" cy="765997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41515FCA-B294-4822-9545-4A24218F0602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4" name="직선 연결선 223">
              <a:extLst>
                <a:ext uri="{FF2B5EF4-FFF2-40B4-BE49-F238E27FC236}">
                  <a16:creationId xmlns:a16="http://schemas.microsoft.com/office/drawing/2014/main" id="{D369924C-56DE-44FC-B91D-D735A58D364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직선 연결선 224">
              <a:extLst>
                <a:ext uri="{FF2B5EF4-FFF2-40B4-BE49-F238E27FC236}">
                  <a16:creationId xmlns:a16="http://schemas.microsoft.com/office/drawing/2014/main" id="{5F4C5C76-1EBD-4027-BFCB-B88895B33B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CA55CD3-D58F-43A5-BE97-DE924E1783AC}"/>
              </a:ext>
            </a:extLst>
          </p:cNvPr>
          <p:cNvGrpSpPr/>
          <p:nvPr/>
        </p:nvGrpSpPr>
        <p:grpSpPr>
          <a:xfrm>
            <a:off x="2403976" y="2123186"/>
            <a:ext cx="764659" cy="231036"/>
            <a:chOff x="1483869" y="7479163"/>
            <a:chExt cx="764659" cy="231036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054CAEAE-A4E8-4C1C-9D2F-1284EC4930F1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2CE1EEC2-36E5-4701-9A5E-99CD8BA0BC65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D61F863-3314-4C39-9F61-4CD3179D6BFC}"/>
              </a:ext>
            </a:extLst>
          </p:cNvPr>
          <p:cNvSpPr/>
          <p:nvPr/>
        </p:nvSpPr>
        <p:spPr>
          <a:xfrm>
            <a:off x="2398235" y="21135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8" name="직사각형 227">
            <a:extLst>
              <a:ext uri="{FF2B5EF4-FFF2-40B4-BE49-F238E27FC236}">
                <a16:creationId xmlns:a16="http://schemas.microsoft.com/office/drawing/2014/main" id="{E4308330-FB92-4923-95E2-85208C502ABC}"/>
              </a:ext>
            </a:extLst>
          </p:cNvPr>
          <p:cNvSpPr/>
          <p:nvPr/>
        </p:nvSpPr>
        <p:spPr>
          <a:xfrm>
            <a:off x="4193697" y="4007231"/>
            <a:ext cx="200524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업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위기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BC71E35-7616-4020-B308-11D1F666FC35}"/>
              </a:ext>
            </a:extLst>
          </p:cNvPr>
          <p:cNvSpPr/>
          <p:nvPr/>
        </p:nvSpPr>
        <p:spPr>
          <a:xfrm>
            <a:off x="1533434" y="4283627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29" name="사각형: 둥근 모서리 228">
            <a:extLst>
              <a:ext uri="{FF2B5EF4-FFF2-40B4-BE49-F238E27FC236}">
                <a16:creationId xmlns:a16="http://schemas.microsoft.com/office/drawing/2014/main" id="{FDDE35DC-D01F-42A6-953A-74E6B9158EB4}"/>
              </a:ext>
            </a:extLst>
          </p:cNvPr>
          <p:cNvSpPr/>
          <p:nvPr/>
        </p:nvSpPr>
        <p:spPr>
          <a:xfrm>
            <a:off x="2356685" y="367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0" name="사각형: 둥근 모서리 229">
            <a:extLst>
              <a:ext uri="{FF2B5EF4-FFF2-40B4-BE49-F238E27FC236}">
                <a16:creationId xmlns:a16="http://schemas.microsoft.com/office/drawing/2014/main" id="{50FA0313-0816-4436-AA9B-2AACF5B59408}"/>
              </a:ext>
            </a:extLst>
          </p:cNvPr>
          <p:cNvSpPr/>
          <p:nvPr/>
        </p:nvSpPr>
        <p:spPr>
          <a:xfrm>
            <a:off x="2353908" y="39625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1" name="사각형: 둥근 모서리 230">
            <a:extLst>
              <a:ext uri="{FF2B5EF4-FFF2-40B4-BE49-F238E27FC236}">
                <a16:creationId xmlns:a16="http://schemas.microsoft.com/office/drawing/2014/main" id="{DEB3DCF9-8613-4FF1-8D08-AAC422A0E8DC}"/>
              </a:ext>
            </a:extLst>
          </p:cNvPr>
          <p:cNvSpPr/>
          <p:nvPr/>
        </p:nvSpPr>
        <p:spPr>
          <a:xfrm>
            <a:off x="4114688" y="39680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2" name="사각형: 둥근 모서리 231">
            <a:extLst>
              <a:ext uri="{FF2B5EF4-FFF2-40B4-BE49-F238E27FC236}">
                <a16:creationId xmlns:a16="http://schemas.microsoft.com/office/drawing/2014/main" id="{4AAFDB31-2FC6-457D-AF5A-17E7DF67024F}"/>
              </a:ext>
            </a:extLst>
          </p:cNvPr>
          <p:cNvSpPr/>
          <p:nvPr/>
        </p:nvSpPr>
        <p:spPr>
          <a:xfrm>
            <a:off x="2353908" y="42172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3" name="사각형: 둥근 모서리 232">
            <a:extLst>
              <a:ext uri="{FF2B5EF4-FFF2-40B4-BE49-F238E27FC236}">
                <a16:creationId xmlns:a16="http://schemas.microsoft.com/office/drawing/2014/main" id="{E7A8AD40-1F70-42A7-98A0-1DD2FDC2A554}"/>
              </a:ext>
            </a:extLst>
          </p:cNvPr>
          <p:cNvSpPr/>
          <p:nvPr/>
        </p:nvSpPr>
        <p:spPr>
          <a:xfrm>
            <a:off x="1450115" y="42188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549E6362-F408-4A89-A4E5-B761E9A08528}"/>
              </a:ext>
            </a:extLst>
          </p:cNvPr>
          <p:cNvGrpSpPr/>
          <p:nvPr/>
        </p:nvGrpSpPr>
        <p:grpSpPr>
          <a:xfrm>
            <a:off x="1349598" y="3804003"/>
            <a:ext cx="317115" cy="317115"/>
            <a:chOff x="1519093" y="5661249"/>
            <a:chExt cx="504056" cy="504056"/>
          </a:xfrm>
        </p:grpSpPr>
        <p:sp>
          <p:nvSpPr>
            <p:cNvPr id="205" name="타원 204">
              <a:extLst>
                <a:ext uri="{FF2B5EF4-FFF2-40B4-BE49-F238E27FC236}">
                  <a16:creationId xmlns:a16="http://schemas.microsoft.com/office/drawing/2014/main" id="{D8801A57-CDD1-470C-80D6-B94D90D4D37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06" name="이등변 삼각형 205">
              <a:extLst>
                <a:ext uri="{FF2B5EF4-FFF2-40B4-BE49-F238E27FC236}">
                  <a16:creationId xmlns:a16="http://schemas.microsoft.com/office/drawing/2014/main" id="{29C06338-183D-4F22-B48B-8ED3B526DC15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35" name="직사각형 234">
            <a:extLst>
              <a:ext uri="{FF2B5EF4-FFF2-40B4-BE49-F238E27FC236}">
                <a16:creationId xmlns:a16="http://schemas.microsoft.com/office/drawing/2014/main" id="{5BF117FB-23AB-454F-8DBE-878668619E39}"/>
              </a:ext>
            </a:extLst>
          </p:cNvPr>
          <p:cNvSpPr/>
          <p:nvPr/>
        </p:nvSpPr>
        <p:spPr>
          <a:xfrm>
            <a:off x="539412" y="2082496"/>
            <a:ext cx="7932852" cy="1194183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8A0F9421-D9C9-48D3-94EA-10AD229C594B}"/>
              </a:ext>
            </a:extLst>
          </p:cNvPr>
          <p:cNvSpPr/>
          <p:nvPr/>
        </p:nvSpPr>
        <p:spPr>
          <a:xfrm>
            <a:off x="457562" y="20470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073894E3-E06A-44FB-A2F3-E0DE045C677E}"/>
              </a:ext>
            </a:extLst>
          </p:cNvPr>
          <p:cNvGrpSpPr/>
          <p:nvPr/>
        </p:nvGrpSpPr>
        <p:grpSpPr>
          <a:xfrm>
            <a:off x="2419861" y="4959632"/>
            <a:ext cx="3732255" cy="756071"/>
            <a:chOff x="3010743" y="2119302"/>
            <a:chExt cx="3732255" cy="75607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F2E4FF40-C0B5-4752-BF90-0373473B62E0}"/>
                </a:ext>
              </a:extLst>
            </p:cNvPr>
            <p:cNvSpPr/>
            <p:nvPr/>
          </p:nvSpPr>
          <p:spPr>
            <a:xfrm>
              <a:off x="4789068" y="2440602"/>
              <a:ext cx="1953930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Scope 3 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2B08CDA8-7E2B-4211-A18B-754AC95AC08A}"/>
                </a:ext>
              </a:extLst>
            </p:cNvPr>
            <p:cNvSpPr/>
            <p:nvPr/>
          </p:nvSpPr>
          <p:spPr>
            <a:xfrm>
              <a:off x="3010743" y="2119302"/>
              <a:ext cx="3732255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cope3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배출량 측정과 공급망 탄소배출량 감축 전략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425145C-993C-4EB7-97AE-C024BBA15BB6}"/>
                </a:ext>
              </a:extLst>
            </p:cNvPr>
            <p:cNvSpPr/>
            <p:nvPr/>
          </p:nvSpPr>
          <p:spPr>
            <a:xfrm>
              <a:off x="3038708" y="2663064"/>
              <a:ext cx="20052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860D7E4-D633-4F6A-9324-DFDAD98F7ACA}"/>
                </a:ext>
              </a:extLst>
            </p:cNvPr>
            <p:cNvSpPr/>
            <p:nvPr/>
          </p:nvSpPr>
          <p:spPr>
            <a:xfrm>
              <a:off x="3117755" y="2440602"/>
              <a:ext cx="36092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ABF450E-6BB4-47D1-B637-9D40885F373B}"/>
                </a:ext>
              </a:extLst>
            </p:cNvPr>
            <p:cNvSpPr/>
            <p:nvPr/>
          </p:nvSpPr>
          <p:spPr>
            <a:xfrm>
              <a:off x="3552209" y="2440602"/>
              <a:ext cx="398369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38D8A14F-CF90-4A6B-8BE9-C71BED20E633}"/>
                </a:ext>
              </a:extLst>
            </p:cNvPr>
            <p:cNvSpPr/>
            <p:nvPr/>
          </p:nvSpPr>
          <p:spPr>
            <a:xfrm>
              <a:off x="3990158" y="2440602"/>
              <a:ext cx="720170" cy="155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1C8EBCCA-7CDC-4213-856F-C8DF5017D2D7}"/>
              </a:ext>
            </a:extLst>
          </p:cNvPr>
          <p:cNvGrpSpPr/>
          <p:nvPr/>
        </p:nvGrpSpPr>
        <p:grpSpPr>
          <a:xfrm>
            <a:off x="595996" y="4667057"/>
            <a:ext cx="1820374" cy="1075495"/>
            <a:chOff x="3925318" y="3675504"/>
            <a:chExt cx="1124954" cy="765997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497DA89B-E56A-46E7-A022-F760EF373068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6435D120-CE9C-4D98-A9C9-EBB6C2624A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B7CCA2CD-F51A-4E01-A162-7CDB0D676E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E7EC2BA7-765D-4024-AA05-53260C04A504}"/>
              </a:ext>
            </a:extLst>
          </p:cNvPr>
          <p:cNvGrpSpPr/>
          <p:nvPr/>
        </p:nvGrpSpPr>
        <p:grpSpPr>
          <a:xfrm>
            <a:off x="2400484" y="4653584"/>
            <a:ext cx="764659" cy="231036"/>
            <a:chOff x="1483869" y="7479163"/>
            <a:chExt cx="764659" cy="231036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B9412C8A-DC41-4BCD-B68C-BBC52530ED8E}"/>
                </a:ext>
              </a:extLst>
            </p:cNvPr>
            <p:cNvSpPr/>
            <p:nvPr/>
          </p:nvSpPr>
          <p:spPr>
            <a:xfrm>
              <a:off x="1579068" y="7501594"/>
              <a:ext cx="556172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E8FE3CE-AEAF-4B69-9629-B539F87B89A2}"/>
                </a:ext>
              </a:extLst>
            </p:cNvPr>
            <p:cNvSpPr/>
            <p:nvPr/>
          </p:nvSpPr>
          <p:spPr>
            <a:xfrm>
              <a:off x="1483869" y="7479163"/>
              <a:ext cx="764659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eport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101D6A-D842-4857-869B-AB6F6E3A9CF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CB61EAED-386F-4F55-8779-4BDE06D0D9A0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53FEFB59-7E40-4E24-B8A9-CDD1BD1692FB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1583696-F41D-4B96-9443-F96809D27372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6" name="그림 125">
              <a:extLst>
                <a:ext uri="{FF2B5EF4-FFF2-40B4-BE49-F238E27FC236}">
                  <a16:creationId xmlns:a16="http://schemas.microsoft.com/office/drawing/2014/main" id="{38A5F4D7-28F6-41B3-8E50-8EFE13836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28654290-7844-44E8-B9E0-90CEB442CFD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963D2A-FDF1-4170-B68A-F7392AE28AAC}"/>
              </a:ext>
            </a:extLst>
          </p:cNvPr>
          <p:cNvSpPr/>
          <p:nvPr/>
        </p:nvSpPr>
        <p:spPr>
          <a:xfrm>
            <a:off x="2514522" y="3424468"/>
            <a:ext cx="530588" cy="195775"/>
          </a:xfrm>
          <a:prstGeom prst="rect">
            <a:avLst/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B55C8E3-5287-4365-876D-BF8F96968F62}"/>
              </a:ext>
            </a:extLst>
          </p:cNvPr>
          <p:cNvSpPr/>
          <p:nvPr/>
        </p:nvSpPr>
        <p:spPr>
          <a:xfrm>
            <a:off x="2412508" y="340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CD6AF1B0-AD78-4628-AD0E-E96C2718D6B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43AC8715-E2FC-4E2C-BED6-26F26BEA7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CAB689B-745C-442A-B609-1907CD4382A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9" name="그림 108">
              <a:extLst>
                <a:ext uri="{FF2B5EF4-FFF2-40B4-BE49-F238E27FC236}">
                  <a16:creationId xmlns:a16="http://schemas.microsoft.com/office/drawing/2014/main" id="{94E0D271-4496-4630-A533-3C18B2419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9BEA6802-466C-4FBD-83BC-0BDF2ED987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2032DE8A-CF87-4A61-95D6-210E8DB101FA}"/>
              </a:ext>
            </a:extLst>
          </p:cNvPr>
          <p:cNvSpPr/>
          <p:nvPr/>
        </p:nvSpPr>
        <p:spPr>
          <a:xfrm>
            <a:off x="428844" y="1613550"/>
            <a:ext cx="1204522" cy="216540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529341C-5C4C-4CBE-8C16-603FEA0956BB}"/>
              </a:ext>
            </a:extLst>
          </p:cNvPr>
          <p:cNvSpPr/>
          <p:nvPr/>
        </p:nvSpPr>
        <p:spPr>
          <a:xfrm>
            <a:off x="382254" y="15727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4" name="사각형: 둥근 모서리 233">
            <a:extLst>
              <a:ext uri="{FF2B5EF4-FFF2-40B4-BE49-F238E27FC236}">
                <a16:creationId xmlns:a16="http://schemas.microsoft.com/office/drawing/2014/main" id="{481DD02B-F8D9-4CB8-A9F8-0117ECCB9497}"/>
              </a:ext>
            </a:extLst>
          </p:cNvPr>
          <p:cNvSpPr/>
          <p:nvPr/>
        </p:nvSpPr>
        <p:spPr>
          <a:xfrm>
            <a:off x="1388472" y="15727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10" name="그림 109">
            <a:extLst>
              <a:ext uri="{FF2B5EF4-FFF2-40B4-BE49-F238E27FC236}">
                <a16:creationId xmlns:a16="http://schemas.microsoft.com/office/drawing/2014/main" id="{5F75B8DA-35C0-471A-AA17-4C46B0F0A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695" y="5077529"/>
            <a:ext cx="8485801" cy="1096190"/>
          </a:xfrm>
          <a:prstGeom prst="rect">
            <a:avLst/>
          </a:prstGeom>
        </p:spPr>
      </p:pic>
      <p:sp>
        <p:nvSpPr>
          <p:cNvPr id="97" name="직사각형 96">
            <a:extLst>
              <a:ext uri="{FF2B5EF4-FFF2-40B4-BE49-F238E27FC236}">
                <a16:creationId xmlns:a16="http://schemas.microsoft.com/office/drawing/2014/main" id="{FD10D2A6-2680-4193-8032-4D2E89F11BC8}"/>
              </a:ext>
            </a:extLst>
          </p:cNvPr>
          <p:cNvSpPr/>
          <p:nvPr/>
        </p:nvSpPr>
        <p:spPr>
          <a:xfrm>
            <a:off x="8972055" y="1"/>
            <a:ext cx="3218221" cy="55883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F6C7ACC8-60C1-423D-92EB-4E05505FAE5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74473628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1690535"/>
          <a:ext cx="2922885" cy="51684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2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02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하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겂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설정되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0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함 뉴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 미포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격 및 글자 수 제한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이미지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이미지 미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제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 뉴스자료 상세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03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포함 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자료 상세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219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분류에 따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or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출력 건수 확정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8D62FBC-52BC-4E33-BF42-25B9FEFF5749}"/>
              </a:ext>
            </a:extLst>
          </p:cNvPr>
          <p:cNvSpPr/>
          <p:nvPr/>
        </p:nvSpPr>
        <p:spPr>
          <a:xfrm>
            <a:off x="491255" y="2003238"/>
            <a:ext cx="2650727" cy="367242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B0E8C5A-6480-47F0-9DC6-3C27B0828B78}"/>
              </a:ext>
            </a:extLst>
          </p:cNvPr>
          <p:cNvSpPr/>
          <p:nvPr/>
        </p:nvSpPr>
        <p:spPr>
          <a:xfrm>
            <a:off x="483466" y="1697784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동향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A8928DFB-9109-42AD-9702-6AC7C1A2AE96}"/>
              </a:ext>
            </a:extLst>
          </p:cNvPr>
          <p:cNvSpPr/>
          <p:nvPr/>
        </p:nvSpPr>
        <p:spPr>
          <a:xfrm>
            <a:off x="3256793" y="1980609"/>
            <a:ext cx="2650727" cy="36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628EF90-A720-49E8-849A-761533A12411}"/>
              </a:ext>
            </a:extLst>
          </p:cNvPr>
          <p:cNvSpPr/>
          <p:nvPr/>
        </p:nvSpPr>
        <p:spPr>
          <a:xfrm>
            <a:off x="6031015" y="1969373"/>
            <a:ext cx="2650727" cy="37070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10972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61FFAC6-0E80-4463-8EDE-779E1A8D39E7}"/>
              </a:ext>
            </a:extLst>
          </p:cNvPr>
          <p:cNvSpPr/>
          <p:nvPr/>
        </p:nvSpPr>
        <p:spPr>
          <a:xfrm>
            <a:off x="3217448" y="1712040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모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&gt; 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208760D8-8591-464C-B616-6D4349DE9F1D}"/>
              </a:ext>
            </a:extLst>
          </p:cNvPr>
          <p:cNvSpPr/>
          <p:nvPr/>
        </p:nvSpPr>
        <p:spPr>
          <a:xfrm>
            <a:off x="6016311" y="1699271"/>
            <a:ext cx="2650727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모음  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3C8C1766-E246-46D3-BAA3-72C6BE748B1E}"/>
              </a:ext>
            </a:extLst>
          </p:cNvPr>
          <p:cNvGrpSpPr/>
          <p:nvPr/>
        </p:nvGrpSpPr>
        <p:grpSpPr>
          <a:xfrm>
            <a:off x="613914" y="2121532"/>
            <a:ext cx="864096" cy="551455"/>
            <a:chOff x="623392" y="4609098"/>
            <a:chExt cx="1368152" cy="685030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7087479A-74C2-47D9-A389-F1FF432AAB13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762F91DD-616B-4145-B956-9C1A8A0BA142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1883294A-8633-4580-BAF5-9EED403CE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E9343CCC-B6A1-4A0A-8858-F33F02D1706E}"/>
              </a:ext>
            </a:extLst>
          </p:cNvPr>
          <p:cNvGrpSpPr/>
          <p:nvPr/>
        </p:nvGrpSpPr>
        <p:grpSpPr>
          <a:xfrm>
            <a:off x="613914" y="2813093"/>
            <a:ext cx="864096" cy="551455"/>
            <a:chOff x="623392" y="4609098"/>
            <a:chExt cx="1368152" cy="68503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B31E354-7EA2-4288-B17B-455A6844AF75}"/>
                </a:ext>
              </a:extLst>
            </p:cNvPr>
            <p:cNvSpPr/>
            <p:nvPr/>
          </p:nvSpPr>
          <p:spPr>
            <a:xfrm>
              <a:off x="623392" y="4609098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A9D1B67D-4398-4CF3-8C00-26F33391606B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FAD0EAA3-EC86-43E0-B4ED-5BE277BE12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790FAB1F-A36B-4420-B3D5-2D30B30F9FFC}"/>
              </a:ext>
            </a:extLst>
          </p:cNvPr>
          <p:cNvSpPr/>
          <p:nvPr/>
        </p:nvSpPr>
        <p:spPr>
          <a:xfrm>
            <a:off x="1534231" y="2122464"/>
            <a:ext cx="1648853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스코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cope)3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측정과 공급망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글로벌 흐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FDCFF4E-52F2-4405-830D-8397F01D9889}"/>
              </a:ext>
            </a:extLst>
          </p:cNvPr>
          <p:cNvSpPr/>
          <p:nvPr/>
        </p:nvSpPr>
        <p:spPr>
          <a:xfrm>
            <a:off x="1544413" y="2485018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5.26</a:t>
            </a: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1306EBC7-6371-4EEE-A5C2-EDBF49D604A5}"/>
              </a:ext>
            </a:extLst>
          </p:cNvPr>
          <p:cNvSpPr/>
          <p:nvPr/>
        </p:nvSpPr>
        <p:spPr>
          <a:xfrm>
            <a:off x="1534231" y="2831513"/>
            <a:ext cx="1651728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공시 요건으로 시나리오 분석 요구한다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27081F3-170E-4EFF-9AB5-FF1BE45E9F53}"/>
              </a:ext>
            </a:extLst>
          </p:cNvPr>
          <p:cNvSpPr/>
          <p:nvPr/>
        </p:nvSpPr>
        <p:spPr>
          <a:xfrm>
            <a:off x="1544413" y="319406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1.10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6EBD985-61E9-4B7D-9C46-8AAA287CC49D}"/>
              </a:ext>
            </a:extLst>
          </p:cNvPr>
          <p:cNvSpPr/>
          <p:nvPr/>
        </p:nvSpPr>
        <p:spPr>
          <a:xfrm>
            <a:off x="576811" y="4092543"/>
            <a:ext cx="2609148" cy="144925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t">
            <a:noAutofit/>
          </a:bodyPr>
          <a:lstStyle/>
          <a:p>
            <a:pPr defTabSz="2437985">
              <a:lnSpc>
                <a:spcPct val="15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니 최대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철강사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상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없는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넷제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계획</a:t>
            </a:r>
            <a:endParaRPr lang="en-US" altLang="ko-KR" sz="850" b="1" spc="-2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, </a:t>
            </a:r>
            <a:r>
              <a:rPr lang="ko-KR" altLang="en-US" sz="850" b="1" spc="-2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림벌채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법안에 대한 미국의 반응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린 알루미늄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산량 늘어나면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부터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정부 에너지정책 토론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“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정 중심의 에너지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200000"/>
              </a:lnSpc>
            </a:pP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는 중국에 어떤 영향을 끼칠까</a:t>
            </a:r>
            <a:r>
              <a:rPr lang="en-US" altLang="ko-KR" sz="850" b="1" spc="-2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30109A2B-4FB1-43F3-B7EA-CCD13800E949}"/>
              </a:ext>
            </a:extLst>
          </p:cNvPr>
          <p:cNvSpPr/>
          <p:nvPr/>
        </p:nvSpPr>
        <p:spPr>
          <a:xfrm>
            <a:off x="3304621" y="336563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overnance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어떻게 시작하나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D78B3FC-C51D-41C2-AE5E-A467ADEAA5B9}"/>
              </a:ext>
            </a:extLst>
          </p:cNvPr>
          <p:cNvSpPr/>
          <p:nvPr/>
        </p:nvSpPr>
        <p:spPr>
          <a:xfrm>
            <a:off x="3312409" y="355525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한상공회의소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2.10.19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42B84D3-F9D1-4E26-A9B0-0F13A82D6595}"/>
              </a:ext>
            </a:extLst>
          </p:cNvPr>
          <p:cNvSpPr/>
          <p:nvPr/>
        </p:nvSpPr>
        <p:spPr>
          <a:xfrm>
            <a:off x="3307051" y="5157008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품 탄소발자국 측정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7045C0B-3A9F-40F1-8159-47E76D5C72E7}"/>
              </a:ext>
            </a:extLst>
          </p:cNvPr>
          <p:cNvSpPr/>
          <p:nvPr/>
        </p:nvSpPr>
        <p:spPr>
          <a:xfrm>
            <a:off x="3314839" y="5346627"/>
            <a:ext cx="2490034" cy="195506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2023.06.10</a:t>
            </a: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2AB9C2B6-E91E-4570-BF79-70CB46BDBD7C}"/>
              </a:ext>
            </a:extLst>
          </p:cNvPr>
          <p:cNvGrpSpPr/>
          <p:nvPr/>
        </p:nvGrpSpPr>
        <p:grpSpPr>
          <a:xfrm>
            <a:off x="3362651" y="2082713"/>
            <a:ext cx="2400100" cy="1206751"/>
            <a:chOff x="572915" y="4609097"/>
            <a:chExt cx="1376108" cy="842268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FC642DAA-ADBF-42F4-9FB0-86FA902A56C2}"/>
                </a:ext>
              </a:extLst>
            </p:cNvPr>
            <p:cNvSpPr/>
            <p:nvPr/>
          </p:nvSpPr>
          <p:spPr>
            <a:xfrm>
              <a:off x="577555" y="4609097"/>
              <a:ext cx="1368152" cy="84226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79C850D0-61B4-4ABF-9719-29C874748726}"/>
                </a:ext>
              </a:extLst>
            </p:cNvPr>
            <p:cNvCxnSpPr>
              <a:cxnSpLocks/>
            </p:cNvCxnSpPr>
            <p:nvPr/>
          </p:nvCxnSpPr>
          <p:spPr>
            <a:xfrm>
              <a:off x="580871" y="4614969"/>
              <a:ext cx="1357362" cy="8363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87F49ED9-5E39-477E-A720-B96754BAEC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915" y="4614969"/>
              <a:ext cx="1376108" cy="82928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CDCEB83A-FB6D-48BB-B3D5-66D432C8A850}"/>
              </a:ext>
            </a:extLst>
          </p:cNvPr>
          <p:cNvGrpSpPr/>
          <p:nvPr/>
        </p:nvGrpSpPr>
        <p:grpSpPr>
          <a:xfrm>
            <a:off x="3341354" y="3916834"/>
            <a:ext cx="2453584" cy="1198300"/>
            <a:chOff x="623392" y="4609097"/>
            <a:chExt cx="1368152" cy="68503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9C948932-DC43-410F-BDC8-B293E51DCBE9}"/>
                </a:ext>
              </a:extLst>
            </p:cNvPr>
            <p:cNvSpPr/>
            <p:nvPr/>
          </p:nvSpPr>
          <p:spPr>
            <a:xfrm>
              <a:off x="623392" y="4609097"/>
              <a:ext cx="1368152" cy="680858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82CA269F-4F23-42F5-8D3A-F51EE5219F16}"/>
                </a:ext>
              </a:extLst>
            </p:cNvPr>
            <p:cNvCxnSpPr/>
            <p:nvPr/>
          </p:nvCxnSpPr>
          <p:spPr>
            <a:xfrm>
              <a:off x="623392" y="4609098"/>
              <a:ext cx="1368152" cy="6808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4E736CAB-E6E9-4FDE-82F0-D28934239E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392" y="4609098"/>
              <a:ext cx="1368152" cy="6850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6D0CA06-0C49-409D-8E19-4CE4FEF3F681}"/>
              </a:ext>
            </a:extLst>
          </p:cNvPr>
          <p:cNvGrpSpPr/>
          <p:nvPr/>
        </p:nvGrpSpPr>
        <p:grpSpPr>
          <a:xfrm>
            <a:off x="6111762" y="2064133"/>
            <a:ext cx="1496181" cy="231036"/>
            <a:chOff x="6111987" y="1812034"/>
            <a:chExt cx="883137" cy="231036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7924744-F0B4-4725-92EC-76779B999CCE}"/>
                </a:ext>
              </a:extLst>
            </p:cNvPr>
            <p:cNvSpPr/>
            <p:nvPr/>
          </p:nvSpPr>
          <p:spPr>
            <a:xfrm>
              <a:off x="6145170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0E07BA36-E261-4BA7-B8E3-EE04B07A57F8}"/>
                </a:ext>
              </a:extLst>
            </p:cNvPr>
            <p:cNvSpPr/>
            <p:nvPr/>
          </p:nvSpPr>
          <p:spPr>
            <a:xfrm>
              <a:off x="6111987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FEA6C9A-4541-43E3-A333-F3205F7A6F84}"/>
              </a:ext>
            </a:extLst>
          </p:cNvPr>
          <p:cNvGrpSpPr/>
          <p:nvPr/>
        </p:nvGrpSpPr>
        <p:grpSpPr>
          <a:xfrm>
            <a:off x="6066042" y="3188799"/>
            <a:ext cx="1496181" cy="231036"/>
            <a:chOff x="6084999" y="1812034"/>
            <a:chExt cx="883137" cy="2310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0971EB1-338C-4498-AF17-4F0FA55E9E14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B94517F-9EA4-4C36-88E6-0A2E6F6E3E12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구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보고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F5E5E4E-CE2C-4508-9C63-48EBA26699E0}"/>
              </a:ext>
            </a:extLst>
          </p:cNvPr>
          <p:cNvSpPr/>
          <p:nvPr/>
        </p:nvSpPr>
        <p:spPr>
          <a:xfrm>
            <a:off x="6140814" y="2279713"/>
            <a:ext cx="2490034" cy="71441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TI (Carbon Tracker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SBTi (Science Based Targets Initiative)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CDP (Carbon Disclosure Project)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0DE82D85-7867-4CBB-AE4B-B773CAB9125D}"/>
              </a:ext>
            </a:extLst>
          </p:cNvPr>
          <p:cNvSpPr/>
          <p:nvPr/>
        </p:nvSpPr>
        <p:spPr>
          <a:xfrm>
            <a:off x="6140813" y="343466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   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05" name="Picture 2" descr="2023년 시범도입! EU의 탄소국경조정제도란? – 한국에너지공단 블로그">
            <a:extLst>
              <a:ext uri="{FF2B5EF4-FFF2-40B4-BE49-F238E27FC236}">
                <a16:creationId xmlns:a16="http://schemas.microsoft.com/office/drawing/2014/main" id="{74A2F2B9-C56F-4A4B-B1BA-AC1F53B1C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43" y="2123186"/>
            <a:ext cx="903695" cy="53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특집] 탄소배출권거래제 시행 5년, 현주소는">
            <a:extLst>
              <a:ext uri="{FF2B5EF4-FFF2-40B4-BE49-F238E27FC236}">
                <a16:creationId xmlns:a16="http://schemas.microsoft.com/office/drawing/2014/main" id="{9A5F061A-6C4B-4ABB-B55A-3EB06069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17" y="2813168"/>
            <a:ext cx="881873" cy="55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88485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 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등을 주요 주제별로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 화면 구성 필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/S/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주제별로 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화면 구성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89076D3-9817-4C35-B6CF-A265009B6AB4}"/>
              </a:ext>
            </a:extLst>
          </p:cNvPr>
          <p:cNvGrpSpPr/>
          <p:nvPr/>
        </p:nvGrpSpPr>
        <p:grpSpPr>
          <a:xfrm>
            <a:off x="8827515" y="1518147"/>
            <a:ext cx="152360" cy="4896000"/>
            <a:chOff x="9201470" y="1601344"/>
            <a:chExt cx="188140" cy="4198758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E2188C-23B0-4F4F-BE9B-9280C6C5E1A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EA06FA45-E8BF-4BE0-8F6D-1235EE6AEB6D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FF8313DA-C414-40ED-B3DA-C67A86035CF4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5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E83E1B2-49DA-4883-BC1A-CE089BC6AC5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4E1424C2-C27C-4F71-8276-0A805E192A5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F8D80C6-177A-4744-9D06-61C81A54F058}"/>
              </a:ext>
            </a:extLst>
          </p:cNvPr>
          <p:cNvSpPr/>
          <p:nvPr/>
        </p:nvSpPr>
        <p:spPr>
          <a:xfrm>
            <a:off x="1534231" y="3511063"/>
            <a:ext cx="1703706" cy="33449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 금융안정감독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리스크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자문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FRAC)…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7D521382-514E-4C2B-BC48-369EF67AC22B}"/>
              </a:ext>
            </a:extLst>
          </p:cNvPr>
          <p:cNvSpPr/>
          <p:nvPr/>
        </p:nvSpPr>
        <p:spPr>
          <a:xfrm>
            <a:off x="1544413" y="3873617"/>
            <a:ext cx="1524627" cy="187969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.10.26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7D8EBC-F6E7-419F-8BC2-6A878DBA74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730" y="3483709"/>
            <a:ext cx="890115" cy="548097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C4CD4AE2-3B21-45B5-8704-5EAFF27F0F5D}"/>
              </a:ext>
            </a:extLst>
          </p:cNvPr>
          <p:cNvSpPr/>
          <p:nvPr/>
        </p:nvSpPr>
        <p:spPr>
          <a:xfrm>
            <a:off x="6248606" y="3530537"/>
            <a:ext cx="372846" cy="122504"/>
          </a:xfrm>
          <a:prstGeom prst="roundRect">
            <a:avLst>
              <a:gd name="adj" fmla="val 12002"/>
            </a:avLst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algn="ctr"/>
            <a:r>
              <a:rPr lang="en-US" altLang="ko-KR" sz="750" b="1" spc="-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lassified</a:t>
            </a:r>
            <a:endParaRPr lang="ko-KR" altLang="en-US" sz="750" b="1" spc="-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88AF935-8FF1-40A0-AF0F-74C6AD077FE6}"/>
              </a:ext>
            </a:extLst>
          </p:cNvPr>
          <p:cNvSpPr/>
          <p:nvPr/>
        </p:nvSpPr>
        <p:spPr>
          <a:xfrm>
            <a:off x="374179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37DF4A6D-CD90-4051-86EE-FB8E1D940123}"/>
              </a:ext>
            </a:extLst>
          </p:cNvPr>
          <p:cNvSpPr/>
          <p:nvPr/>
        </p:nvSpPr>
        <p:spPr>
          <a:xfrm>
            <a:off x="113892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BF8240C1-6738-46C1-8CEC-A49C430B7B90}"/>
              </a:ext>
            </a:extLst>
          </p:cNvPr>
          <p:cNvSpPr/>
          <p:nvPr/>
        </p:nvSpPr>
        <p:spPr>
          <a:xfrm>
            <a:off x="415510" y="1944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46FDA7C-DC4E-4DF7-BAFD-663430761E24}"/>
              </a:ext>
            </a:extLst>
          </p:cNvPr>
          <p:cNvSpPr/>
          <p:nvPr/>
        </p:nvSpPr>
        <p:spPr>
          <a:xfrm>
            <a:off x="3169877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A4404A3-3197-49D2-A803-531E65638B50}"/>
              </a:ext>
            </a:extLst>
          </p:cNvPr>
          <p:cNvSpPr/>
          <p:nvPr/>
        </p:nvSpPr>
        <p:spPr>
          <a:xfrm>
            <a:off x="4166005" y="1603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D76F2077-F3BB-469A-A61B-22F2D7FB0CE3}"/>
              </a:ext>
            </a:extLst>
          </p:cNvPr>
          <p:cNvSpPr/>
          <p:nvPr/>
        </p:nvSpPr>
        <p:spPr>
          <a:xfrm>
            <a:off x="3204309" y="19448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DDD5FD3-AE0D-4214-9FD5-76F44EFE5134}"/>
              </a:ext>
            </a:extLst>
          </p:cNvPr>
          <p:cNvSpPr/>
          <p:nvPr/>
        </p:nvSpPr>
        <p:spPr>
          <a:xfrm>
            <a:off x="6014143" y="160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454BEBE-EDAF-4CCB-8207-9891F504952B}"/>
              </a:ext>
            </a:extLst>
          </p:cNvPr>
          <p:cNvSpPr/>
          <p:nvPr/>
        </p:nvSpPr>
        <p:spPr>
          <a:xfrm>
            <a:off x="6994226" y="1597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8E7E023F-7455-49B5-BD06-104ADE38DB8D}"/>
              </a:ext>
            </a:extLst>
          </p:cNvPr>
          <p:cNvSpPr/>
          <p:nvPr/>
        </p:nvSpPr>
        <p:spPr>
          <a:xfrm>
            <a:off x="5979579" y="1936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59AD3114-D6B4-4989-916C-B3B3D09336A0}"/>
              </a:ext>
            </a:extLst>
          </p:cNvPr>
          <p:cNvSpPr/>
          <p:nvPr/>
        </p:nvSpPr>
        <p:spPr>
          <a:xfrm>
            <a:off x="9261228" y="775151"/>
            <a:ext cx="2917256" cy="4719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최신동향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영상모음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료모음 공통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-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에서 해당 토픽과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매핑된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를 우선순위순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&gt;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발간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일 최신순으로 자동 출력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 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BO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컨텐츠 등록화면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05), 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탭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추천컨텐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ID:M012) 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참고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17" name="표 116">
            <a:extLst>
              <a:ext uri="{FF2B5EF4-FFF2-40B4-BE49-F238E27FC236}">
                <a16:creationId xmlns:a16="http://schemas.microsoft.com/office/drawing/2014/main" id="{677F5FA6-2ECA-4720-AC7B-90B6D985A722}"/>
              </a:ext>
            </a:extLst>
          </p:cNvPr>
          <p:cNvGraphicFramePr>
            <a:graphicFrameLocks noGrp="1"/>
          </p:cNvGraphicFramePr>
          <p:nvPr/>
        </p:nvGraphicFramePr>
        <p:xfrm>
          <a:off x="9672588" y="2393005"/>
          <a:ext cx="245190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3932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347971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9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모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8] 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</a:tbl>
          </a:graphicData>
        </a:graphic>
      </p:graphicFrame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1F47AEF1-50DB-42F7-8970-8B784AEEC511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860AB68A-01C9-4134-8EE8-637FEA78863A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5C73F373-2E07-40D7-BBF8-5CF56D4CBAA1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5CC9B3F7-FFBC-45AE-8C9C-8ACE59958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E763F3D4-4248-4F17-9C3F-E25D30CEF4B7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87307C07-3F03-41C3-AF4C-34BD32AA84B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91118DDF-9D06-48B0-A9FA-64D6CA607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C92CF049-ECD1-4781-95D2-CAD91330FC7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70C2E2A-EF87-4775-904F-E66D2B8D5C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A11A1111-4BA5-489D-927C-899651C114C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B5BAABD-A128-4965-BFDF-3298B5E120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2408" y="2105925"/>
            <a:ext cx="2465788" cy="1215223"/>
          </a:xfrm>
          <a:prstGeom prst="rect">
            <a:avLst/>
          </a:prstGeom>
        </p:spPr>
      </p:pic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66FE9C4E-C427-4120-8606-0AC35D31F95D}"/>
              </a:ext>
            </a:extLst>
          </p:cNvPr>
          <p:cNvSpPr/>
          <p:nvPr/>
        </p:nvSpPr>
        <p:spPr>
          <a:xfrm>
            <a:off x="4939791" y="3102316"/>
            <a:ext cx="824131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140" name="그림 139">
            <a:extLst>
              <a:ext uri="{FF2B5EF4-FFF2-40B4-BE49-F238E27FC236}">
                <a16:creationId xmlns:a16="http://schemas.microsoft.com/office/drawing/2014/main" id="{8F365BAB-3F18-4048-AECB-7D4E2E37E1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98579" y="642189"/>
            <a:ext cx="2825825" cy="337727"/>
          </a:xfrm>
          <a:prstGeom prst="rect">
            <a:avLst/>
          </a:prstGeom>
        </p:spPr>
      </p:pic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33639EC2-AA83-4CF6-B734-43A9ED11BE31}"/>
              </a:ext>
            </a:extLst>
          </p:cNvPr>
          <p:cNvGrpSpPr/>
          <p:nvPr/>
        </p:nvGrpSpPr>
        <p:grpSpPr>
          <a:xfrm>
            <a:off x="6071830" y="4461669"/>
            <a:ext cx="1496181" cy="231036"/>
            <a:chOff x="6084999" y="1812034"/>
            <a:chExt cx="883137" cy="231036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A2EC91BD-45A4-4864-82C8-DBB2476FC33C}"/>
                </a:ext>
              </a:extLst>
            </p:cNvPr>
            <p:cNvSpPr/>
            <p:nvPr/>
          </p:nvSpPr>
          <p:spPr>
            <a:xfrm>
              <a:off x="6172158" y="1834465"/>
              <a:ext cx="762796" cy="18617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2EAE1ED9-7452-45E1-A6C2-F0B095B5D4F5}"/>
                </a:ext>
              </a:extLst>
            </p:cNvPr>
            <p:cNvSpPr/>
            <p:nvPr/>
          </p:nvSpPr>
          <p:spPr>
            <a:xfrm>
              <a:off x="6084999" y="1812034"/>
              <a:ext cx="883137" cy="23103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ctr">
              <a:noAutofit/>
            </a:bodyPr>
            <a:lstStyle/>
            <a:p>
              <a:pPr algn="ctr">
                <a:lnSpc>
                  <a:spcPct val="13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법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〮 제도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7" name="사각형: 둥근 모서리 156">
            <a:extLst>
              <a:ext uri="{FF2B5EF4-FFF2-40B4-BE49-F238E27FC236}">
                <a16:creationId xmlns:a16="http://schemas.microsoft.com/office/drawing/2014/main" id="{F3AE0A8A-22FD-44BA-BA77-EBE563C8890A}"/>
              </a:ext>
            </a:extLst>
          </p:cNvPr>
          <p:cNvSpPr/>
          <p:nvPr/>
        </p:nvSpPr>
        <p:spPr>
          <a:xfrm>
            <a:off x="6146601" y="4707533"/>
            <a:ext cx="2597149" cy="942447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 탄소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증가하는 피해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EU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국경세 도입에 대한 우리 수출기업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  <a:p>
            <a:pPr defTabSz="2437985">
              <a:lnSpc>
                <a:spcPct val="18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저소득국가의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탄소세장려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세금환급과 탄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pic>
        <p:nvPicPr>
          <p:cNvPr id="141" name="그림 140">
            <a:extLst>
              <a:ext uri="{FF2B5EF4-FFF2-40B4-BE49-F238E27FC236}">
                <a16:creationId xmlns:a16="http://schemas.microsoft.com/office/drawing/2014/main" id="{4A7F4FD0-70DA-44F4-8D10-5F4E3D6FA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1695" y="5077528"/>
            <a:ext cx="8467211" cy="1093789"/>
          </a:xfrm>
          <a:prstGeom prst="rect">
            <a:avLst/>
          </a:prstGeom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08DCB476-6E51-4FD7-9F02-FD86948906F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4474912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ESG </a:t>
            </a:r>
            <a:r>
              <a:rPr lang="ko-KR" altLang="en-US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공시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446668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그룹 8">
            <a:extLst>
              <a:ext uri="{FF2B5EF4-FFF2-40B4-BE49-F238E27FC236}">
                <a16:creationId xmlns:a16="http://schemas.microsoft.com/office/drawing/2014/main" id="{10A9B6B1-9402-4284-9483-5D7A45F2E69D}"/>
              </a:ext>
            </a:extLst>
          </p:cNvPr>
          <p:cNvGrpSpPr/>
          <p:nvPr/>
        </p:nvGrpSpPr>
        <p:grpSpPr>
          <a:xfrm>
            <a:off x="737592" y="748139"/>
            <a:ext cx="5328592" cy="4911900"/>
            <a:chOff x="572582" y="996631"/>
            <a:chExt cx="4226525" cy="3553364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75D60552-8081-41AE-A264-3471D9810C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2582" y="996631"/>
              <a:ext cx="4189500" cy="1767123"/>
            </a:xfrm>
            <a:prstGeom prst="rect">
              <a:avLst/>
            </a:prstGeom>
          </p:spPr>
        </p:pic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417B39A7-2187-4FF5-88C6-4E229D3E1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2582" y="2782870"/>
              <a:ext cx="4226525" cy="1767125"/>
            </a:xfrm>
            <a:prstGeom prst="rect">
              <a:avLst/>
            </a:prstGeom>
          </p:spPr>
        </p:pic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08B65E15-1F01-446D-ACCE-C9CCB46ECD91}"/>
              </a:ext>
            </a:extLst>
          </p:cNvPr>
          <p:cNvSpPr txBox="1"/>
          <p:nvPr/>
        </p:nvSpPr>
        <p:spPr>
          <a:xfrm>
            <a:off x="192456" y="275011"/>
            <a:ext cx="4392488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altLang="ko-KR" sz="12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12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 화면 구성</a:t>
            </a:r>
            <a:endParaRPr lang="en-US" altLang="ko-KR" sz="12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33186B-7C21-4B4D-84FE-CC09D0DC33C9}"/>
              </a:ext>
            </a:extLst>
          </p:cNvPr>
          <p:cNvSpPr/>
          <p:nvPr/>
        </p:nvSpPr>
        <p:spPr>
          <a:xfrm>
            <a:off x="6054298" y="1175690"/>
            <a:ext cx="1137270" cy="220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Header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475F6468-A47C-4929-A06C-88B3DC7AE488}"/>
              </a:ext>
            </a:extLst>
          </p:cNvPr>
          <p:cNvSpPr/>
          <p:nvPr/>
        </p:nvSpPr>
        <p:spPr>
          <a:xfrm>
            <a:off x="7960292" y="778396"/>
            <a:ext cx="3188314" cy="53012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kumimoji="0" lang="ko-KR" altLang="en-US" sz="800" b="1" i="0" u="none" strike="sng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사이드바 </a:t>
            </a:r>
            <a:r>
              <a:rPr kumimoji="0" lang="ko-KR" altLang="en-US" sz="800" b="1" i="0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기준서 선택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Bar</a:t>
            </a:r>
            <a:r>
              <a:rPr kumimoji="0" lang="ko-KR" altLang="en-US" sz="800" b="1" i="0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기능 추가하여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 기준서 리스트 출력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0518DA9-30BD-4EC1-8A2F-595F14295BAB}"/>
              </a:ext>
            </a:extLst>
          </p:cNvPr>
          <p:cNvSpPr/>
          <p:nvPr/>
        </p:nvSpPr>
        <p:spPr>
          <a:xfrm>
            <a:off x="8056045" y="1281217"/>
            <a:ext cx="1801748" cy="465566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주요 공시 안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GRI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Global Reporting Initiative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ISSB 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International Sustainability Standards Board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TCFD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Task Force on Climate-related Financial Disclosures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TNFD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Taskforce on Nature-related Financial Disclosures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CSRD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Corporate Sustainability Reporting Directive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EC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Securities and Exchange Commission</a:t>
            </a: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88FBACD3-6015-42B0-8A34-E06BFC0C4D60}"/>
              </a:ext>
            </a:extLst>
          </p:cNvPr>
          <p:cNvCxnSpPr>
            <a:cxnSpLocks/>
          </p:cNvCxnSpPr>
          <p:nvPr/>
        </p:nvCxnSpPr>
        <p:spPr>
          <a:xfrm>
            <a:off x="6070908" y="1918707"/>
            <a:ext cx="277366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A6243A31-14F7-4E88-9023-B062E587745D}"/>
              </a:ext>
            </a:extLst>
          </p:cNvPr>
          <p:cNvCxnSpPr>
            <a:cxnSpLocks/>
          </p:cNvCxnSpPr>
          <p:nvPr/>
        </p:nvCxnSpPr>
        <p:spPr>
          <a:xfrm>
            <a:off x="6251431" y="6025197"/>
            <a:ext cx="277366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B97AD62F-B247-479B-823F-D68E363B5F37}"/>
              </a:ext>
            </a:extLst>
          </p:cNvPr>
          <p:cNvSpPr/>
          <p:nvPr/>
        </p:nvSpPr>
        <p:spPr>
          <a:xfrm>
            <a:off x="5215318" y="10241396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3A860521-B3FF-40C2-A605-F1C2D507FAC0}"/>
              </a:ext>
            </a:extLst>
          </p:cNvPr>
          <p:cNvCxnSpPr>
            <a:cxnSpLocks/>
          </p:cNvCxnSpPr>
          <p:nvPr/>
        </p:nvCxnSpPr>
        <p:spPr>
          <a:xfrm>
            <a:off x="6214919" y="1918707"/>
            <a:ext cx="0" cy="3321541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C7179E7A-875F-4C52-AF69-0734786F2F93}"/>
              </a:ext>
            </a:extLst>
          </p:cNvPr>
          <p:cNvCxnSpPr>
            <a:cxnSpLocks/>
          </p:cNvCxnSpPr>
          <p:nvPr/>
        </p:nvCxnSpPr>
        <p:spPr>
          <a:xfrm>
            <a:off x="742919" y="2265824"/>
            <a:ext cx="5472000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6375FA89-6591-4CF8-A937-6768B42EFE83}"/>
              </a:ext>
            </a:extLst>
          </p:cNvPr>
          <p:cNvCxnSpPr>
            <a:cxnSpLocks/>
          </p:cNvCxnSpPr>
          <p:nvPr/>
        </p:nvCxnSpPr>
        <p:spPr>
          <a:xfrm>
            <a:off x="737592" y="1052736"/>
            <a:ext cx="61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5ECCDD59-B22D-44FB-9408-9785F42D197F}"/>
              </a:ext>
            </a:extLst>
          </p:cNvPr>
          <p:cNvSpPr/>
          <p:nvPr/>
        </p:nvSpPr>
        <p:spPr>
          <a:xfrm>
            <a:off x="6348274" y="1915155"/>
            <a:ext cx="2293157" cy="3221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본문영역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기준서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선택값에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 따라 화면 분기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02CA6C16-8F68-4A5E-8365-BFC585B5E526}"/>
              </a:ext>
            </a:extLst>
          </p:cNvPr>
          <p:cNvCxnSpPr>
            <a:cxnSpLocks/>
          </p:cNvCxnSpPr>
          <p:nvPr/>
        </p:nvCxnSpPr>
        <p:spPr>
          <a:xfrm>
            <a:off x="737592" y="5296541"/>
            <a:ext cx="6222504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98ED3043-ABF4-446F-BD87-7CAE34BE6F92}"/>
              </a:ext>
            </a:extLst>
          </p:cNvPr>
          <p:cNvCxnSpPr>
            <a:cxnSpLocks/>
          </p:cNvCxnSpPr>
          <p:nvPr/>
        </p:nvCxnSpPr>
        <p:spPr>
          <a:xfrm>
            <a:off x="3804871" y="6381328"/>
            <a:ext cx="3386697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B39A751-6F4E-4F66-99A8-49D7EF698C5B}"/>
              </a:ext>
            </a:extLst>
          </p:cNvPr>
          <p:cNvSpPr/>
          <p:nvPr/>
        </p:nvSpPr>
        <p:spPr>
          <a:xfrm>
            <a:off x="9887608" y="1279920"/>
            <a:ext cx="1068542" cy="465566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진입화면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R001)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R002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R003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R010</a:t>
            </a:r>
          </a:p>
          <a:p>
            <a:pPr marL="171450" indent="-171450" defTabSz="914400">
              <a:lnSpc>
                <a:spcPct val="130000"/>
              </a:lnSpc>
              <a:buFontTx/>
              <a:buChar char="-"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171450" indent="-171450" defTabSz="914400">
              <a:lnSpc>
                <a:spcPct val="130000"/>
              </a:lnSpc>
              <a:buFontTx/>
              <a:buChar char="-"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171450" indent="-171450" defTabSz="914400">
              <a:lnSpc>
                <a:spcPct val="130000"/>
              </a:lnSpc>
              <a:buFontTx/>
              <a:buChar char="-"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R009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R008 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R004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F810DE9-63D0-42CB-A02D-0B0C1BFBC196}"/>
              </a:ext>
            </a:extLst>
          </p:cNvPr>
          <p:cNvSpPr/>
          <p:nvPr/>
        </p:nvSpPr>
        <p:spPr>
          <a:xfrm>
            <a:off x="8988732" y="-6823"/>
            <a:ext cx="3218221" cy="7852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공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증 화면 구조 현행화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준서 선택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BAR </a:t>
            </a: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   ESG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공시보고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GRI, ISSB, CSRD, SEC, TCFD, TNFD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순으로 출력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919B4121-287D-4C08-B210-EA8FE2F4509A}"/>
              </a:ext>
            </a:extLst>
          </p:cNvPr>
          <p:cNvCxnSpPr>
            <a:cxnSpLocks/>
          </p:cNvCxnSpPr>
          <p:nvPr/>
        </p:nvCxnSpPr>
        <p:spPr>
          <a:xfrm>
            <a:off x="737592" y="1509853"/>
            <a:ext cx="61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3C015CF2-8CC4-4E3A-A61D-46701A551B2F}"/>
              </a:ext>
            </a:extLst>
          </p:cNvPr>
          <p:cNvCxnSpPr>
            <a:cxnSpLocks/>
          </p:cNvCxnSpPr>
          <p:nvPr/>
        </p:nvCxnSpPr>
        <p:spPr>
          <a:xfrm>
            <a:off x="737592" y="1862076"/>
            <a:ext cx="61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31A0EF1A-BB2A-4781-B11D-EFD30693A72E}"/>
              </a:ext>
            </a:extLst>
          </p:cNvPr>
          <p:cNvSpPr/>
          <p:nvPr/>
        </p:nvSpPr>
        <p:spPr>
          <a:xfrm>
            <a:off x="6036584" y="1580075"/>
            <a:ext cx="1137270" cy="220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기준서 선택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Bar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D6474891-6FBF-4358-86D5-39734B2E472C}"/>
              </a:ext>
            </a:extLst>
          </p:cNvPr>
          <p:cNvCxnSpPr>
            <a:cxnSpLocks/>
          </p:cNvCxnSpPr>
          <p:nvPr/>
        </p:nvCxnSpPr>
        <p:spPr>
          <a:xfrm>
            <a:off x="6076236" y="5240248"/>
            <a:ext cx="277366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>
            <a:extLst>
              <a:ext uri="{FF2B5EF4-FFF2-40B4-BE49-F238E27FC236}">
                <a16:creationId xmlns:a16="http://schemas.microsoft.com/office/drawing/2014/main" id="{3EF287C9-86CD-48AF-81C0-7AF7BF4C8A4E}"/>
              </a:ext>
            </a:extLst>
          </p:cNvPr>
          <p:cNvCxnSpPr>
            <a:cxnSpLocks/>
          </p:cNvCxnSpPr>
          <p:nvPr/>
        </p:nvCxnSpPr>
        <p:spPr>
          <a:xfrm>
            <a:off x="737591" y="2004080"/>
            <a:ext cx="5472000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49EF26DE-2C82-44A9-AFD4-282D9D199733}"/>
              </a:ext>
            </a:extLst>
          </p:cNvPr>
          <p:cNvSpPr/>
          <p:nvPr/>
        </p:nvSpPr>
        <p:spPr>
          <a:xfrm>
            <a:off x="5825341" y="1995905"/>
            <a:ext cx="570706" cy="270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제목</a:t>
            </a:r>
          </a:p>
        </p:txBody>
      </p:sp>
      <p:cxnSp>
        <p:nvCxnSpPr>
          <p:cNvPr id="55" name="직선 연결선 54">
            <a:extLst>
              <a:ext uri="{FF2B5EF4-FFF2-40B4-BE49-F238E27FC236}">
                <a16:creationId xmlns:a16="http://schemas.microsoft.com/office/drawing/2014/main" id="{C361681C-3509-45B1-9329-395FCF1E82C4}"/>
              </a:ext>
            </a:extLst>
          </p:cNvPr>
          <p:cNvCxnSpPr>
            <a:cxnSpLocks/>
          </p:cNvCxnSpPr>
          <p:nvPr/>
        </p:nvCxnSpPr>
        <p:spPr>
          <a:xfrm>
            <a:off x="742919" y="2636912"/>
            <a:ext cx="5472000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9128503F-C3CE-4B92-98FF-05D805DCFF59}"/>
              </a:ext>
            </a:extLst>
          </p:cNvPr>
          <p:cNvSpPr/>
          <p:nvPr/>
        </p:nvSpPr>
        <p:spPr>
          <a:xfrm>
            <a:off x="5831859" y="2323799"/>
            <a:ext cx="570706" cy="270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개요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E6559869-6762-4E3C-B31F-F6615D00EDD5}"/>
              </a:ext>
            </a:extLst>
          </p:cNvPr>
          <p:cNvSpPr/>
          <p:nvPr/>
        </p:nvSpPr>
        <p:spPr>
          <a:xfrm>
            <a:off x="5663952" y="2770044"/>
            <a:ext cx="432047" cy="495345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EB8E608A-159F-4CC4-84E4-1B35B7C624D9}"/>
              </a:ext>
            </a:extLst>
          </p:cNvPr>
          <p:cNvCxnSpPr>
            <a:cxnSpLocks/>
          </p:cNvCxnSpPr>
          <p:nvPr/>
        </p:nvCxnSpPr>
        <p:spPr>
          <a:xfrm>
            <a:off x="732634" y="2924944"/>
            <a:ext cx="5472000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18E90E21-F6A2-4F02-96FB-2D7C8B8288E8}"/>
              </a:ext>
            </a:extLst>
          </p:cNvPr>
          <p:cNvSpPr/>
          <p:nvPr/>
        </p:nvSpPr>
        <p:spPr>
          <a:xfrm>
            <a:off x="5644213" y="2653654"/>
            <a:ext cx="570706" cy="270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Tap Bar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cxnSp>
        <p:nvCxnSpPr>
          <p:cNvPr id="60" name="직선 연결선 59">
            <a:extLst>
              <a:ext uri="{FF2B5EF4-FFF2-40B4-BE49-F238E27FC236}">
                <a16:creationId xmlns:a16="http://schemas.microsoft.com/office/drawing/2014/main" id="{5BD763EA-7EBA-442F-AD57-3144C8DFFAC3}"/>
              </a:ext>
            </a:extLst>
          </p:cNvPr>
          <p:cNvCxnSpPr>
            <a:cxnSpLocks/>
          </p:cNvCxnSpPr>
          <p:nvPr/>
        </p:nvCxnSpPr>
        <p:spPr>
          <a:xfrm>
            <a:off x="732634" y="5156056"/>
            <a:ext cx="5472000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245D7EB7-B53B-454C-9982-1A10D15DF041}"/>
              </a:ext>
            </a:extLst>
          </p:cNvPr>
          <p:cNvSpPr/>
          <p:nvPr/>
        </p:nvSpPr>
        <p:spPr>
          <a:xfrm>
            <a:off x="5515411" y="3553419"/>
            <a:ext cx="730328" cy="270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Tap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별 컨텐츠 출력</a:t>
            </a:r>
          </a:p>
        </p:txBody>
      </p:sp>
    </p:spTree>
    <p:extLst>
      <p:ext uri="{BB962C8B-B14F-4D97-AF65-F5344CB8AC3E}">
        <p14:creationId xmlns:p14="http://schemas.microsoft.com/office/powerpoint/2010/main" val="3001770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HOME</a:t>
            </a:r>
            <a:endParaRPr lang="ko-KR" altLang="en-US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239239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611074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및 관련 기관 설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 의무화 일정 등 기술한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24478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044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기준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가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기준서 페이지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GRI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‘(R002)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ISSB: ‘(R003) ISS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CSRD: ‘’(R008) CSR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SEC: ‘’(R004) SEC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NFD: ‘’(R009) TNF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TCFD: ‘’(R010) TCF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안내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5" name="표 6">
            <a:extLst>
              <a:ext uri="{FF2B5EF4-FFF2-40B4-BE49-F238E27FC236}">
                <a16:creationId xmlns:a16="http://schemas.microsoft.com/office/drawing/2014/main" id="{DEC10508-4288-4231-BE77-C0AE394BFA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29388"/>
              </p:ext>
            </p:extLst>
          </p:nvPr>
        </p:nvGraphicFramePr>
        <p:xfrm>
          <a:off x="474268" y="2972034"/>
          <a:ext cx="8358036" cy="2961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597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234592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186512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1662472">
                  <a:extLst>
                    <a:ext uri="{9D8B030D-6E8A-4147-A177-3AD203B41FA5}">
                      <a16:colId xmlns:a16="http://schemas.microsoft.com/office/drawing/2014/main" val="1448163722"/>
                    </a:ext>
                  </a:extLst>
                </a:gridCol>
                <a:gridCol w="800863">
                  <a:extLst>
                    <a:ext uri="{9D8B030D-6E8A-4147-A177-3AD203B41FA5}">
                      <a16:colId xmlns:a16="http://schemas.microsoft.com/office/drawing/2014/main" val="3334921234"/>
                    </a:ext>
                  </a:extLst>
                </a:gridCol>
              </a:tblGrid>
              <a:tr h="23132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기준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370127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제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Global Reporting Initiative) </a:t>
                      </a:r>
                      <a:b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보고서 작성에 대한 가이드라인 제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globalreporting.</a:t>
                      </a:r>
                      <a:b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rg/standards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3701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International Sustainability Standards Board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FRS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제재무보고기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단 산하의 위원회로서 지속가능성 공시를 위한 기준 제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ifrs.org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123359"/>
                  </a:ext>
                </a:extLst>
              </a:tr>
              <a:tr h="5089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Taskforce on Nature-related Financial Disclosures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20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에 따라 국제 재무안정위원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FSB)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의해 설립되었으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과 투자자가 자연에 대한 재무영향을 관리할 수 있도록 관련 재무 정보의 표준화와 투명성 촉진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framework.tnfd.global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361792"/>
                  </a:ext>
                </a:extLst>
              </a:tr>
              <a:tr h="3701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Task Force on Climate-Related Financial Disclosures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의 기후 위험 및 기회 정보의 공개 필요성을 강조하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변화 관련 위험과 기회에 대한 평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 지침을 제공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fsb-tcfd.org/publications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075231"/>
                  </a:ext>
                </a:extLst>
              </a:tr>
              <a:tr h="3701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</a:t>
                      </a:r>
                      <a:endParaRPr lang="ko-KR" altLang="en-US" sz="10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Corporate Sustainability Reporting Directive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럽 재무보고자문그룹에서 제공하는 기업지속가능성에 대한 보고지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finance.ec.europa.eu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370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Securities and Exchange Commission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증권거래위원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9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안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 상장기업들을 대상으로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기준 및 방안을 제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sec.gov/</a:t>
                      </a:r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5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0" u="sng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70C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 가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370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SSB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Korea sustainability Standards Board)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회계기준원이 유관기관과 협력하여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국제지속가능성 기준을 검토하여 한국 공시기준으로 제정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endParaRPr lang="ko-KR" altLang="en-US" sz="900" b="0" u="sng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70C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183072"/>
                  </a:ext>
                </a:extLst>
              </a:tr>
            </a:tbl>
          </a:graphicData>
        </a:graphic>
      </p:graphicFrame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335C3E54-F819-482A-AAE2-182FAED61E66}"/>
              </a:ext>
            </a:extLst>
          </p:cNvPr>
          <p:cNvSpPr/>
          <p:nvPr/>
        </p:nvSpPr>
        <p:spPr>
          <a:xfrm>
            <a:off x="401332" y="2716158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기관별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보고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96D2B81D-DBC2-4E15-88C6-C46F0376C989}"/>
              </a:ext>
            </a:extLst>
          </p:cNvPr>
          <p:cNvSpPr/>
          <p:nvPr/>
        </p:nvSpPr>
        <p:spPr>
          <a:xfrm>
            <a:off x="418943" y="6067974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의무화 추진</a:t>
            </a: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1D268D9A-3D26-42AA-844A-FAEF6258403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EC29B2B7-35CD-4709-9582-98E92252A7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5718E162-FD06-4E41-81A2-AEF02E59F49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3C1A3C54-28F1-4485-9F81-A753165EF4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9989C151-CEF0-46E4-A340-1830D168EF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1CFC9546-0626-4331-BF69-065B4A62D890}"/>
              </a:ext>
            </a:extLst>
          </p:cNvPr>
          <p:cNvSpPr/>
          <p:nvPr/>
        </p:nvSpPr>
        <p:spPr>
          <a:xfrm>
            <a:off x="8039270" y="2978233"/>
            <a:ext cx="793034" cy="2945727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6B03A11A-8AFF-488E-924A-0254773203AB}"/>
              </a:ext>
            </a:extLst>
          </p:cNvPr>
          <p:cNvSpPr/>
          <p:nvPr/>
        </p:nvSpPr>
        <p:spPr>
          <a:xfrm>
            <a:off x="8082647" y="3565572"/>
            <a:ext cx="694135" cy="89769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72B24D20-0D23-4EA1-87B4-AD26442DF02D}"/>
              </a:ext>
            </a:extLst>
          </p:cNvPr>
          <p:cNvSpPr/>
          <p:nvPr/>
        </p:nvSpPr>
        <p:spPr>
          <a:xfrm>
            <a:off x="9003686" y="0"/>
            <a:ext cx="3188314" cy="11247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관련 기준서 컬럼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9.01&gt;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ESG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공시화면 전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–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준서 선택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Bar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화면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6577EA1E-B272-4297-B884-E00C8FF6C61D}"/>
              </a:ext>
            </a:extLst>
          </p:cNvPr>
          <p:cNvSpPr/>
          <p:nvPr/>
        </p:nvSpPr>
        <p:spPr>
          <a:xfrm>
            <a:off x="6272666" y="2900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2DB64ED7-6138-4A8C-9520-76187198F957}"/>
              </a:ext>
            </a:extLst>
          </p:cNvPr>
          <p:cNvSpPr/>
          <p:nvPr/>
        </p:nvSpPr>
        <p:spPr>
          <a:xfrm>
            <a:off x="7999912" y="28990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1A6DF13-E0B8-423A-A7DA-701A8DE38482}"/>
              </a:ext>
            </a:extLst>
          </p:cNvPr>
          <p:cNvGrpSpPr/>
          <p:nvPr/>
        </p:nvGrpSpPr>
        <p:grpSpPr>
          <a:xfrm>
            <a:off x="341695" y="1612190"/>
            <a:ext cx="8642428" cy="996677"/>
            <a:chOff x="341695" y="1612190"/>
            <a:chExt cx="8642428" cy="996677"/>
          </a:xfrm>
        </p:grpSpPr>
        <p:sp>
          <p:nvSpPr>
            <p:cNvPr id="104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64C1F76F-DDD7-4F2F-B66A-68F3E848447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238B1334-F0DE-412A-B017-8320208F358B}"/>
                </a:ext>
              </a:extLst>
            </p:cNvPr>
            <p:cNvSpPr/>
            <p:nvPr/>
          </p:nvSpPr>
          <p:spPr>
            <a:xfrm>
              <a:off x="469824" y="2202180"/>
              <a:ext cx="1233688" cy="346144"/>
            </a:xfrm>
            <a:prstGeom prst="roundRect">
              <a:avLst>
                <a:gd name="adj" fmla="val 9800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9941355F-157F-48C0-91D7-217AFBBF6A60}"/>
                </a:ext>
              </a:extLst>
            </p:cNvPr>
            <p:cNvSpPr/>
            <p:nvPr/>
          </p:nvSpPr>
          <p:spPr>
            <a:xfrm>
              <a:off x="1776659" y="2218192"/>
              <a:ext cx="847884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206E20BC-3686-44C0-8553-1734F5EEA0A9}"/>
                </a:ext>
              </a:extLst>
            </p:cNvPr>
            <p:cNvSpPr/>
            <p:nvPr/>
          </p:nvSpPr>
          <p:spPr>
            <a:xfrm>
              <a:off x="2702939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31" name="직선 연결선 30">
              <a:extLst>
                <a:ext uri="{FF2B5EF4-FFF2-40B4-BE49-F238E27FC236}">
                  <a16:creationId xmlns:a16="http://schemas.microsoft.com/office/drawing/2014/main" id="{397D70CC-D51B-4386-BADA-03A2D12318D8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>
              <a:extLst>
                <a:ext uri="{FF2B5EF4-FFF2-40B4-BE49-F238E27FC236}">
                  <a16:creationId xmlns:a16="http://schemas.microsoft.com/office/drawing/2014/main" id="{C901DCA3-A63F-4E68-B313-6B911D207E1B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608867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0B2B91FC-A67F-4B49-B105-E090C68BF1C7}"/>
                </a:ext>
              </a:extLst>
            </p:cNvPr>
            <p:cNvSpPr/>
            <p:nvPr/>
          </p:nvSpPr>
          <p:spPr>
            <a:xfrm>
              <a:off x="3655068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73331A1E-0FF3-4492-A4A2-E19E3E8B1C78}"/>
                </a:ext>
              </a:extLst>
            </p:cNvPr>
            <p:cNvSpPr/>
            <p:nvPr/>
          </p:nvSpPr>
          <p:spPr>
            <a:xfrm>
              <a:off x="4607197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4A94DC2B-61D9-4A93-A653-C972D814A164}"/>
                </a:ext>
              </a:extLst>
            </p:cNvPr>
            <p:cNvSpPr/>
            <p:nvPr/>
          </p:nvSpPr>
          <p:spPr>
            <a:xfrm>
              <a:off x="5559326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1E3BDE17-A367-49B8-8A29-240E919CF855}"/>
                </a:ext>
              </a:extLst>
            </p:cNvPr>
            <p:cNvSpPr/>
            <p:nvPr/>
          </p:nvSpPr>
          <p:spPr>
            <a:xfrm>
              <a:off x="6511142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ADA6881E-21CE-4029-8E93-8684D7AA3C7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959616849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709745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및 관련 기관 설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 의무화 일정 등 기술한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37071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631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안내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45C61E43-71AC-445B-9A38-F2C93E1528D6}"/>
              </a:ext>
            </a:extLst>
          </p:cNvPr>
          <p:cNvSpPr/>
          <p:nvPr/>
        </p:nvSpPr>
        <p:spPr>
          <a:xfrm>
            <a:off x="418943" y="1777474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의무화 추진</a:t>
            </a: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D881D927-676D-45B7-A804-B49DC363B809}"/>
              </a:ext>
            </a:extLst>
          </p:cNvPr>
          <p:cNvGrpSpPr/>
          <p:nvPr/>
        </p:nvGrpSpPr>
        <p:grpSpPr>
          <a:xfrm>
            <a:off x="415926" y="2049840"/>
            <a:ext cx="8620760" cy="3128257"/>
            <a:chOff x="632520" y="1674432"/>
            <a:chExt cx="8716114" cy="3122720"/>
          </a:xfrm>
        </p:grpSpPr>
        <p:sp>
          <p:nvSpPr>
            <p:cNvPr id="61" name="화살표: 아래쪽 60">
              <a:extLst>
                <a:ext uri="{FF2B5EF4-FFF2-40B4-BE49-F238E27FC236}">
                  <a16:creationId xmlns:a16="http://schemas.microsoft.com/office/drawing/2014/main" id="{FA41B354-614C-4345-9A3F-606EEFF30A7F}"/>
                </a:ext>
              </a:extLst>
            </p:cNvPr>
            <p:cNvSpPr/>
            <p:nvPr/>
          </p:nvSpPr>
          <p:spPr>
            <a:xfrm rot="16200000">
              <a:off x="4637531" y="-2270372"/>
              <a:ext cx="431912" cy="8441934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/>
            </a:p>
          </p:txBody>
        </p:sp>
        <p:cxnSp>
          <p:nvCxnSpPr>
            <p:cNvPr id="65" name="직선 연결선 64">
              <a:extLst>
                <a:ext uri="{FF2B5EF4-FFF2-40B4-BE49-F238E27FC236}">
                  <a16:creationId xmlns:a16="http://schemas.microsoft.com/office/drawing/2014/main" id="{CC199328-D9AB-4DD9-A1E5-9CB135EA1AF1}"/>
                </a:ext>
              </a:extLst>
            </p:cNvPr>
            <p:cNvCxnSpPr>
              <a:cxnSpLocks/>
            </p:cNvCxnSpPr>
            <p:nvPr/>
          </p:nvCxnSpPr>
          <p:spPr>
            <a:xfrm>
              <a:off x="3252216" y="1841635"/>
              <a:ext cx="0" cy="2916000"/>
            </a:xfrm>
            <a:prstGeom prst="line">
              <a:avLst/>
            </a:prstGeom>
            <a:ln w="19050" cap="sq">
              <a:solidFill>
                <a:schemeClr val="accent5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66" name="타원 65">
              <a:extLst>
                <a:ext uri="{FF2B5EF4-FFF2-40B4-BE49-F238E27FC236}">
                  <a16:creationId xmlns:a16="http://schemas.microsoft.com/office/drawing/2014/main" id="{E5B4427C-DD8E-47E5-9C34-294D1E5D6212}"/>
                </a:ext>
              </a:extLst>
            </p:cNvPr>
            <p:cNvSpPr/>
            <p:nvPr/>
          </p:nvSpPr>
          <p:spPr>
            <a:xfrm>
              <a:off x="2361680" y="1780091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22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7" name="타원 66">
              <a:extLst>
                <a:ext uri="{FF2B5EF4-FFF2-40B4-BE49-F238E27FC236}">
                  <a16:creationId xmlns:a16="http://schemas.microsoft.com/office/drawing/2014/main" id="{645E2831-A1C1-4B23-8BD4-FDDAC9400A2B}"/>
                </a:ext>
              </a:extLst>
            </p:cNvPr>
            <p:cNvSpPr/>
            <p:nvPr/>
          </p:nvSpPr>
          <p:spPr>
            <a:xfrm>
              <a:off x="3791526" y="1763199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24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8" name="타원 67">
              <a:extLst>
                <a:ext uri="{FF2B5EF4-FFF2-40B4-BE49-F238E27FC236}">
                  <a16:creationId xmlns:a16="http://schemas.microsoft.com/office/drawing/2014/main" id="{65AB81D2-DF1E-4508-9998-19B6D750E917}"/>
                </a:ext>
              </a:extLst>
            </p:cNvPr>
            <p:cNvSpPr/>
            <p:nvPr/>
          </p:nvSpPr>
          <p:spPr>
            <a:xfrm>
              <a:off x="4862854" y="1768238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25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70" name="타원 69">
              <a:extLst>
                <a:ext uri="{FF2B5EF4-FFF2-40B4-BE49-F238E27FC236}">
                  <a16:creationId xmlns:a16="http://schemas.microsoft.com/office/drawing/2014/main" id="{9AC1689E-203E-4755-864C-FF4D656D1746}"/>
                </a:ext>
              </a:extLst>
            </p:cNvPr>
            <p:cNvSpPr/>
            <p:nvPr/>
          </p:nvSpPr>
          <p:spPr>
            <a:xfrm>
              <a:off x="5870966" y="1768238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26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71" name="타원 70">
              <a:extLst>
                <a:ext uri="{FF2B5EF4-FFF2-40B4-BE49-F238E27FC236}">
                  <a16:creationId xmlns:a16="http://schemas.microsoft.com/office/drawing/2014/main" id="{57AD3DA4-3D1B-44C6-9E84-5AEDEF7AD9E4}"/>
                </a:ext>
              </a:extLst>
            </p:cNvPr>
            <p:cNvSpPr/>
            <p:nvPr/>
          </p:nvSpPr>
          <p:spPr>
            <a:xfrm>
              <a:off x="7671166" y="1768238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30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72" name="타원 71">
              <a:extLst>
                <a:ext uri="{FF2B5EF4-FFF2-40B4-BE49-F238E27FC236}">
                  <a16:creationId xmlns:a16="http://schemas.microsoft.com/office/drawing/2014/main" id="{55A120E9-3CCF-4E4B-8609-47A92FC364B1}"/>
                </a:ext>
              </a:extLst>
            </p:cNvPr>
            <p:cNvSpPr/>
            <p:nvPr/>
          </p:nvSpPr>
          <p:spPr>
            <a:xfrm>
              <a:off x="892386" y="1780091"/>
              <a:ext cx="324000" cy="32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solidFill>
                    <a:schemeClr val="tx1"/>
                  </a:solidFill>
                </a:rPr>
                <a:t>`19</a:t>
              </a: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5E9EE286-ADD1-4324-A103-7850F4D1AB05}"/>
                </a:ext>
              </a:extLst>
            </p:cNvPr>
            <p:cNvSpPr txBox="1"/>
            <p:nvPr/>
          </p:nvSpPr>
          <p:spPr>
            <a:xfrm>
              <a:off x="3119664" y="1674432"/>
              <a:ext cx="50138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900" b="1" i="1" dirty="0">
                  <a:solidFill>
                    <a:schemeClr val="accent5">
                      <a:lumMod val="75000"/>
                    </a:schemeClr>
                  </a:solidFill>
                </a:rPr>
                <a:t>Now</a:t>
              </a:r>
              <a:endParaRPr lang="ko-KR" altLang="en-US" sz="1200" b="1" i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77C6E838-25A4-444B-965A-DF5FAEBB0EE7}"/>
                </a:ext>
              </a:extLst>
            </p:cNvPr>
            <p:cNvGrpSpPr/>
            <p:nvPr/>
          </p:nvGrpSpPr>
          <p:grpSpPr>
            <a:xfrm>
              <a:off x="632520" y="2204864"/>
              <a:ext cx="8716114" cy="2592288"/>
              <a:chOff x="965152" y="1916832"/>
              <a:chExt cx="8716114" cy="2760156"/>
            </a:xfrm>
          </p:grpSpPr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CE403E2D-A613-4AAF-A383-5F98797D489C}"/>
                  </a:ext>
                </a:extLst>
              </p:cNvPr>
              <p:cNvSpPr/>
              <p:nvPr/>
            </p:nvSpPr>
            <p:spPr>
              <a:xfrm>
                <a:off x="1304646" y="1916832"/>
                <a:ext cx="6339112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t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solidFill>
                      <a:schemeClr val="tx1"/>
                    </a:solidFill>
                  </a:rPr>
                  <a:t>지배구조보고서 공시 의무화</a:t>
                </a:r>
              </a:p>
            </p:txBody>
          </p:sp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82956EBA-C184-4623-84E3-BDD1CD130771}"/>
                  </a:ext>
                </a:extLst>
              </p:cNvPr>
              <p:cNvSpPr/>
              <p:nvPr/>
            </p:nvSpPr>
            <p:spPr>
              <a:xfrm>
                <a:off x="2831842" y="2150603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dirty="0">
                    <a:solidFill>
                      <a:srgbClr val="000000"/>
                    </a:solidFill>
                    <a:latin typeface="Arial"/>
                    <a:ea typeface="맑은 고딕"/>
                  </a:rPr>
                  <a:t>2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단계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. </a:t>
                </a:r>
                <a:b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</a:b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- 1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조원 이상 상장기업</a:t>
                </a:r>
                <a:endPara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85" name="직사각형 84">
                <a:extLst>
                  <a:ext uri="{FF2B5EF4-FFF2-40B4-BE49-F238E27FC236}">
                    <a16:creationId xmlns:a16="http://schemas.microsoft.com/office/drawing/2014/main" id="{ED943B47-BE7C-4239-BBC0-DD431B555DFB}"/>
                  </a:ext>
                </a:extLst>
              </p:cNvPr>
              <p:cNvSpPr/>
              <p:nvPr/>
            </p:nvSpPr>
            <p:spPr>
              <a:xfrm>
                <a:off x="4251059" y="2147609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3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단계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. </a:t>
                </a:r>
                <a:b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</a:b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- 0.5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조원 이상 상장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2802DDFF-6507-4FFF-B3F1-E22E4CA4E215}"/>
                  </a:ext>
                </a:extLst>
              </p:cNvPr>
              <p:cNvSpPr/>
              <p:nvPr/>
            </p:nvSpPr>
            <p:spPr>
              <a:xfrm>
                <a:off x="6311750" y="2150603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dirty="0">
                    <a:solidFill>
                      <a:srgbClr val="000000"/>
                    </a:solidFill>
                    <a:latin typeface="Arial"/>
                    <a:ea typeface="맑은 고딕"/>
                  </a:rPr>
                  <a:t>4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단계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. </a:t>
                </a:r>
                <a:b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</a:b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- 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全 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KOSPI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 상장기업</a:t>
                </a:r>
                <a:endPara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3C85EA6-D073-4FAD-9535-DF6E2933625D}"/>
                  </a:ext>
                </a:extLst>
              </p:cNvPr>
              <p:cNvSpPr/>
              <p:nvPr/>
            </p:nvSpPr>
            <p:spPr>
              <a:xfrm>
                <a:off x="965152" y="1925589"/>
                <a:ext cx="287478" cy="121279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/>
                  <a:t>국내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C61B9722-A628-4F99-AD3B-CF82F44D8FCA}"/>
                  </a:ext>
                </a:extLst>
              </p:cNvPr>
              <p:cNvSpPr/>
              <p:nvPr/>
            </p:nvSpPr>
            <p:spPr>
              <a:xfrm>
                <a:off x="965152" y="3196683"/>
                <a:ext cx="287478" cy="148030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/>
                  <a:t>국외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6081BA08-FC8A-4688-9A0D-68ADB02F2BDD}"/>
                  </a:ext>
                </a:extLst>
              </p:cNvPr>
              <p:cNvSpPr/>
              <p:nvPr/>
            </p:nvSpPr>
            <p:spPr>
              <a:xfrm>
                <a:off x="1402822" y="2150603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1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2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조원 이상 상장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직사각형 91">
                <a:extLst>
                  <a:ext uri="{FF2B5EF4-FFF2-40B4-BE49-F238E27FC236}">
                    <a16:creationId xmlns:a16="http://schemas.microsoft.com/office/drawing/2014/main" id="{2D03AA1A-B354-40C3-B2A2-3AF4E6AD93E0}"/>
                  </a:ext>
                </a:extLst>
              </p:cNvPr>
              <p:cNvSpPr/>
              <p:nvPr/>
            </p:nvSpPr>
            <p:spPr>
              <a:xfrm>
                <a:off x="5200672" y="2562380"/>
                <a:ext cx="4206414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t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solidFill>
                      <a:schemeClr val="tx1"/>
                    </a:solidFill>
                  </a:rPr>
                  <a:t>지속가능보고서 공시 의무화</a:t>
                </a:r>
              </a:p>
            </p:txBody>
          </p:sp>
          <p:sp>
            <p:nvSpPr>
              <p:cNvPr id="93" name="직사각형 92">
                <a:extLst>
                  <a:ext uri="{FF2B5EF4-FFF2-40B4-BE49-F238E27FC236}">
                    <a16:creationId xmlns:a16="http://schemas.microsoft.com/office/drawing/2014/main" id="{97184481-EA33-41AC-B074-4A148C9D472F}"/>
                  </a:ext>
                </a:extLst>
              </p:cNvPr>
              <p:cNvSpPr/>
              <p:nvPr/>
            </p:nvSpPr>
            <p:spPr>
              <a:xfrm>
                <a:off x="8076750" y="2793157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dirty="0">
                    <a:solidFill>
                      <a:srgbClr val="000000"/>
                    </a:solidFill>
                    <a:latin typeface="Arial"/>
                    <a:ea typeface="맑은 고딕"/>
                  </a:rPr>
                  <a:t>2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단계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. </a:t>
                </a:r>
                <a:b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</a:b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- 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全 </a:t>
                </a:r>
                <a:r>
                  <a:rPr kumimoji="0" lang="en-US" altLang="ko-K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KOSPI</a:t>
                </a:r>
                <a:r>
                  <a: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 상장기업</a:t>
                </a:r>
                <a:endPara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94" name="직사각형 93">
                <a:extLst>
                  <a:ext uri="{FF2B5EF4-FFF2-40B4-BE49-F238E27FC236}">
                    <a16:creationId xmlns:a16="http://schemas.microsoft.com/office/drawing/2014/main" id="{4906D449-AFF6-433A-9509-4B6DB3964C2A}"/>
                  </a:ext>
                </a:extLst>
              </p:cNvPr>
              <p:cNvSpPr/>
              <p:nvPr/>
            </p:nvSpPr>
            <p:spPr>
              <a:xfrm>
                <a:off x="5298849" y="2796151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1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2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조원 이상 상장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직사각형 94">
                <a:extLst>
                  <a:ext uri="{FF2B5EF4-FFF2-40B4-BE49-F238E27FC236}">
                    <a16:creationId xmlns:a16="http://schemas.microsoft.com/office/drawing/2014/main" id="{97FD81A8-913D-42A6-A374-D0EB07DF86B7}"/>
                  </a:ext>
                </a:extLst>
              </p:cNvPr>
              <p:cNvSpPr/>
              <p:nvPr/>
            </p:nvSpPr>
            <p:spPr>
              <a:xfrm>
                <a:off x="4223598" y="3450433"/>
                <a:ext cx="2335251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t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solidFill>
                      <a:schemeClr val="tx1"/>
                    </a:solidFill>
                  </a:rPr>
                  <a:t>SEC</a:t>
                </a:r>
                <a:r>
                  <a:rPr lang="ko-KR" altLang="en-US" sz="1000" b="1" dirty="0">
                    <a:solidFill>
                      <a:schemeClr val="tx1"/>
                    </a:solidFill>
                  </a:rPr>
                  <a:t> 공시 의무화</a:t>
                </a:r>
              </a:p>
            </p:txBody>
          </p:sp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841DF466-1548-46FF-892B-4A05FBC5496D}"/>
                  </a:ext>
                </a:extLst>
              </p:cNvPr>
              <p:cNvSpPr/>
              <p:nvPr/>
            </p:nvSpPr>
            <p:spPr>
              <a:xfrm>
                <a:off x="4303742" y="3676663"/>
                <a:ext cx="103576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1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美 상장 대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4684E6E5-0980-455D-B961-C3FFE32668D9}"/>
                  </a:ext>
                </a:extLst>
              </p:cNvPr>
              <p:cNvSpPr/>
              <p:nvPr/>
            </p:nvSpPr>
            <p:spPr>
              <a:xfrm>
                <a:off x="5419646" y="3676663"/>
                <a:ext cx="103576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2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美 상장 중소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738D8B9C-B759-43DB-8445-BD39B8D10FD3}"/>
                  </a:ext>
                </a:extLst>
              </p:cNvPr>
              <p:cNvSpPr/>
              <p:nvPr/>
            </p:nvSpPr>
            <p:spPr>
              <a:xfrm>
                <a:off x="4223598" y="4100988"/>
                <a:ext cx="3420160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t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solidFill>
                      <a:schemeClr val="tx1"/>
                    </a:solidFill>
                  </a:rPr>
                  <a:t>CSRD</a:t>
                </a:r>
                <a:r>
                  <a:rPr lang="ko-KR" altLang="en-US" sz="1000" b="1" dirty="0">
                    <a:solidFill>
                      <a:schemeClr val="tx1"/>
                    </a:solidFill>
                  </a:rPr>
                  <a:t> 공시 의무화</a:t>
                </a:r>
              </a:p>
            </p:txBody>
          </p:sp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1F9D103A-1D34-4A8E-8E6C-AC8ED70EAD74}"/>
                  </a:ext>
                </a:extLst>
              </p:cNvPr>
              <p:cNvSpPr/>
              <p:nvPr/>
            </p:nvSpPr>
            <p:spPr>
              <a:xfrm>
                <a:off x="4303742" y="4327218"/>
                <a:ext cx="103576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1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EU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 상장 대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BCDA1496-A6C2-497D-BF66-FD114327EBF8}"/>
                  </a:ext>
                </a:extLst>
              </p:cNvPr>
              <p:cNvSpPr/>
              <p:nvPr/>
            </p:nvSpPr>
            <p:spPr>
              <a:xfrm>
                <a:off x="5419646" y="4327218"/>
                <a:ext cx="103576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2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spc="-150" dirty="0">
                    <a:solidFill>
                      <a:schemeClr val="tx1"/>
                    </a:solidFill>
                  </a:rPr>
                  <a:t>- </a:t>
                </a:r>
                <a:r>
                  <a:rPr lang="ko-KR" altLang="en-US" sz="900" spc="-150" dirty="0">
                    <a:solidFill>
                      <a:schemeClr val="tx1"/>
                    </a:solidFill>
                  </a:rPr>
                  <a:t>비상장 역내 대기업</a:t>
                </a:r>
                <a:endParaRPr lang="ko-KR" altLang="en-US" sz="900" b="1" spc="-1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2B32BBF3-70C7-4FEB-8C34-CC919D53F767}"/>
                  </a:ext>
                </a:extLst>
              </p:cNvPr>
              <p:cNvSpPr/>
              <p:nvPr/>
            </p:nvSpPr>
            <p:spPr>
              <a:xfrm>
                <a:off x="3713433" y="3196683"/>
                <a:ext cx="2335251" cy="2273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t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solidFill>
                      <a:schemeClr val="tx1"/>
                    </a:solidFill>
                  </a:rPr>
                  <a:t>ISSB </a:t>
                </a:r>
                <a:r>
                  <a:rPr lang="ko-KR" altLang="en-US" sz="1000" b="1" dirty="0">
                    <a:solidFill>
                      <a:schemeClr val="tx1"/>
                    </a:solidFill>
                  </a:rPr>
                  <a:t>최종안 발표 </a:t>
                </a:r>
                <a:r>
                  <a:rPr lang="ko-KR" altLang="en-US" sz="1000" b="1" strike="sngStrike" dirty="0">
                    <a:solidFill>
                      <a:schemeClr val="bg1">
                        <a:lumMod val="50000"/>
                      </a:schemeClr>
                    </a:solidFill>
                  </a:rPr>
                  <a:t>예정</a:t>
                </a:r>
                <a:r>
                  <a:rPr lang="ko-KR" altLang="en-US" sz="1000" b="1" dirty="0">
                    <a:solidFill>
                      <a:schemeClr val="tx1"/>
                    </a:solidFill>
                  </a:rPr>
                  <a:t> </a:t>
                </a:r>
                <a:r>
                  <a:rPr lang="en-US" altLang="ko-KR" sz="1000" b="1" dirty="0">
                    <a:solidFill>
                      <a:schemeClr val="tx1"/>
                    </a:solidFill>
                  </a:rPr>
                  <a:t>(`23.6</a:t>
                </a:r>
                <a:r>
                  <a:rPr lang="ko-KR" altLang="en-US" sz="1000" b="1" dirty="0">
                    <a:solidFill>
                      <a:schemeClr val="tx1"/>
                    </a:solidFill>
                  </a:rPr>
                  <a:t>月</a:t>
                </a:r>
                <a:r>
                  <a:rPr lang="en-US" altLang="ko-KR" sz="1000" b="1" dirty="0">
                    <a:solidFill>
                      <a:schemeClr val="tx1"/>
                    </a:solidFill>
                  </a:rPr>
                  <a:t>)</a:t>
                </a:r>
                <a:endParaRPr lang="ko-KR" altLang="en-US" sz="1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3FB74D25-073A-4A74-A4E1-1CC92062A106}"/>
                  </a:ext>
                </a:extLst>
              </p:cNvPr>
              <p:cNvSpPr/>
              <p:nvPr/>
            </p:nvSpPr>
            <p:spPr>
              <a:xfrm>
                <a:off x="6535990" y="4327218"/>
                <a:ext cx="1035760" cy="28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3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단계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.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- EU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 상장 중소기업</a:t>
                </a:r>
                <a:endParaRPr lang="ko-KR" altLang="en-US" sz="900" b="1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05" name="직선 연결선 104">
                <a:extLst>
                  <a:ext uri="{FF2B5EF4-FFF2-40B4-BE49-F238E27FC236}">
                    <a16:creationId xmlns:a16="http://schemas.microsoft.com/office/drawing/2014/main" id="{FBA60BD8-41E6-4168-B5A9-14E24A1BE5FA}"/>
                  </a:ext>
                </a:extLst>
              </p:cNvPr>
              <p:cNvCxnSpPr/>
              <p:nvPr/>
            </p:nvCxnSpPr>
            <p:spPr>
              <a:xfrm>
                <a:off x="1082238" y="3155965"/>
                <a:ext cx="8303614" cy="0"/>
              </a:xfrm>
              <a:prstGeom prst="line">
                <a:avLst/>
              </a:prstGeom>
              <a:ln w="6350" cap="sq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106" name="직사각형 105">
                <a:extLst>
                  <a:ext uri="{FF2B5EF4-FFF2-40B4-BE49-F238E27FC236}">
                    <a16:creationId xmlns:a16="http://schemas.microsoft.com/office/drawing/2014/main" id="{63D27F2D-F790-45E6-81FA-CB1CF5A9D827}"/>
                  </a:ext>
                </a:extLst>
              </p:cNvPr>
              <p:cNvSpPr/>
              <p:nvPr/>
            </p:nvSpPr>
            <p:spPr>
              <a:xfrm>
                <a:off x="7712035" y="4361086"/>
                <a:ext cx="1969231" cy="288000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※ FY28 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기준</a:t>
                </a:r>
                <a:r>
                  <a:rPr lang="en-US" altLang="ko-KR" sz="900" dirty="0">
                    <a:solidFill>
                      <a:schemeClr val="tx1"/>
                    </a:solidFill>
                  </a:rPr>
                  <a:t>, </a:t>
                </a:r>
                <a:br>
                  <a:rPr lang="en-US" altLang="ko-KR" sz="900" dirty="0">
                    <a:solidFill>
                      <a:schemeClr val="tx1"/>
                    </a:solidFill>
                  </a:rPr>
                </a:br>
                <a:r>
                  <a:rPr lang="en-US" altLang="ko-KR" sz="900" dirty="0">
                    <a:solidFill>
                      <a:schemeClr val="tx1"/>
                    </a:solidFill>
                  </a:rPr>
                  <a:t>   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모기업 글로벌 전체 연결 공시 必</a:t>
                </a:r>
              </a:p>
            </p:txBody>
          </p:sp>
          <p:sp>
            <p:nvSpPr>
              <p:cNvPr id="107" name="직사각형 106">
                <a:extLst>
                  <a:ext uri="{FF2B5EF4-FFF2-40B4-BE49-F238E27FC236}">
                    <a16:creationId xmlns:a16="http://schemas.microsoft.com/office/drawing/2014/main" id="{ED13F679-FD92-431F-9D95-2372779B66FC}"/>
                  </a:ext>
                </a:extLst>
              </p:cNvPr>
              <p:cNvSpPr/>
              <p:nvPr/>
            </p:nvSpPr>
            <p:spPr>
              <a:xfrm>
                <a:off x="6622834" y="2883126"/>
                <a:ext cx="1969231" cy="288000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900" dirty="0">
                    <a:solidFill>
                      <a:schemeClr val="tx1"/>
                    </a:solidFill>
                  </a:rPr>
                  <a:t>※ </a:t>
                </a:r>
                <a:r>
                  <a:rPr lang="ko-KR" altLang="en-US" sz="900" dirty="0">
                    <a:solidFill>
                      <a:schemeClr val="tx1"/>
                    </a:solidFill>
                  </a:rPr>
                  <a:t>사업보고서 內 의무공시</a:t>
                </a:r>
              </a:p>
            </p:txBody>
          </p:sp>
        </p:grpSp>
      </p:grp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F305261A-A64C-4812-884D-AF8145266D31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1" name="그림 50">
              <a:extLst>
                <a:ext uri="{FF2B5EF4-FFF2-40B4-BE49-F238E27FC236}">
                  <a16:creationId xmlns:a16="http://schemas.microsoft.com/office/drawing/2014/main" id="{05613673-4E0A-4D63-AC58-A14DDE41A7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DC66A840-1C94-433C-8B85-C85E5C88B28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4" name="그림 53">
              <a:extLst>
                <a:ext uri="{FF2B5EF4-FFF2-40B4-BE49-F238E27FC236}">
                  <a16:creationId xmlns:a16="http://schemas.microsoft.com/office/drawing/2014/main" id="{D3A392F6-DE9F-4247-9999-45A2FC516B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3369684E-415F-4016-94D8-1B8A6C743D98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AC25977C-2D0E-4ECC-AFE8-96A51D30934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18405505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90866" y="2646860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lobal Reporting Initiative)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65A43A2-4E45-4B94-A186-C764B6B3254D}"/>
              </a:ext>
            </a:extLst>
          </p:cNvPr>
          <p:cNvSpPr/>
          <p:nvPr/>
        </p:nvSpPr>
        <p:spPr>
          <a:xfrm>
            <a:off x="496390" y="2988638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세계적으로 통용되는 가장 권위있는 지속가능성 보고서 가이드라인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는 </a:t>
            </a:r>
            <a:b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맑은 고딕" panose="020B0503020000020004" pitchFamily="50" charset="-127"/>
                <a:cs typeface="Arial"/>
              </a:rPr>
              <a:t>1997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GO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ERES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중심이 되어 설립된 국제기관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(Global Reporting Initiative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제정 운영하는 가이드라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비전은 모든 조직의 경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적 성과에 대한 보고의 정형성과 비교 가능성을 재무보고의 수준으로 만드는 것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7" name="표 8">
            <a:extLst>
              <a:ext uri="{FF2B5EF4-FFF2-40B4-BE49-F238E27FC236}">
                <a16:creationId xmlns:a16="http://schemas.microsoft.com/office/drawing/2014/main" id="{ECA7C058-FCA9-441A-9EE4-AC2E11B834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4523057"/>
              </p:ext>
            </p:extLst>
          </p:nvPr>
        </p:nvGraphicFramePr>
        <p:xfrm>
          <a:off x="494062" y="3774280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pSp>
        <p:nvGrpSpPr>
          <p:cNvPr id="59" name="그룹 58">
            <a:extLst>
              <a:ext uri="{FF2B5EF4-FFF2-40B4-BE49-F238E27FC236}">
                <a16:creationId xmlns:a16="http://schemas.microsoft.com/office/drawing/2014/main" id="{AA53E981-8265-44F1-9EAB-5554B69E1F9D}"/>
              </a:ext>
            </a:extLst>
          </p:cNvPr>
          <p:cNvGrpSpPr/>
          <p:nvPr/>
        </p:nvGrpSpPr>
        <p:grpSpPr>
          <a:xfrm>
            <a:off x="617245" y="4678255"/>
            <a:ext cx="7794143" cy="1603504"/>
            <a:chOff x="555762" y="1902571"/>
            <a:chExt cx="8307022" cy="1429477"/>
          </a:xfrm>
        </p:grpSpPr>
        <p:sp>
          <p:nvSpPr>
            <p:cNvPr id="61" name="사각형: 둥근 모서리 60">
              <a:extLst>
                <a:ext uri="{FF2B5EF4-FFF2-40B4-BE49-F238E27FC236}">
                  <a16:creationId xmlns:a16="http://schemas.microsoft.com/office/drawing/2014/main" id="{255C0F8D-CB86-4CC0-93A6-B9B78736A609}"/>
                </a:ext>
              </a:extLst>
            </p:cNvPr>
            <p:cNvSpPr/>
            <p:nvPr/>
          </p:nvSpPr>
          <p:spPr>
            <a:xfrm>
              <a:off x="2010439" y="1902571"/>
              <a:ext cx="5400600" cy="28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Standards</a:t>
              </a:r>
              <a:endPara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081866AA-8178-4F5F-A833-DCDA85734355}"/>
                </a:ext>
              </a:extLst>
            </p:cNvPr>
            <p:cNvGrpSpPr/>
            <p:nvPr/>
          </p:nvGrpSpPr>
          <p:grpSpPr>
            <a:xfrm>
              <a:off x="555762" y="2387635"/>
              <a:ext cx="8307022" cy="288000"/>
              <a:chOff x="812838" y="2791714"/>
              <a:chExt cx="7097753" cy="288000"/>
            </a:xfrm>
            <a:solidFill>
              <a:schemeClr val="bg1">
                <a:lumMod val="50000"/>
              </a:schemeClr>
            </a:solidFill>
          </p:grpSpPr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12C1C901-23AF-46FE-BEB6-17A2B4FB494B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Universal Standards (</a:t>
                </a:r>
                <a:r>
                  <a:rPr lang="ko-KR" altLang="en-US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통</a:t>
                </a:r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C62E71CC-FEA4-42D1-A9C7-ABFC04E4B955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ector Standards (</a:t>
                </a:r>
                <a:r>
                  <a:rPr lang="ko-KR" altLang="en-US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</a:t>
                </a:r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C5ACCA05-0104-4C82-8AD3-F548988D8F98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opic Standards (</a:t>
                </a:r>
                <a:r>
                  <a:rPr lang="ko-KR" altLang="en-US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주제별</a:t>
                </a:r>
                <a:r>
                  <a:rPr lang="en-US" altLang="ko-KR" sz="10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66" name="그룹 65">
              <a:extLst>
                <a:ext uri="{FF2B5EF4-FFF2-40B4-BE49-F238E27FC236}">
                  <a16:creationId xmlns:a16="http://schemas.microsoft.com/office/drawing/2014/main" id="{F7AB9C99-EE2F-45BF-813E-C79390C8680E}"/>
                </a:ext>
              </a:extLst>
            </p:cNvPr>
            <p:cNvGrpSpPr/>
            <p:nvPr/>
          </p:nvGrpSpPr>
          <p:grpSpPr>
            <a:xfrm>
              <a:off x="555762" y="2643873"/>
              <a:ext cx="8307022" cy="688175"/>
              <a:chOff x="812838" y="2791714"/>
              <a:chExt cx="7097753" cy="379763"/>
            </a:xfrm>
            <a:solidFill>
              <a:schemeClr val="bg1"/>
            </a:solidFill>
          </p:grpSpPr>
          <p:sp>
            <p:nvSpPr>
              <p:cNvPr id="71" name="사각형: 둥근 모서리 70">
                <a:extLst>
                  <a:ext uri="{FF2B5EF4-FFF2-40B4-BE49-F238E27FC236}">
                    <a16:creationId xmlns:a16="http://schemas.microsoft.com/office/drawing/2014/main" id="{60F5F808-16A8-4D7F-B774-D12BE337FD8F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모든 조직에 공통적으로 적용되는 표준</a:t>
                </a:r>
              </a:p>
            </p:txBody>
          </p:sp>
          <p:sp>
            <p:nvSpPr>
              <p:cNvPr id="72" name="사각형: 둥근 모서리 71">
                <a:extLst>
                  <a:ext uri="{FF2B5EF4-FFF2-40B4-BE49-F238E27FC236}">
                    <a16:creationId xmlns:a16="http://schemas.microsoft.com/office/drawing/2014/main" id="{18263FD5-8A55-4592-BED5-EC9A162E2D7E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부분의 조직에 영향을 주는 사항에 대한 보고 기준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* 40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부문으로 구성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사각형: 둥근 모서리 77">
                <a:extLst>
                  <a:ext uri="{FF2B5EF4-FFF2-40B4-BE49-F238E27FC236}">
                    <a16:creationId xmlns:a16="http://schemas.microsoft.com/office/drawing/2014/main" id="{8467BF01-9837-4A91-A9BA-C8016C9315DE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주제와 관련된 보고 기준</a:t>
                </a:r>
                <a:b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</a:b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* 31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주제 영역으로 구성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68E9F940-D0E6-496B-A078-C904E58E60A1}"/>
                  </a:ext>
                </a:extLst>
              </p:cNvPr>
              <p:cNvSpPr/>
              <p:nvPr/>
            </p:nvSpPr>
            <p:spPr>
              <a:xfrm>
                <a:off x="812838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1, 102, 103</a:t>
                </a:r>
                <a:endParaRPr lang="ko-KR" altLang="en-US" sz="10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3" name="사각형: 둥근 모서리 82">
                <a:extLst>
                  <a:ext uri="{FF2B5EF4-FFF2-40B4-BE49-F238E27FC236}">
                    <a16:creationId xmlns:a16="http://schemas.microsoft.com/office/drawing/2014/main" id="{3AA2FA88-2037-4E76-A4D2-FFAA870C0A80}"/>
                  </a:ext>
                </a:extLst>
              </p:cNvPr>
              <p:cNvSpPr/>
              <p:nvPr/>
            </p:nvSpPr>
            <p:spPr>
              <a:xfrm>
                <a:off x="3246324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 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 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현재 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11~13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공개</a:t>
                </a: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A71EF7ED-111C-46BC-8C9C-00976C10AEC8}"/>
                  </a:ext>
                </a:extLst>
              </p:cNvPr>
              <p:cNvSpPr/>
              <p:nvPr/>
            </p:nvSpPr>
            <p:spPr>
              <a:xfrm>
                <a:off x="5679809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200 ~ 400 </a:t>
                </a:r>
                <a:r>
                  <a:rPr lang="ko-KR" altLang="en-US" sz="10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</a:t>
                </a:r>
              </a:p>
            </p:txBody>
          </p:sp>
        </p:grpSp>
        <p:cxnSp>
          <p:nvCxnSpPr>
            <p:cNvPr id="67" name="연결선: 꺾임 66">
              <a:extLst>
                <a:ext uri="{FF2B5EF4-FFF2-40B4-BE49-F238E27FC236}">
                  <a16:creationId xmlns:a16="http://schemas.microsoft.com/office/drawing/2014/main" id="{F38426EA-4EDF-4FA6-9262-DE7EFCAA40E0}"/>
                </a:ext>
              </a:extLst>
            </p:cNvPr>
            <p:cNvCxnSpPr>
              <a:cxnSpLocks/>
              <a:stCxn id="61" idx="2"/>
              <a:endCxn id="85" idx="0"/>
            </p:cNvCxnSpPr>
            <p:nvPr/>
          </p:nvCxnSpPr>
          <p:spPr>
            <a:xfrm rot="5400000">
              <a:off x="3187432" y="864327"/>
              <a:ext cx="197064" cy="2849553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68" name="연결선: 꺾임 67">
              <a:extLst>
                <a:ext uri="{FF2B5EF4-FFF2-40B4-BE49-F238E27FC236}">
                  <a16:creationId xmlns:a16="http://schemas.microsoft.com/office/drawing/2014/main" id="{007CD3F0-E3E2-4860-ADC1-F03F04235D6A}"/>
                </a:ext>
              </a:extLst>
            </p:cNvPr>
            <p:cNvCxnSpPr>
              <a:cxnSpLocks/>
              <a:stCxn id="61" idx="2"/>
              <a:endCxn id="87" idx="0"/>
            </p:cNvCxnSpPr>
            <p:nvPr/>
          </p:nvCxnSpPr>
          <p:spPr>
            <a:xfrm rot="16200000" flipH="1">
              <a:off x="6035518" y="865793"/>
              <a:ext cx="197064" cy="284662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70" name="연결선: 꺾임 69">
              <a:extLst>
                <a:ext uri="{FF2B5EF4-FFF2-40B4-BE49-F238E27FC236}">
                  <a16:creationId xmlns:a16="http://schemas.microsoft.com/office/drawing/2014/main" id="{27819352-C2B7-403A-88E3-0AB9945E2822}"/>
                </a:ext>
              </a:extLst>
            </p:cNvPr>
            <p:cNvCxnSpPr>
              <a:cxnSpLocks/>
              <a:stCxn id="61" idx="2"/>
              <a:endCxn id="86" idx="0"/>
            </p:cNvCxnSpPr>
            <p:nvPr/>
          </p:nvCxnSpPr>
          <p:spPr>
            <a:xfrm rot="5400000">
              <a:off x="4611475" y="2288371"/>
              <a:ext cx="197064" cy="1466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13977586-A1A4-4B49-AEBB-9185E3C59448}"/>
              </a:ext>
            </a:extLst>
          </p:cNvPr>
          <p:cNvSpPr/>
          <p:nvPr/>
        </p:nvSpPr>
        <p:spPr>
          <a:xfrm>
            <a:off x="521595" y="4178939"/>
            <a:ext cx="8020349" cy="76222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전체 요건 및 원칙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항 기준 등을 설명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iversal Standards(GRI 1/2/3)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 부문별 보고 기준을 제시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tor Standards(GRI 11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0) 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 등의 세부 주제별로 보고 기준을 제시한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opic Standards(GRI 300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구분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B6673CAC-5454-4B29-B159-C75C9F46A6F4}"/>
              </a:ext>
            </a:extLst>
          </p:cNvPr>
          <p:cNvGrpSpPr/>
          <p:nvPr/>
        </p:nvGrpSpPr>
        <p:grpSpPr>
          <a:xfrm>
            <a:off x="8827554" y="1507823"/>
            <a:ext cx="152360" cy="4896000"/>
            <a:chOff x="9201470" y="1601344"/>
            <a:chExt cx="188139" cy="4198758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0E55388E-975E-4245-81EF-B2ACCD823466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DF8E17E3-D154-46D5-B481-D7900BC94CB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4A31E6ED-2569-4D4D-96A1-F9E261920703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40" name="직사각형 39">
                <a:extLst>
                  <a:ext uri="{FF2B5EF4-FFF2-40B4-BE49-F238E27FC236}">
                    <a16:creationId xmlns:a16="http://schemas.microsoft.com/office/drawing/2014/main" id="{4E57A7C8-B9C0-4330-94AB-FA953812DD89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41" name="직사각형 40">
                <a:extLst>
                  <a:ext uri="{FF2B5EF4-FFF2-40B4-BE49-F238E27FC236}">
                    <a16:creationId xmlns:a16="http://schemas.microsoft.com/office/drawing/2014/main" id="{EDACE5A1-5A37-4C75-A5C4-7F40DD3D0EC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27AC4029-4945-4B99-8E5F-359F47D62104}"/>
              </a:ext>
            </a:extLst>
          </p:cNvPr>
          <p:cNvSpPr/>
          <p:nvPr/>
        </p:nvSpPr>
        <p:spPr>
          <a:xfrm>
            <a:off x="460843" y="37033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A479A677-C6ED-4E93-AA7E-88AE0A4F92C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2F49811C-035A-45D9-9A9D-0951695EBA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C0D5F164-E6F3-4D23-98AB-ED56BFD15BD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B1A9538D-A8B4-4C11-B36C-ADCC27BD6F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76C85B4F-A351-4879-A6B8-9168FA9B29C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D65859FE-031F-47E0-A05E-7C78196423A4}"/>
              </a:ext>
            </a:extLst>
          </p:cNvPr>
          <p:cNvGrpSpPr/>
          <p:nvPr/>
        </p:nvGrpSpPr>
        <p:grpSpPr>
          <a:xfrm>
            <a:off x="341695" y="1612190"/>
            <a:ext cx="8642428" cy="996677"/>
            <a:chOff x="341695" y="1612190"/>
            <a:chExt cx="8642428" cy="996677"/>
          </a:xfrm>
        </p:grpSpPr>
        <p:sp>
          <p:nvSpPr>
            <p:cNvPr id="45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3FF79EFB-307F-4022-983E-1083012B72BE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5DE205B2-0F89-4E5A-B41C-FC57C123A6AE}"/>
                </a:ext>
              </a:extLst>
            </p:cNvPr>
            <p:cNvSpPr/>
            <p:nvPr/>
          </p:nvSpPr>
          <p:spPr>
            <a:xfrm>
              <a:off x="469824" y="2202180"/>
              <a:ext cx="1233688" cy="346144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" name="사각형: 둥근 모서리 46">
              <a:extLst>
                <a:ext uri="{FF2B5EF4-FFF2-40B4-BE49-F238E27FC236}">
                  <a16:creationId xmlns:a16="http://schemas.microsoft.com/office/drawing/2014/main" id="{224AB874-68BC-4D19-8BD2-2C738412BDE6}"/>
                </a:ext>
              </a:extLst>
            </p:cNvPr>
            <p:cNvSpPr/>
            <p:nvPr/>
          </p:nvSpPr>
          <p:spPr>
            <a:xfrm>
              <a:off x="1776659" y="2218192"/>
              <a:ext cx="847884" cy="330132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C2198D94-969A-49EE-A7F4-0DE8E51ACF77}"/>
                </a:ext>
              </a:extLst>
            </p:cNvPr>
            <p:cNvSpPr/>
            <p:nvPr/>
          </p:nvSpPr>
          <p:spPr>
            <a:xfrm>
              <a:off x="2702939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46162C61-E93A-4D58-A1E4-6EC91C7F0900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0AED4A87-CDDE-4D5A-867F-F3B975C02F9B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608867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사각형: 둥근 모서리 54">
              <a:extLst>
                <a:ext uri="{FF2B5EF4-FFF2-40B4-BE49-F238E27FC236}">
                  <a16:creationId xmlns:a16="http://schemas.microsoft.com/office/drawing/2014/main" id="{43486D75-AF8C-48F0-9917-15D9FD45242C}"/>
                </a:ext>
              </a:extLst>
            </p:cNvPr>
            <p:cNvSpPr/>
            <p:nvPr/>
          </p:nvSpPr>
          <p:spPr>
            <a:xfrm>
              <a:off x="3655068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사각형: 둥근 모서리 55">
              <a:extLst>
                <a:ext uri="{FF2B5EF4-FFF2-40B4-BE49-F238E27FC236}">
                  <a16:creationId xmlns:a16="http://schemas.microsoft.com/office/drawing/2014/main" id="{F2764407-56DF-44A4-A816-D1E12113C266}"/>
                </a:ext>
              </a:extLst>
            </p:cNvPr>
            <p:cNvSpPr/>
            <p:nvPr/>
          </p:nvSpPr>
          <p:spPr>
            <a:xfrm>
              <a:off x="4607197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7" name="사각형: 둥근 모서리 56">
              <a:extLst>
                <a:ext uri="{FF2B5EF4-FFF2-40B4-BE49-F238E27FC236}">
                  <a16:creationId xmlns:a16="http://schemas.microsoft.com/office/drawing/2014/main" id="{568CA508-063D-4E75-94AE-4DCF71A7AF0E}"/>
                </a:ext>
              </a:extLst>
            </p:cNvPr>
            <p:cNvSpPr/>
            <p:nvPr/>
          </p:nvSpPr>
          <p:spPr>
            <a:xfrm>
              <a:off x="5559326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8" name="사각형: 둥근 모서리 57">
              <a:extLst>
                <a:ext uri="{FF2B5EF4-FFF2-40B4-BE49-F238E27FC236}">
                  <a16:creationId xmlns:a16="http://schemas.microsoft.com/office/drawing/2014/main" id="{57754376-6893-4741-9223-3CE36C825BFA}"/>
                </a:ext>
              </a:extLst>
            </p:cNvPr>
            <p:cNvSpPr/>
            <p:nvPr/>
          </p:nvSpPr>
          <p:spPr>
            <a:xfrm>
              <a:off x="6511142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00E02C12-13C9-41B0-866A-BC6DE8B2F31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724628511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784377"/>
              </p:ext>
            </p:extLst>
          </p:nvPr>
        </p:nvGraphicFramePr>
        <p:xfrm>
          <a:off x="9267391" y="759198"/>
          <a:ext cx="2922885" cy="3383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00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5884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GRI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바로가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원문이 있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가기 버튼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래 주소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4"/>
                        </a:rPr>
                        <a:t>https://www.globalreporting.org/standards/download-the-standards/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 통합본을 전자문서 뷰어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자문서 뷰어 팝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문서 열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 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의 하위 셀이 열렸다 닫혔다 할 수 있는 기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73F6D34C-3312-4E5D-BCB1-9F5FC91470B1}"/>
              </a:ext>
            </a:extLst>
          </p:cNvPr>
          <p:cNvSpPr/>
          <p:nvPr/>
        </p:nvSpPr>
        <p:spPr>
          <a:xfrm>
            <a:off x="479376" y="3212976"/>
            <a:ext cx="1421675" cy="26583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 바로가기</a:t>
            </a:r>
          </a:p>
        </p:txBody>
      </p:sp>
      <p:graphicFrame>
        <p:nvGraphicFramePr>
          <p:cNvPr id="34" name="표 11">
            <a:extLst>
              <a:ext uri="{FF2B5EF4-FFF2-40B4-BE49-F238E27FC236}">
                <a16:creationId xmlns:a16="http://schemas.microsoft.com/office/drawing/2014/main" id="{FA5805C2-1B3C-40E0-BE0F-9B1716B47F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805542"/>
              </p:ext>
            </p:extLst>
          </p:nvPr>
        </p:nvGraphicFramePr>
        <p:xfrm>
          <a:off x="472728" y="3573016"/>
          <a:ext cx="8215560" cy="26517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63032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752528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33070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niversal Standard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건 및 원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GRI 2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GRI 3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RI 1 : Foundation 2021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 및 원칙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RI 2 : General Disclosures 2021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RI 3 : Material Topics 2021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항목별 지침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15704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 Standard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산업 부문별 보고기준 </a:t>
                      </a:r>
                      <a:r>
                        <a:rPr lang="en-US" altLang="ko-KR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※ 2023</a:t>
                      </a:r>
                      <a:r>
                        <a:rPr lang="ko-KR" altLang="en-US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</a:t>
                      </a:r>
                      <a:r>
                        <a:rPr lang="en-US" altLang="ko-KR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r>
                        <a:rPr lang="ko-KR" altLang="en-US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월 기준 </a:t>
                      </a:r>
                      <a:r>
                        <a:rPr lang="en-US" altLang="ko-KR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1-13</a:t>
                      </a:r>
                      <a:r>
                        <a:rPr lang="ko-KR" altLang="en-US" sz="7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까지 공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GRI 11 : Oil and Gas Sector 2021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석유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/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가스 부문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474632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GRI 12 : Coal Sector 2022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석탄 부문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013393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GRI 13 : Agriculture and Fishing Sector 2022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농업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/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어업 부문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635441"/>
                  </a:ext>
                </a:extLst>
              </a:tr>
            </a:tbl>
          </a:graphicData>
        </a:graphic>
      </p:graphicFrame>
      <p:sp>
        <p:nvSpPr>
          <p:cNvPr id="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E0DFAA0-F571-4A43-B20E-9C3B92F4B9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lobal Reporting Initia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EBB79039-496B-4CF7-8969-0C27755AD66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세계적으로 통용되는 가장 권위있는 지속가능성 보고서 가이드라인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는 </a:t>
            </a:r>
            <a:b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맑은 고딕" panose="020B0503020000020004" pitchFamily="50" charset="-127"/>
                <a:cs typeface="Arial"/>
              </a:rPr>
              <a:t>1997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GO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ERES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중심이 되어 설립된 국제기관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(Global Reporting Initiative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제정 운영하는 가이드라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비전은 모든 조직의 경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적 성과에 대한 보고의 정형성과 비교 가능성을 재무보고의 수준으로 만드는 것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3" name="표 8">
            <a:extLst>
              <a:ext uri="{FF2B5EF4-FFF2-40B4-BE49-F238E27FC236}">
                <a16:creationId xmlns:a16="http://schemas.microsoft.com/office/drawing/2014/main" id="{224D850B-BCAE-4DD7-BB1E-DD94B6EA4A84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C9EAC7-B8BC-4540-AA78-8A686EEE74D5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1AB2BFF4-02B9-4E1C-803C-540BBCEBB4BB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CB16251F-62B0-4FBD-8000-D2CE598E3B43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7" name="직사각형 46">
                <a:extLst>
                  <a:ext uri="{FF2B5EF4-FFF2-40B4-BE49-F238E27FC236}">
                    <a16:creationId xmlns:a16="http://schemas.microsoft.com/office/drawing/2014/main" id="{9C245219-80A5-4A25-AC22-62127E7D2FF0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48" name="직사각형 47">
                <a:extLst>
                  <a:ext uri="{FF2B5EF4-FFF2-40B4-BE49-F238E27FC236}">
                    <a16:creationId xmlns:a16="http://schemas.microsoft.com/office/drawing/2014/main" id="{7210C456-1E93-427F-8E3E-B6AAB74F6CF9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9E99B7D8-42E7-4F40-93B1-FF58110D319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05C2AACC-3956-4CA7-A1A0-8C227BCACAF6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6F5F9CC-DBC0-4090-9F8A-4AC5F27B6501}"/>
              </a:ext>
            </a:extLst>
          </p:cNvPr>
          <p:cNvSpPr/>
          <p:nvPr/>
        </p:nvSpPr>
        <p:spPr>
          <a:xfrm>
            <a:off x="8386242" y="3647407"/>
            <a:ext cx="185802" cy="1655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-</a:t>
            </a:r>
            <a:endParaRPr lang="ko-KR" altLang="en-US" sz="1400" b="1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6D94E3D9-290A-4CDA-8031-47F26652A2DE}"/>
              </a:ext>
            </a:extLst>
          </p:cNvPr>
          <p:cNvSpPr/>
          <p:nvPr/>
        </p:nvSpPr>
        <p:spPr>
          <a:xfrm>
            <a:off x="8386242" y="5055943"/>
            <a:ext cx="185802" cy="1655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-</a:t>
            </a:r>
            <a:endParaRPr lang="ko-KR" altLang="en-US" sz="1400" b="1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42EE22D9-7A23-467C-BC2E-7567D2A302CF}"/>
              </a:ext>
            </a:extLst>
          </p:cNvPr>
          <p:cNvSpPr/>
          <p:nvPr/>
        </p:nvSpPr>
        <p:spPr>
          <a:xfrm>
            <a:off x="1987128" y="3220720"/>
            <a:ext cx="1980000" cy="2479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통합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뷰어 보기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7D9BEDC-E7C6-4F20-BA56-BA50211C7864}"/>
              </a:ext>
            </a:extLst>
          </p:cNvPr>
          <p:cNvSpPr txBox="1"/>
          <p:nvPr/>
        </p:nvSpPr>
        <p:spPr>
          <a:xfrm>
            <a:off x="4023506" y="3232085"/>
            <a:ext cx="444875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항목별로 구성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은 아래 표 안에 있는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          )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클릭하여 확인 가능 </a:t>
            </a:r>
          </a:p>
        </p:txBody>
      </p:sp>
      <p:pic>
        <p:nvPicPr>
          <p:cNvPr id="25602" name="Picture 2" descr="Magic, book, skill, spell">
            <a:extLst>
              <a:ext uri="{FF2B5EF4-FFF2-40B4-BE49-F238E27FC236}">
                <a16:creationId xmlns:a16="http://schemas.microsoft.com/office/drawing/2014/main" id="{FA165C2C-3F07-4248-8EC6-892514A41A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608" y="323548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4939A45B-0937-4516-B54B-D4AD94924CA8}"/>
              </a:ext>
            </a:extLst>
          </p:cNvPr>
          <p:cNvSpPr/>
          <p:nvPr/>
        </p:nvSpPr>
        <p:spPr>
          <a:xfrm>
            <a:off x="479376" y="31766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F424CF44-82F9-4847-9DB0-22C37E824153}"/>
              </a:ext>
            </a:extLst>
          </p:cNvPr>
          <p:cNvSpPr/>
          <p:nvPr/>
        </p:nvSpPr>
        <p:spPr>
          <a:xfrm>
            <a:off x="1990598" y="31797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06B355F6-608B-4AE3-A99D-1AF8D13A0D99}"/>
              </a:ext>
            </a:extLst>
          </p:cNvPr>
          <p:cNvSpPr/>
          <p:nvPr/>
        </p:nvSpPr>
        <p:spPr>
          <a:xfrm>
            <a:off x="8255294" y="360865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8133E642-E26E-4D02-B453-AD49AD8EE8C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F9AEA57D-F5D9-4F04-B331-22C34EB25E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A359FE4D-C2BA-44B0-9ED8-B0F952EDAE0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F5F189FF-F8AD-4EC5-BE21-EC32B22A8E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C2EA687-DA2E-47C7-B3F8-031CFF20609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06FD7E7C-C21B-4663-B8FA-6DDC00D9DB6D}"/>
              </a:ext>
            </a:extLst>
          </p:cNvPr>
          <p:cNvSpPr/>
          <p:nvPr/>
        </p:nvSpPr>
        <p:spPr>
          <a:xfrm>
            <a:off x="8988732" y="-6823"/>
            <a:ext cx="3218221" cy="5178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2], [3]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번 버튼  삭제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F3785B0-519E-40BE-BE0A-56253AFFAAA2}"/>
              </a:ext>
            </a:extLst>
          </p:cNvPr>
          <p:cNvSpPr/>
          <p:nvPr/>
        </p:nvSpPr>
        <p:spPr>
          <a:xfrm>
            <a:off x="456385" y="3161645"/>
            <a:ext cx="3652714" cy="384464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8570AE66-D9E6-491D-9B01-6554CE0BA5B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74653560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631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자문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문서를 전자문서 뷰어로 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자문서 뷰어 팝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문서 열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1">
            <a:extLst>
              <a:ext uri="{FF2B5EF4-FFF2-40B4-BE49-F238E27FC236}">
                <a16:creationId xmlns:a16="http://schemas.microsoft.com/office/drawing/2014/main" id="{C321CE1F-D47F-44A0-A25A-9887A139F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36370"/>
              </p:ext>
            </p:extLst>
          </p:nvPr>
        </p:nvGraphicFramePr>
        <p:xfrm>
          <a:off x="501814" y="1635895"/>
          <a:ext cx="8114466" cy="46112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33946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68052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98624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Standards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01-207)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301-308)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401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 </a:t>
                      </a:r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슈별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보고 기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it-IT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201: Economic Performance 2016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 성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2 : Marker Presence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장지위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3 : Indirect Economic Impacts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간접 경쟁효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4 : Procurement Practices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달 관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825235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5 : Anti-corruption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반부패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69993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6 : Anti-competitive Behavior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쟁 저해 행위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780763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207 : Tax 201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금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631215"/>
                  </a:ext>
                </a:extLst>
              </a:tr>
              <a:tr h="72059">
                <a:tc>
                  <a:txBody>
                    <a:bodyPr/>
                    <a:lstStyle/>
                    <a:p>
                      <a:pPr algn="l" fontAlgn="ctr"/>
                      <a:endParaRPr 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773468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1: Materials 2016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자재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8408134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2: Energy 2016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528657"/>
                  </a:ext>
                </a:extLst>
              </a:tr>
              <a:tr h="3584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3: Water and Effluents 2018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용수 및 폐수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470956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4 : Biodiversity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975172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5: Emissions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배출량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568934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6: Waste 2020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폐기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3324767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RI 308: Supplier Environmental Assessment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업체 환경평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7359589"/>
                  </a:ext>
                </a:extLst>
              </a:tr>
            </a:tbl>
          </a:graphicData>
        </a:graphic>
      </p:graphicFrame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D549A715-6FA8-4DB5-A213-43734235CBAA}"/>
              </a:ext>
            </a:extLst>
          </p:cNvPr>
          <p:cNvCxnSpPr>
            <a:cxnSpLocks/>
          </p:cNvCxnSpPr>
          <p:nvPr/>
        </p:nvCxnSpPr>
        <p:spPr>
          <a:xfrm>
            <a:off x="608152" y="4068363"/>
            <a:ext cx="7873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E0BCFF84-4194-47BE-916D-5C64E261D497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B2CA26C2-FAFD-42CC-B0CD-7B58ED64A641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A79903D6-68E4-496F-8454-2741989164A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23" name="직사각형 22">
                <a:extLst>
                  <a:ext uri="{FF2B5EF4-FFF2-40B4-BE49-F238E27FC236}">
                    <a16:creationId xmlns:a16="http://schemas.microsoft.com/office/drawing/2014/main" id="{ECDA4D13-FC2B-4A09-B9C1-B898750721EA}"/>
                  </a:ext>
                </a:extLst>
              </p:cNvPr>
              <p:cNvSpPr/>
              <p:nvPr/>
            </p:nvSpPr>
            <p:spPr>
              <a:xfrm>
                <a:off x="9201495" y="308633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68817BFA-43E3-4959-B1A9-A5B8634B255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BE065600-66D5-48BE-A207-EFACFF6678B3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5CC624F8-15CE-40B2-8893-5C21A45CC422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pic>
        <p:nvPicPr>
          <p:cNvPr id="25" name="Picture 2" descr="Magic, book, skill, spell">
            <a:extLst>
              <a:ext uri="{FF2B5EF4-FFF2-40B4-BE49-F238E27FC236}">
                <a16:creationId xmlns:a16="http://schemas.microsoft.com/office/drawing/2014/main" id="{CD3F17C7-8421-4031-B8F1-8FBE77B6A4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198503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Magic, book, skill, spell">
            <a:extLst>
              <a:ext uri="{FF2B5EF4-FFF2-40B4-BE49-F238E27FC236}">
                <a16:creationId xmlns:a16="http://schemas.microsoft.com/office/drawing/2014/main" id="{C6CB36D8-C4DE-4A4B-B168-4976421CFB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227642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Magic, book, skill, spell">
            <a:extLst>
              <a:ext uri="{FF2B5EF4-FFF2-40B4-BE49-F238E27FC236}">
                <a16:creationId xmlns:a16="http://schemas.microsoft.com/office/drawing/2014/main" id="{DAE8A18B-2821-4181-9D03-CE9B0E266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256780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Magic, book, skill, spell">
            <a:extLst>
              <a:ext uri="{FF2B5EF4-FFF2-40B4-BE49-F238E27FC236}">
                <a16:creationId xmlns:a16="http://schemas.microsoft.com/office/drawing/2014/main" id="{5DB22A0B-3292-4E84-B995-74A80C6EC6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2859197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Magic, book, skill, spell">
            <a:extLst>
              <a:ext uri="{FF2B5EF4-FFF2-40B4-BE49-F238E27FC236}">
                <a16:creationId xmlns:a16="http://schemas.microsoft.com/office/drawing/2014/main" id="{764F6E98-E161-4AEF-90DA-D8632C147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315058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Magic, book, skill, spell">
            <a:extLst>
              <a:ext uri="{FF2B5EF4-FFF2-40B4-BE49-F238E27FC236}">
                <a16:creationId xmlns:a16="http://schemas.microsoft.com/office/drawing/2014/main" id="{17663735-548B-4260-BDFC-3684376DE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344197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Magic, book, skill, spell">
            <a:extLst>
              <a:ext uri="{FF2B5EF4-FFF2-40B4-BE49-F238E27FC236}">
                <a16:creationId xmlns:a16="http://schemas.microsoft.com/office/drawing/2014/main" id="{15A1E961-55DC-4D0F-8876-0BC6E1E99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3733362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Magic, book, skill, spell">
            <a:extLst>
              <a:ext uri="{FF2B5EF4-FFF2-40B4-BE49-F238E27FC236}">
                <a16:creationId xmlns:a16="http://schemas.microsoft.com/office/drawing/2014/main" id="{FE19ABEA-4571-4ABA-B52E-90B8112CC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4165588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Magic, book, skill, spell">
            <a:extLst>
              <a:ext uri="{FF2B5EF4-FFF2-40B4-BE49-F238E27FC236}">
                <a16:creationId xmlns:a16="http://schemas.microsoft.com/office/drawing/2014/main" id="{5C1A83E8-D5ED-4458-8F1C-DBB39A1EC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4456976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Magic, book, skill, spell">
            <a:extLst>
              <a:ext uri="{FF2B5EF4-FFF2-40B4-BE49-F238E27FC236}">
                <a16:creationId xmlns:a16="http://schemas.microsoft.com/office/drawing/2014/main" id="{DFE813A9-578A-4ED6-82D0-F9B11089EB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474836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Magic, book, skill, spell">
            <a:extLst>
              <a:ext uri="{FF2B5EF4-FFF2-40B4-BE49-F238E27FC236}">
                <a16:creationId xmlns:a16="http://schemas.microsoft.com/office/drawing/2014/main" id="{E22BC9AF-C9B6-4265-82B5-B1DF87B00C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5039752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Magic, book, skill, spell">
            <a:extLst>
              <a:ext uri="{FF2B5EF4-FFF2-40B4-BE49-F238E27FC236}">
                <a16:creationId xmlns:a16="http://schemas.microsoft.com/office/drawing/2014/main" id="{05BCCE42-A198-4B33-8086-0C7C8F877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5331140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Magic, book, skill, spell">
            <a:extLst>
              <a:ext uri="{FF2B5EF4-FFF2-40B4-BE49-F238E27FC236}">
                <a16:creationId xmlns:a16="http://schemas.microsoft.com/office/drawing/2014/main" id="{072D991B-A4C3-47C1-B6F4-4F172C160C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5622528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Magic, book, skill, spell">
            <a:extLst>
              <a:ext uri="{FF2B5EF4-FFF2-40B4-BE49-F238E27FC236}">
                <a16:creationId xmlns:a16="http://schemas.microsoft.com/office/drawing/2014/main" id="{12B155D8-3E83-4645-B2FC-29467248F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825" y="5913917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44E00637-9ACF-48F3-84D3-0F7ADE8F5F75}"/>
              </a:ext>
            </a:extLst>
          </p:cNvPr>
          <p:cNvSpPr/>
          <p:nvPr/>
        </p:nvSpPr>
        <p:spPr>
          <a:xfrm>
            <a:off x="8112224" y="19888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BDE34175-2CF0-41D5-8177-BE5058807C4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C0B77C19-ACE8-4C92-B93E-D41B9DE686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5C57ECD4-EE4E-46F8-89BC-BFE468F1EB2D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01630B4C-5AAB-4BDF-971B-7C045A732E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B42A80A-5A33-4FC4-B058-06A93C7324A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4BB5660-85B0-409C-A7CE-0A8E5B8515A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25029206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229303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1">
            <a:extLst>
              <a:ext uri="{FF2B5EF4-FFF2-40B4-BE49-F238E27FC236}">
                <a16:creationId xmlns:a16="http://schemas.microsoft.com/office/drawing/2014/main" id="{C321CE1F-D47F-44A0-A25A-9887A139F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4814733"/>
              </p:ext>
            </p:extLst>
          </p:nvPr>
        </p:nvGraphicFramePr>
        <p:xfrm>
          <a:off x="501814" y="1635896"/>
          <a:ext cx="8114466" cy="42851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18566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399590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1: Employment 2016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용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2: Labor/Management Relations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노사관계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180962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3: Occupational Health and Safety 2018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업 보건 및 안전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344701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4: Training and Education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훈련 및 교육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567397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5: Diversity and Equal Opportunity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양성 및 기회균등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275431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6: Non-discrimination 2016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별 금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5813919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7: Freedom of Association and Collective Bargaining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사 및 단체교섭의 자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027954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8: Child Labor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동 노동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587748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09: Forced or Compulsory Labor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강제 노동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254625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0: Security Practices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안 관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266270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1: Rights of Indigenous People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주민의 권리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332388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3: Local Communities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4: Supplier Social Assessment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업체 사회 평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69993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5: Public Policy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공 정책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77370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6: Customer Health and Safety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객 안전 보건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522308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7: Marketing and Labeling 20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및 </a:t>
                      </a:r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벨링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48733"/>
                  </a:ext>
                </a:extLst>
              </a:tr>
              <a:tr h="2520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418: Customer Privacy 201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객 개인정보 보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264094"/>
                  </a:ext>
                </a:extLst>
              </a:tr>
            </a:tbl>
          </a:graphicData>
        </a:graphic>
      </p:graphicFrame>
      <p:graphicFrame>
        <p:nvGraphicFramePr>
          <p:cNvPr id="26" name="표 25">
            <a:extLst>
              <a:ext uri="{FF2B5EF4-FFF2-40B4-BE49-F238E27FC236}">
                <a16:creationId xmlns:a16="http://schemas.microsoft.com/office/drawing/2014/main" id="{5AC89940-AA3B-487C-A39F-6E204D451C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349864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27" name="그룹 26">
            <a:extLst>
              <a:ext uri="{FF2B5EF4-FFF2-40B4-BE49-F238E27FC236}">
                <a16:creationId xmlns:a16="http://schemas.microsoft.com/office/drawing/2014/main" id="{458CD5EF-8296-426A-8AB8-812C089CC7A9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D6821FF2-4DAD-424E-901A-CC3AE8588F01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A1B3DC6A-81BF-4DD8-AAEF-23C329D366FD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AA870C12-8D02-4412-A210-BB15CED39880}"/>
                  </a:ext>
                </a:extLst>
              </p:cNvPr>
              <p:cNvSpPr/>
              <p:nvPr/>
            </p:nvSpPr>
            <p:spPr>
              <a:xfrm>
                <a:off x="9201495" y="468538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7A503C15-B3A7-4921-B073-B70F5C3BC450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2" name="직사각형 31">
                <a:extLst>
                  <a:ext uri="{FF2B5EF4-FFF2-40B4-BE49-F238E27FC236}">
                    <a16:creationId xmlns:a16="http://schemas.microsoft.com/office/drawing/2014/main" id="{3E692E08-F20D-4BEF-AAB9-CBE1B7B91DD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pic>
        <p:nvPicPr>
          <p:cNvPr id="22" name="Picture 2" descr="Magic, book, skill, spell">
            <a:extLst>
              <a:ext uri="{FF2B5EF4-FFF2-40B4-BE49-F238E27FC236}">
                <a16:creationId xmlns:a16="http://schemas.microsoft.com/office/drawing/2014/main" id="{35229838-0908-4D71-BD40-2B3CD3DFC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390668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Magic, book, skill, spell">
            <a:extLst>
              <a:ext uri="{FF2B5EF4-FFF2-40B4-BE49-F238E27FC236}">
                <a16:creationId xmlns:a16="http://schemas.microsoft.com/office/drawing/2014/main" id="{C5C4A897-781F-4A1E-A409-98AA1B7B8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415184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Magic, book, skill, spell">
            <a:extLst>
              <a:ext uri="{FF2B5EF4-FFF2-40B4-BE49-F238E27FC236}">
                <a16:creationId xmlns:a16="http://schemas.microsoft.com/office/drawing/2014/main" id="{27439704-3ACE-40BB-BD6A-DE69248C7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4397587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Magic, book, skill, spell">
            <a:extLst>
              <a:ext uri="{FF2B5EF4-FFF2-40B4-BE49-F238E27FC236}">
                <a16:creationId xmlns:a16="http://schemas.microsoft.com/office/drawing/2014/main" id="{8456B97F-C2FE-41C9-9B28-03B9A867B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4690360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Magic, book, skill, spell">
            <a:extLst>
              <a:ext uri="{FF2B5EF4-FFF2-40B4-BE49-F238E27FC236}">
                <a16:creationId xmlns:a16="http://schemas.microsoft.com/office/drawing/2014/main" id="{58F5E2E6-F992-42AF-A27A-EFB7663D9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497415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Magic, book, skill, spell">
            <a:extLst>
              <a:ext uri="{FF2B5EF4-FFF2-40B4-BE49-F238E27FC236}">
                <a16:creationId xmlns:a16="http://schemas.microsoft.com/office/drawing/2014/main" id="{139BF0D8-679E-4B67-9266-C1C29C2CA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5219306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Magic, book, skill, spell">
            <a:extLst>
              <a:ext uri="{FF2B5EF4-FFF2-40B4-BE49-F238E27FC236}">
                <a16:creationId xmlns:a16="http://schemas.microsoft.com/office/drawing/2014/main" id="{578DD64E-6EF2-41FE-98B3-DB400ABB1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544886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Magic, book, skill, spell">
            <a:extLst>
              <a:ext uri="{FF2B5EF4-FFF2-40B4-BE49-F238E27FC236}">
                <a16:creationId xmlns:a16="http://schemas.microsoft.com/office/drawing/2014/main" id="{AA26549A-AEEE-4338-9958-6A2C92208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2170882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Magic, book, skill, spell">
            <a:extLst>
              <a:ext uri="{FF2B5EF4-FFF2-40B4-BE49-F238E27FC236}">
                <a16:creationId xmlns:a16="http://schemas.microsoft.com/office/drawing/2014/main" id="{DCEE76A3-E25F-495E-9D83-8C083A47D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241007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Magic, book, skill, spell">
            <a:extLst>
              <a:ext uri="{FF2B5EF4-FFF2-40B4-BE49-F238E27FC236}">
                <a16:creationId xmlns:a16="http://schemas.microsoft.com/office/drawing/2014/main" id="{7C54367A-8D2B-45CF-A4E3-13D26F237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266258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Magic, book, skill, spell">
            <a:extLst>
              <a:ext uri="{FF2B5EF4-FFF2-40B4-BE49-F238E27FC236}">
                <a16:creationId xmlns:a16="http://schemas.microsoft.com/office/drawing/2014/main" id="{F08087EC-F7E2-42C3-94F6-7BEA3C163A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2923127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Magic, book, skill, spell">
            <a:extLst>
              <a:ext uri="{FF2B5EF4-FFF2-40B4-BE49-F238E27FC236}">
                <a16:creationId xmlns:a16="http://schemas.microsoft.com/office/drawing/2014/main" id="{2FDC01DE-3FE6-4A60-9F56-59D13D4C2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316887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Magic, book, skill, spell">
            <a:extLst>
              <a:ext uri="{FF2B5EF4-FFF2-40B4-BE49-F238E27FC236}">
                <a16:creationId xmlns:a16="http://schemas.microsoft.com/office/drawing/2014/main" id="{F3E3774B-31F6-4ED0-8EE5-A05F85C45F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342183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Magic, book, skill, spell">
            <a:extLst>
              <a:ext uri="{FF2B5EF4-FFF2-40B4-BE49-F238E27FC236}">
                <a16:creationId xmlns:a16="http://schemas.microsoft.com/office/drawing/2014/main" id="{0219B390-59C2-4180-8B33-B055CB745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366094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Magic, book, skill, spell">
            <a:extLst>
              <a:ext uri="{FF2B5EF4-FFF2-40B4-BE49-F238E27FC236}">
                <a16:creationId xmlns:a16="http://schemas.microsoft.com/office/drawing/2014/main" id="{855A6B5D-E9F2-4B00-814D-63BFE8EAB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168754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Magic, book, skill, spell">
            <a:extLst>
              <a:ext uri="{FF2B5EF4-FFF2-40B4-BE49-F238E27FC236}">
                <a16:creationId xmlns:a16="http://schemas.microsoft.com/office/drawing/2014/main" id="{C0A2CF36-EB70-4A12-B1FE-26F7DDADC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193328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5161D591-036A-4B3A-9D39-76CD48787AD0}"/>
              </a:ext>
            </a:extLst>
          </p:cNvPr>
          <p:cNvSpPr/>
          <p:nvPr/>
        </p:nvSpPr>
        <p:spPr>
          <a:xfrm>
            <a:off x="8098872" y="16609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CFB5FB4B-1653-4381-92B9-0EC8A36EDDA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2" name="그림 51">
              <a:extLst>
                <a:ext uri="{FF2B5EF4-FFF2-40B4-BE49-F238E27FC236}">
                  <a16:creationId xmlns:a16="http://schemas.microsoft.com/office/drawing/2014/main" id="{5AE90BCB-741F-4C9E-85D4-0E9A0C441D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8C53852C-2632-4714-BA6C-B73B2D718CFD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AA166ADA-95F0-4070-A2BB-AB87F679DB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076CAE1-3338-479E-B4B3-CB8FB42FDD5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7" name="Picture 2" descr="Magic, book, skill, spell">
            <a:extLst>
              <a:ext uri="{FF2B5EF4-FFF2-40B4-BE49-F238E27FC236}">
                <a16:creationId xmlns:a16="http://schemas.microsoft.com/office/drawing/2014/main" id="{7BBA5885-9295-457D-8196-98EC87B8E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88" y="570042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6" name="표 10">
            <a:extLst>
              <a:ext uri="{FF2B5EF4-FFF2-40B4-BE49-F238E27FC236}">
                <a16:creationId xmlns:a16="http://schemas.microsoft.com/office/drawing/2014/main" id="{E0414912-8D95-4810-AAC1-3E7BBCFD97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021593"/>
              </p:ext>
            </p:extLst>
          </p:nvPr>
        </p:nvGraphicFramePr>
        <p:xfrm>
          <a:off x="9267391" y="759198"/>
          <a:ext cx="2922885" cy="12262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GRI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바로가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원문이 있는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가기 버튼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래 주소로 이동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5"/>
                        </a:rPr>
                        <a:t>https://www.globalreporting.org/standards/download-the-standards/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GRI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보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 통합본을 전자문서 뷰어로 제공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자문서 뷰어 팝업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문서 열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48" name="직사각형 47">
            <a:extLst>
              <a:ext uri="{FF2B5EF4-FFF2-40B4-BE49-F238E27FC236}">
                <a16:creationId xmlns:a16="http://schemas.microsoft.com/office/drawing/2014/main" id="{5A7E35E2-3EDB-470A-B3FC-2D50726996D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749210607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068117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ED2B129-D736-4F78-81B7-E8D9EDDFEC9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lobal Reporting Initia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9093AA2C-3961-4E2C-908D-9AC8993AF6F8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세계적으로 통용되는 가장 권위있는 지속가능성 보고서 가이드라인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는 </a:t>
            </a:r>
            <a:b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맑은 고딕" panose="020B0503020000020004" pitchFamily="50" charset="-127"/>
                <a:cs typeface="Arial"/>
              </a:rPr>
              <a:t>1997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GO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ERES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중심이 되어 설립된 국제기관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(Global Reporting Initiative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제정 운영하는 가이드라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비전은 모든 조직의 경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적 성과에 대한 보고의 정형성과 비교 가능성을 재무보고의 수준으로 만드는 것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7" name="표 8">
            <a:extLst>
              <a:ext uri="{FF2B5EF4-FFF2-40B4-BE49-F238E27FC236}">
                <a16:creationId xmlns:a16="http://schemas.microsoft.com/office/drawing/2014/main" id="{FD3BDF6E-6ABF-4690-97D0-1B222BAEF20C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A5F14053-6703-48B9-8B4D-EE176B74A249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7AEFE8F4-0C3C-4F3F-BE25-5EBAA735CE28}"/>
              </a:ext>
            </a:extLst>
          </p:cNvPr>
          <p:cNvGrpSpPr/>
          <p:nvPr/>
        </p:nvGrpSpPr>
        <p:grpSpPr>
          <a:xfrm>
            <a:off x="445317" y="3153721"/>
            <a:ext cx="8220331" cy="3069420"/>
            <a:chOff x="418943" y="1613550"/>
            <a:chExt cx="8220331" cy="4407738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16029FE8-755A-4C20-A66B-784B6A4861C2}"/>
                </a:ext>
              </a:extLst>
            </p:cNvPr>
            <p:cNvSpPr/>
            <p:nvPr/>
          </p:nvSpPr>
          <p:spPr>
            <a:xfrm>
              <a:off x="418943" y="1650219"/>
              <a:ext cx="5092036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32976C00-A3C9-4D0E-9579-806A7EAA1110}"/>
                </a:ext>
              </a:extLst>
            </p:cNvPr>
            <p:cNvSpPr/>
            <p:nvPr/>
          </p:nvSpPr>
          <p:spPr>
            <a:xfrm>
              <a:off x="440619" y="1924902"/>
              <a:ext cx="8161072" cy="4096386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586E4D22-3850-4F99-BF14-5698A4CDBFF8}"/>
                </a:ext>
              </a:extLst>
            </p:cNvPr>
            <p:cNvGrpSpPr/>
            <p:nvPr/>
          </p:nvGrpSpPr>
          <p:grpSpPr>
            <a:xfrm>
              <a:off x="2423353" y="2429234"/>
              <a:ext cx="3930013" cy="756071"/>
              <a:chOff x="3010743" y="2119302"/>
              <a:chExt cx="3930013" cy="75607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69B64FF9-DA0B-405C-9814-6F056DCB3485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관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실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리스크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33E89560-DF58-42AB-B849-0AA0FDE475E6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‘S(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’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리스크 완화를 위한 공급망 전략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EE24E768-4639-441B-82ED-E3757A100B13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6060D4D5-C09C-4F67-94EA-715EDEE4FFD2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</a:t>
                </a: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130610F-4E40-46AE-A0B9-75E6705237C1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4C96BD29-0BE2-4111-9D8D-498E4B72656C}"/>
                  </a:ext>
                </a:extLst>
              </p:cNvPr>
              <p:cNvSpPr/>
              <p:nvPr/>
            </p:nvSpPr>
            <p:spPr>
              <a:xfrm>
                <a:off x="3977792" y="2440602"/>
                <a:ext cx="73253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</a:p>
            </p:txBody>
          </p:sp>
        </p:grp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A6F13D16-5FD9-4687-B92F-A0C5C9C5C3C8}"/>
                </a:ext>
              </a:extLst>
            </p:cNvPr>
            <p:cNvGrpSpPr/>
            <p:nvPr/>
          </p:nvGrpSpPr>
          <p:grpSpPr>
            <a:xfrm>
              <a:off x="599488" y="2136659"/>
              <a:ext cx="1820374" cy="1075495"/>
              <a:chOff x="3925318" y="3675504"/>
              <a:chExt cx="1124954" cy="765997"/>
            </a:xfrm>
          </p:grpSpPr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95AC86E0-87AF-482C-9B5C-D7F806265110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62" name="직선 연결선 161">
                <a:extLst>
                  <a:ext uri="{FF2B5EF4-FFF2-40B4-BE49-F238E27FC236}">
                    <a16:creationId xmlns:a16="http://schemas.microsoft.com/office/drawing/2014/main" id="{80FE92EA-435D-48E9-8BB4-D1FBFB868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직선 연결선 162">
                <a:extLst>
                  <a:ext uri="{FF2B5EF4-FFF2-40B4-BE49-F238E27FC236}">
                    <a16:creationId xmlns:a16="http://schemas.microsoft.com/office/drawing/2014/main" id="{6559DC21-DF75-4B0D-909A-2871DA8208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E40680C-3B88-44B2-BF07-0E6DEC279E98}"/>
                </a:ext>
              </a:extLst>
            </p:cNvPr>
            <p:cNvGrpSpPr/>
            <p:nvPr/>
          </p:nvGrpSpPr>
          <p:grpSpPr>
            <a:xfrm>
              <a:off x="2998868" y="3397119"/>
              <a:ext cx="764659" cy="231036"/>
              <a:chOff x="1483869" y="7479163"/>
              <a:chExt cx="764659" cy="231036"/>
            </a:xfrm>
          </p:grpSpPr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A567A0E0-CDD8-4702-8714-C2BD68FAA518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20391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EDC0BDF5-254D-4A3E-8EE1-013E8762FB5F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esson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352BDA8-B731-4D07-BCA3-1CA2B40D6D86}"/>
                </a:ext>
              </a:extLst>
            </p:cNvPr>
            <p:cNvGrpSpPr/>
            <p:nvPr/>
          </p:nvGrpSpPr>
          <p:grpSpPr>
            <a:xfrm>
              <a:off x="2424814" y="3698999"/>
              <a:ext cx="5275929" cy="745513"/>
              <a:chOff x="1410704" y="4990597"/>
              <a:chExt cx="5492992" cy="745513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F7B33716-1B70-4C1D-933A-CBA55512CA32}"/>
                  </a:ext>
                </a:extLst>
              </p:cNvPr>
              <p:cNvSpPr/>
              <p:nvPr/>
            </p:nvSpPr>
            <p:spPr>
              <a:xfrm>
                <a:off x="1410704" y="4990597"/>
                <a:ext cx="5492992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defTabSz="2437985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알기 쉬운 탄소국경조정제도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CBAM) –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잠정합의안 주요 내용 및 기업의 대응방안  </a:t>
                </a:r>
                <a:endPara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85CDB5A3-9C7E-40D9-9732-1AB16375299C}"/>
                  </a:ext>
                </a:extLst>
              </p:cNvPr>
              <p:cNvSpPr/>
              <p:nvPr/>
            </p:nvSpPr>
            <p:spPr>
              <a:xfrm>
                <a:off x="1424954" y="5523801"/>
                <a:ext cx="20877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0A1CC6E-CE68-4AD2-A4C3-2B91F59DD863}"/>
                </a:ext>
              </a:extLst>
            </p:cNvPr>
            <p:cNvGrpSpPr/>
            <p:nvPr/>
          </p:nvGrpSpPr>
          <p:grpSpPr>
            <a:xfrm>
              <a:off x="2523772" y="4004569"/>
              <a:ext cx="1574676" cy="155552"/>
              <a:chOff x="3287688" y="7159620"/>
              <a:chExt cx="1069338" cy="218101"/>
            </a:xfrm>
          </p:grpSpPr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A0A7B54D-1617-46D1-9F18-3FE7D01C2FA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01F18C6E-1F60-4C30-8BD7-3B63DC15288E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6AEA1494-5521-4E78-B7E4-A05D9968955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0EBC87C9-176D-46D3-ABAC-406DBD952848}"/>
                </a:ext>
              </a:extLst>
            </p:cNvPr>
            <p:cNvGrpSpPr/>
            <p:nvPr/>
          </p:nvGrpSpPr>
          <p:grpSpPr>
            <a:xfrm>
              <a:off x="599488" y="3419097"/>
              <a:ext cx="1820374" cy="1075495"/>
              <a:chOff x="3925318" y="3675504"/>
              <a:chExt cx="1124954" cy="765997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5F3EC512-77FA-4DD1-B9FB-C543532B9C46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52" name="직선 연결선 151">
                <a:extLst>
                  <a:ext uri="{FF2B5EF4-FFF2-40B4-BE49-F238E27FC236}">
                    <a16:creationId xmlns:a16="http://schemas.microsoft.com/office/drawing/2014/main" id="{B08FC3AF-6945-4B52-A494-AD6451388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직선 연결선 152">
                <a:extLst>
                  <a:ext uri="{FF2B5EF4-FFF2-40B4-BE49-F238E27FC236}">
                    <a16:creationId xmlns:a16="http://schemas.microsoft.com/office/drawing/2014/main" id="{692270C6-84C4-4BF9-AF89-DAE2D8E683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E0B76454-3AE3-4A75-9C13-A024322BCA44}"/>
                </a:ext>
              </a:extLst>
            </p:cNvPr>
            <p:cNvGrpSpPr/>
            <p:nvPr/>
          </p:nvGrpSpPr>
          <p:grpSpPr>
            <a:xfrm>
              <a:off x="2403976" y="2123186"/>
              <a:ext cx="764659" cy="231036"/>
              <a:chOff x="1483869" y="7479163"/>
              <a:chExt cx="764659" cy="231036"/>
            </a:xfrm>
          </p:grpSpPr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C3A55689-AD0D-4999-9956-DA2A409C09EF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2CFB9699-DCEB-4C5E-8157-6A51FE1E27B4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2EF697B0-E83A-41EA-9C66-D77C4CE14925}"/>
                </a:ext>
              </a:extLst>
            </p:cNvPr>
            <p:cNvSpPr/>
            <p:nvPr/>
          </p:nvSpPr>
          <p:spPr>
            <a:xfrm>
              <a:off x="4193697" y="4007231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8E18647-6323-48DA-B76A-A1CDCC696924}"/>
                </a:ext>
              </a:extLst>
            </p:cNvPr>
            <p:cNvSpPr/>
            <p:nvPr/>
          </p:nvSpPr>
          <p:spPr>
            <a:xfrm>
              <a:off x="1533434" y="4283627"/>
              <a:ext cx="824131" cy="1481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0F604A11-3B24-40E8-B324-45E1AAAEB568}"/>
                </a:ext>
              </a:extLst>
            </p:cNvPr>
            <p:cNvGrpSpPr/>
            <p:nvPr/>
          </p:nvGrpSpPr>
          <p:grpSpPr>
            <a:xfrm>
              <a:off x="1349598" y="3804003"/>
              <a:ext cx="317115" cy="317115"/>
              <a:chOff x="1519093" y="5661249"/>
              <a:chExt cx="504056" cy="504056"/>
            </a:xfrm>
          </p:grpSpPr>
          <p:sp>
            <p:nvSpPr>
              <p:cNvPr id="147" name="타원 146">
                <a:extLst>
                  <a:ext uri="{FF2B5EF4-FFF2-40B4-BE49-F238E27FC236}">
                    <a16:creationId xmlns:a16="http://schemas.microsoft.com/office/drawing/2014/main" id="{87332095-6893-4F76-9D0D-6C8A1868992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이등변 삼각형 147">
                <a:extLst>
                  <a:ext uri="{FF2B5EF4-FFF2-40B4-BE49-F238E27FC236}">
                    <a16:creationId xmlns:a16="http://schemas.microsoft.com/office/drawing/2014/main" id="{D4F9F28D-1D1C-4982-A0D2-0E4E3D0F18C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D126C3B-CF73-4CA0-B84E-01C910DAC4C6}"/>
                </a:ext>
              </a:extLst>
            </p:cNvPr>
            <p:cNvSpPr/>
            <p:nvPr/>
          </p:nvSpPr>
          <p:spPr>
            <a:xfrm>
              <a:off x="539412" y="2082496"/>
              <a:ext cx="7932852" cy="1194183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92EB0FA4-9659-429F-9330-28B446BA4BC5}"/>
                </a:ext>
              </a:extLst>
            </p:cNvPr>
            <p:cNvGrpSpPr/>
            <p:nvPr/>
          </p:nvGrpSpPr>
          <p:grpSpPr>
            <a:xfrm>
              <a:off x="2419861" y="4959632"/>
              <a:ext cx="3930013" cy="756071"/>
              <a:chOff x="3010743" y="2119302"/>
              <a:chExt cx="3930013" cy="756071"/>
            </a:xfrm>
          </p:grpSpPr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5AABC431-6476-452A-8E6C-C9FB1824DB8B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 # 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기준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98D8672-3582-445A-87AF-CF1625D12183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F94F41D8-62FE-427D-8275-F6F92D33768B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C2E001C7-8827-4020-9046-DD0AE10FE889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98AA277C-195E-4789-93A5-1DB475EC3C2F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722744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40A2622C-58F6-40DC-88AB-6DC64A17CD38}"/>
                  </a:ext>
                </a:extLst>
              </p:cNvPr>
              <p:cNvSpPr/>
              <p:nvPr/>
            </p:nvSpPr>
            <p:spPr>
              <a:xfrm>
                <a:off x="4340966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0" name="그룹 119">
              <a:extLst>
                <a:ext uri="{FF2B5EF4-FFF2-40B4-BE49-F238E27FC236}">
                  <a16:creationId xmlns:a16="http://schemas.microsoft.com/office/drawing/2014/main" id="{1EE2B7AE-3C82-4A95-BCB4-C3013506318E}"/>
                </a:ext>
              </a:extLst>
            </p:cNvPr>
            <p:cNvGrpSpPr/>
            <p:nvPr/>
          </p:nvGrpSpPr>
          <p:grpSpPr>
            <a:xfrm>
              <a:off x="595996" y="4667057"/>
              <a:ext cx="1820374" cy="1075495"/>
              <a:chOff x="3925318" y="3675504"/>
              <a:chExt cx="1124954" cy="765997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BDB91236-6E19-4FD8-83F9-1C4C17DA3413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5" name="직선 연결선 134">
                <a:extLst>
                  <a:ext uri="{FF2B5EF4-FFF2-40B4-BE49-F238E27FC236}">
                    <a16:creationId xmlns:a16="http://schemas.microsoft.com/office/drawing/2014/main" id="{D1FD4AB3-74AA-4855-86AC-CB5D5B9D5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72B23B6B-DDF3-4FD2-B020-3112C0735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39F9A19A-9D14-489E-9D0B-202955F0ED84}"/>
                </a:ext>
              </a:extLst>
            </p:cNvPr>
            <p:cNvGrpSpPr/>
            <p:nvPr/>
          </p:nvGrpSpPr>
          <p:grpSpPr>
            <a:xfrm>
              <a:off x="2400484" y="4653584"/>
              <a:ext cx="764659" cy="231036"/>
              <a:chOff x="1483869" y="7479163"/>
              <a:chExt cx="764659" cy="231036"/>
            </a:xfrm>
          </p:grpSpPr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17BB3C3B-384B-4779-A81B-F7EAD3AB90BA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0C5830E-FD2A-4166-897B-CFB163F220D6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2" name="그룹 121">
              <a:extLst>
                <a:ext uri="{FF2B5EF4-FFF2-40B4-BE49-F238E27FC236}">
                  <a16:creationId xmlns:a16="http://schemas.microsoft.com/office/drawing/2014/main" id="{55E90889-FD1D-45E5-966A-B51C57C424A3}"/>
                </a:ext>
              </a:extLst>
            </p:cNvPr>
            <p:cNvGrpSpPr/>
            <p:nvPr/>
          </p:nvGrpSpPr>
          <p:grpSpPr>
            <a:xfrm>
              <a:off x="8099274" y="3382036"/>
              <a:ext cx="540000" cy="576000"/>
              <a:chOff x="-2020480" y="1176136"/>
              <a:chExt cx="1216800" cy="956948"/>
            </a:xfrm>
          </p:grpSpPr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675FDAAB-EAC7-443E-BAD9-67DE28D184FC}"/>
                  </a:ext>
                </a:extLst>
              </p:cNvPr>
              <p:cNvSpPr/>
              <p:nvPr/>
            </p:nvSpPr>
            <p:spPr>
              <a:xfrm>
                <a:off x="-2020480" y="1176136"/>
                <a:ext cx="1216800" cy="95694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700" b="1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07116B44-248D-4ECD-923E-78EAC5695B54}"/>
                  </a:ext>
                </a:extLst>
              </p:cNvPr>
              <p:cNvSpPr/>
              <p:nvPr/>
            </p:nvSpPr>
            <p:spPr>
              <a:xfrm>
                <a:off x="-1981326" y="1787888"/>
                <a:ext cx="1157289" cy="2606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온라인문의</a:t>
                </a:r>
              </a:p>
            </p:txBody>
          </p:sp>
          <p:pic>
            <p:nvPicPr>
              <p:cNvPr id="130" name="그림 129">
                <a:extLst>
                  <a:ext uri="{FF2B5EF4-FFF2-40B4-BE49-F238E27FC236}">
                    <a16:creationId xmlns:a16="http://schemas.microsoft.com/office/drawing/2014/main" id="{F2E62DF5-2AF0-471F-8ABA-D47079E52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27181" y="1298831"/>
                <a:ext cx="449001" cy="383626"/>
              </a:xfrm>
              <a:prstGeom prst="rect">
                <a:avLst/>
              </a:prstGeom>
            </p:spPr>
          </p:pic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D8FBF68F-5DD9-4CCD-8561-3E9D98EF99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1906736" y="2133084"/>
                <a:ext cx="10081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EF66246-5A7A-4531-9486-57343D8CDDDC}"/>
                </a:ext>
              </a:extLst>
            </p:cNvPr>
            <p:cNvSpPr/>
            <p:nvPr/>
          </p:nvSpPr>
          <p:spPr>
            <a:xfrm>
              <a:off x="2514522" y="3424468"/>
              <a:ext cx="530588" cy="195775"/>
            </a:xfrm>
            <a:prstGeom prst="rect">
              <a:avLst/>
            </a:prstGeom>
            <a:solidFill>
              <a:srgbClr val="C0460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ick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C21155F-4748-4AFB-84D8-062E89C14E26}"/>
                </a:ext>
              </a:extLst>
            </p:cNvPr>
            <p:cNvSpPr/>
            <p:nvPr/>
          </p:nvSpPr>
          <p:spPr>
            <a:xfrm>
              <a:off x="428844" y="1613550"/>
              <a:ext cx="1204522" cy="216540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70" name="표 10">
            <a:extLst>
              <a:ext uri="{FF2B5EF4-FFF2-40B4-BE49-F238E27FC236}">
                <a16:creationId xmlns:a16="http://schemas.microsoft.com/office/drawing/2014/main" id="{52C6D022-3108-40BD-B35F-2FB7FDF9CC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17495"/>
              </p:ext>
            </p:extLst>
          </p:nvPr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99215E05-AD56-4FC1-960C-E7115FFC2DFA}"/>
              </a:ext>
            </a:extLst>
          </p:cNvPr>
          <p:cNvSpPr/>
          <p:nvPr/>
        </p:nvSpPr>
        <p:spPr>
          <a:xfrm>
            <a:off x="423909" y="31228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4E4B4008-0D79-449B-ACE5-828B2709E4A1}"/>
              </a:ext>
            </a:extLst>
          </p:cNvPr>
          <p:cNvSpPr/>
          <p:nvPr/>
        </p:nvSpPr>
        <p:spPr>
          <a:xfrm>
            <a:off x="1447709" y="31174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C9782AA-864B-4C61-87A0-97FAFC96C689}"/>
              </a:ext>
            </a:extLst>
          </p:cNvPr>
          <p:cNvSpPr/>
          <p:nvPr/>
        </p:nvSpPr>
        <p:spPr>
          <a:xfrm>
            <a:off x="365705" y="3327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648C397E-3F6B-4EB0-B5C4-0203C0A70781}"/>
              </a:ext>
            </a:extLst>
          </p:cNvPr>
          <p:cNvSpPr/>
          <p:nvPr/>
        </p:nvSpPr>
        <p:spPr>
          <a:xfrm>
            <a:off x="518105" y="34796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5B0126F7-C821-4C1F-86F2-9881D3B10726}"/>
              </a:ext>
            </a:extLst>
          </p:cNvPr>
          <p:cNvSpPr/>
          <p:nvPr/>
        </p:nvSpPr>
        <p:spPr>
          <a:xfrm>
            <a:off x="1463916" y="36511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A84E440-7B2D-4E01-B16E-748462E52986}"/>
              </a:ext>
            </a:extLst>
          </p:cNvPr>
          <p:cNvSpPr/>
          <p:nvPr/>
        </p:nvSpPr>
        <p:spPr>
          <a:xfrm>
            <a:off x="2465520" y="344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7" name="표 10">
            <a:extLst>
              <a:ext uri="{FF2B5EF4-FFF2-40B4-BE49-F238E27FC236}">
                <a16:creationId xmlns:a16="http://schemas.microsoft.com/office/drawing/2014/main" id="{971E8732-7508-41E1-BC67-8C1CDF84CE30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96419F6A-7A27-4F03-A681-780AC52A0A79}"/>
              </a:ext>
            </a:extLst>
          </p:cNvPr>
          <p:cNvSpPr/>
          <p:nvPr/>
        </p:nvSpPr>
        <p:spPr>
          <a:xfrm>
            <a:off x="2432856" y="43698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78DE782E-FE20-4439-8C05-FA8FE9B64A1E}"/>
              </a:ext>
            </a:extLst>
          </p:cNvPr>
          <p:cNvSpPr/>
          <p:nvPr/>
        </p:nvSpPr>
        <p:spPr>
          <a:xfrm>
            <a:off x="2369056" y="4578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D5C7480F-25A4-43DB-B04F-3F889B15964D}"/>
              </a:ext>
            </a:extLst>
          </p:cNvPr>
          <p:cNvSpPr/>
          <p:nvPr/>
        </p:nvSpPr>
        <p:spPr>
          <a:xfrm>
            <a:off x="2377095" y="4772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96481CB9-FBF4-4F2E-84C1-DEDDBA7DF3F1}"/>
              </a:ext>
            </a:extLst>
          </p:cNvPr>
          <p:cNvSpPr/>
          <p:nvPr/>
        </p:nvSpPr>
        <p:spPr>
          <a:xfrm>
            <a:off x="4149388" y="4764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13B8F568-1FC6-4A33-A059-BE5B3B1399EA}"/>
              </a:ext>
            </a:extLst>
          </p:cNvPr>
          <p:cNvSpPr/>
          <p:nvPr/>
        </p:nvSpPr>
        <p:spPr>
          <a:xfrm>
            <a:off x="2384783" y="4958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BF57D378-C007-4AF5-92F3-401D0D679814}"/>
              </a:ext>
            </a:extLst>
          </p:cNvPr>
          <p:cNvSpPr/>
          <p:nvPr/>
        </p:nvSpPr>
        <p:spPr>
          <a:xfrm>
            <a:off x="1473283" y="4932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35B37526-473F-4D35-AE04-A0ED8EFCC3CA}"/>
              </a:ext>
            </a:extLst>
          </p:cNvPr>
          <p:cNvSpPr/>
          <p:nvPr/>
        </p:nvSpPr>
        <p:spPr>
          <a:xfrm>
            <a:off x="8972055" y="1"/>
            <a:ext cx="3218221" cy="11706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컨텐츠 내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추가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기준서 반영 부탁드립니다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)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69B374B-FF65-48B2-A555-D50A1A0A3E0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26266053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GRI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3DA30863-1B4A-48DC-B989-264A0AA3446C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99B181EB-B011-4C23-A93D-0818B24B744A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id="{A403D4D2-C54E-40FE-9AF1-04179D69B07E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193AFA5D-757E-4C70-8403-44F2D03BDAF1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DF31B67C-4CE8-4386-A68D-7D47D3F800C3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70230FE7-C565-47CC-B6AD-C1D6E9F755E6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5FD247CD-8058-4C68-AA5B-ABF26527C014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D3C22041-1787-4650-AF0E-97CCE491D8C3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57FE30DB-F545-4099-8C97-934DE4E1CA98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72" name="직선 연결선 71">
                <a:extLst>
                  <a:ext uri="{FF2B5EF4-FFF2-40B4-BE49-F238E27FC236}">
                    <a16:creationId xmlns:a16="http://schemas.microsoft.com/office/drawing/2014/main" id="{BE81DF92-06C2-40A8-AAC5-C30C6A9FF8B8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직선 연결선 72">
                <a:extLst>
                  <a:ext uri="{FF2B5EF4-FFF2-40B4-BE49-F238E27FC236}">
                    <a16:creationId xmlns:a16="http://schemas.microsoft.com/office/drawing/2014/main" id="{CBEACB0A-1F96-42E0-BA82-D9312EBA67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D50BC42C-A883-48E2-8B84-FDB4CAB011DE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CFF64EBA-7EC8-40F3-8ED8-DF1665DFE55C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9" name="직선 연결선 68">
                <a:extLst>
                  <a:ext uri="{FF2B5EF4-FFF2-40B4-BE49-F238E27FC236}">
                    <a16:creationId xmlns:a16="http://schemas.microsoft.com/office/drawing/2014/main" id="{D9CEB609-4C70-4576-B0AF-0C1E9419ED77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직선 연결선 69">
                <a:extLst>
                  <a:ext uri="{FF2B5EF4-FFF2-40B4-BE49-F238E27FC236}">
                    <a16:creationId xmlns:a16="http://schemas.microsoft.com/office/drawing/2014/main" id="{61D25F10-4A10-425B-A1F5-ECDB92A8EF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5BAA6C2A-6659-48CE-AB74-D08D80A0157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5" name="사각형: 둥근 모서리 34">
              <a:extLst>
                <a:ext uri="{FF2B5EF4-FFF2-40B4-BE49-F238E27FC236}">
                  <a16:creationId xmlns:a16="http://schemas.microsoft.com/office/drawing/2014/main" id="{F29C1135-2521-4E82-861B-7CCB615A37CF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5F8A2D0D-D7B4-462B-8BF4-D91C68F15BE8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EF4B3AB9-318A-4090-B5DE-1CEACE96FE7F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A0650F25-D42D-4722-8E76-8DD838A84B39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A89A01AA-7CAC-4D01-A064-424406991EB1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5E16658D-D8C8-415B-B62F-691E97DB53C7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3B1D496F-9D02-467D-824B-0022A381A396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D6A242D2-529F-479E-99C9-3C51D6914E92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6" name="직선 연결선 65">
                <a:extLst>
                  <a:ext uri="{FF2B5EF4-FFF2-40B4-BE49-F238E27FC236}">
                    <a16:creationId xmlns:a16="http://schemas.microsoft.com/office/drawing/2014/main" id="{1531BEB4-13C1-4220-95E6-563DDB68B2FC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직선 연결선 66">
                <a:extLst>
                  <a:ext uri="{FF2B5EF4-FFF2-40B4-BE49-F238E27FC236}">
                    <a16:creationId xmlns:a16="http://schemas.microsoft.com/office/drawing/2014/main" id="{1A590505-C69E-4E37-A40D-FF603E326B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24ACB150-0F3E-4867-99CB-B84D1E8B7EAE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89B767FA-5066-4869-B114-E913D6F3F2BA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3" name="직선 연결선 62">
                <a:extLst>
                  <a:ext uri="{FF2B5EF4-FFF2-40B4-BE49-F238E27FC236}">
                    <a16:creationId xmlns:a16="http://schemas.microsoft.com/office/drawing/2014/main" id="{27DF1168-BDA8-4C5E-95BF-718537177F5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직선 연결선 63">
                <a:extLst>
                  <a:ext uri="{FF2B5EF4-FFF2-40B4-BE49-F238E27FC236}">
                    <a16:creationId xmlns:a16="http://schemas.microsoft.com/office/drawing/2014/main" id="{6F29F2AB-F212-4822-AF1B-8615B45B4A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0D5EA7FB-3976-4BC3-9AD8-6B3BD3E87F50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820CCD61-8D8B-4904-BA63-7BA9F3D1AF18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43FD8BED-E89C-47B5-A7A5-9BD96664B7BE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55C40993-51A4-4474-B2CC-EEBBC164B407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BEE72384-DE04-4C96-AC3E-948247D2B051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직사각형 57">
                <a:extLst>
                  <a:ext uri="{FF2B5EF4-FFF2-40B4-BE49-F238E27FC236}">
                    <a16:creationId xmlns:a16="http://schemas.microsoft.com/office/drawing/2014/main" id="{4F613ABA-331C-42AA-95F7-4698F8EE0EAB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7" name="그룹 46">
              <a:extLst>
                <a:ext uri="{FF2B5EF4-FFF2-40B4-BE49-F238E27FC236}">
                  <a16:creationId xmlns:a16="http://schemas.microsoft.com/office/drawing/2014/main" id="{584A42B6-26BA-46C2-A48B-FC3D89C7821C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58B3E337-D34D-4BF7-8F27-A3C867A6F6C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직사각형 55">
                <a:extLst>
                  <a:ext uri="{FF2B5EF4-FFF2-40B4-BE49-F238E27FC236}">
                    <a16:creationId xmlns:a16="http://schemas.microsoft.com/office/drawing/2014/main" id="{06C89A4D-63EA-4C6B-B5B9-88C475587629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48" name="사각형: 둥근 모서리 47">
              <a:extLst>
                <a:ext uri="{FF2B5EF4-FFF2-40B4-BE49-F238E27FC236}">
                  <a16:creationId xmlns:a16="http://schemas.microsoft.com/office/drawing/2014/main" id="{69E8F72C-A078-4506-A1D9-CF85B73014B7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5DE0EEA9-55F5-4269-8BF5-F005279B3CD2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EA6268B6-FD18-4232-BAFE-0180B2C62BB3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F2C3D361-2A37-4221-965D-9BB19FD2AE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3FF06468-0705-4FBC-A873-322A8D7534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6" descr="전체보기 목록 | 환경 | 키즈현대">
              <a:extLst>
                <a:ext uri="{FF2B5EF4-FFF2-40B4-BE49-F238E27FC236}">
                  <a16:creationId xmlns:a16="http://schemas.microsoft.com/office/drawing/2014/main" id="{107F4AE3-6801-427C-BC8D-9C4D51C35D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0BA8DEE2-595E-490A-92F2-96863BE2B3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ED2B129-D736-4F78-81B7-E8D9EDDFEC9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lobal Reporting Initia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9093AA2C-3961-4E2C-908D-9AC8993AF6F8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세계적으로 통용되는 가장 권위있는 지속가능성 보고서 가이드라인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는 </a:t>
            </a:r>
            <a:b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맑은 고딕" panose="020B0503020000020004" pitchFamily="50" charset="-127"/>
                <a:cs typeface="Arial"/>
              </a:rPr>
              <a:t>1997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GO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ERES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중심이 되어 설립된 국제기관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(Global Reporting Initiative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제정 운영하는 가이드라인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비전은 모든 조직의 경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적 성과에 대한 보고의 정형성과 비교 가능성을 재무보고의 수준으로 만드는 것입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7" name="표 8">
            <a:extLst>
              <a:ext uri="{FF2B5EF4-FFF2-40B4-BE49-F238E27FC236}">
                <a16:creationId xmlns:a16="http://schemas.microsoft.com/office/drawing/2014/main" id="{FD3BDF6E-6ABF-4690-97D0-1B222BAEF2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685517"/>
              </p:ext>
            </p:extLst>
          </p:nvPr>
        </p:nvGraphicFramePr>
        <p:xfrm>
          <a:off x="496390" y="2780928"/>
          <a:ext cx="8198025" cy="2880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A5F14053-6703-48B9-8B4D-EE176B74A249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015BCEF4-DD12-48F4-8946-9EAB5DB7099A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5C5825AB-3BEB-40BF-A4A9-3F1630C1F073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B4B633A3-2AD8-4CD6-A79F-F75A094F9E1E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25640D8-7265-4416-AED9-229869A8DC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9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AEB1A1D-69B9-440E-9165-FBD5572C39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40FBEB-2299-4633-A015-AF81E77F806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4A4FF8F-AB4D-492D-A1C8-B0354EDFBE6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D83CE6C-202B-4B32-A8E8-298CAF15997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3F0C4C4-9ADB-4603-9215-2B63780D09E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830ED96-B8C5-4A3E-BD66-3044150A463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037555795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3429000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2636912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International Sustainability Standards Board)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D4818F4-25D1-4D61-BAB0-B0A7BA0E9BE2}"/>
              </a:ext>
            </a:extLst>
          </p:cNvPr>
          <p:cNvSpPr/>
          <p:nvPr/>
        </p:nvSpPr>
        <p:spPr>
          <a:xfrm>
            <a:off x="498718" y="3004457"/>
            <a:ext cx="8195695" cy="59700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S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제재무보고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재단 산하의 위원회로서 지속가능성 공시를 위한 기준을 제정하는 국제 지속가능성 기준위원회에서 제공하는 공시 가이드라인입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b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관련 재무정보 공시를 위한 일반 요구사항을 제시하고 있는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1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와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주제영역을 지배구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와 목표 측면으로 분류하여 공시 기준을 제공하는 기준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2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</a:p>
        </p:txBody>
      </p:sp>
      <p:graphicFrame>
        <p:nvGraphicFramePr>
          <p:cNvPr id="53" name="표 8">
            <a:extLst>
              <a:ext uri="{FF2B5EF4-FFF2-40B4-BE49-F238E27FC236}">
                <a16:creationId xmlns:a16="http://schemas.microsoft.com/office/drawing/2014/main" id="{588A1BD6-7530-4ACC-891B-95A457122A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0332908"/>
              </p:ext>
            </p:extLst>
          </p:nvPr>
        </p:nvGraphicFramePr>
        <p:xfrm>
          <a:off x="496390" y="3744421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22C9DF60-D39C-499B-842B-3409674813EA}"/>
              </a:ext>
            </a:extLst>
          </p:cNvPr>
          <p:cNvSpPr/>
          <p:nvPr/>
        </p:nvSpPr>
        <p:spPr>
          <a:xfrm>
            <a:off x="463171" y="36734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551754AE-D88C-4D1A-A79E-4D19BC8839C3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1157867A-8AE7-48DC-A576-E364D0932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F2B86B6D-A764-43EA-A1BA-B185D518F48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EB281C7D-B5DD-42A5-8327-571407A16E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ED8FD6BF-BB08-407A-B16F-58F98CEFA0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5F0E6DD-6AAF-4613-BD4D-6BF752FFADF7}"/>
              </a:ext>
            </a:extLst>
          </p:cNvPr>
          <p:cNvGrpSpPr/>
          <p:nvPr/>
        </p:nvGrpSpPr>
        <p:grpSpPr>
          <a:xfrm>
            <a:off x="341695" y="1612190"/>
            <a:ext cx="8642428" cy="996677"/>
            <a:chOff x="341695" y="1612190"/>
            <a:chExt cx="8642428" cy="996677"/>
          </a:xfrm>
        </p:grpSpPr>
        <p:sp>
          <p:nvSpPr>
            <p:cNvPr id="64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E7DAD987-37A1-4617-90D2-CABBB5DE3D8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65051907-8945-46E9-9249-BBD025BC085A}"/>
                </a:ext>
              </a:extLst>
            </p:cNvPr>
            <p:cNvSpPr/>
            <p:nvPr/>
          </p:nvSpPr>
          <p:spPr>
            <a:xfrm>
              <a:off x="469824" y="2202180"/>
              <a:ext cx="1233688" cy="346144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2" name="사각형: 둥근 모서리 71">
              <a:extLst>
                <a:ext uri="{FF2B5EF4-FFF2-40B4-BE49-F238E27FC236}">
                  <a16:creationId xmlns:a16="http://schemas.microsoft.com/office/drawing/2014/main" id="{EC1501D1-CB53-4837-8A9F-419E1CCB5F9A}"/>
                </a:ext>
              </a:extLst>
            </p:cNvPr>
            <p:cNvSpPr/>
            <p:nvPr/>
          </p:nvSpPr>
          <p:spPr>
            <a:xfrm>
              <a:off x="1776659" y="2218192"/>
              <a:ext cx="847884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7D727273-D4B3-4767-9925-3611BF8EEB06}"/>
                </a:ext>
              </a:extLst>
            </p:cNvPr>
            <p:cNvSpPr/>
            <p:nvPr/>
          </p:nvSpPr>
          <p:spPr>
            <a:xfrm>
              <a:off x="2702939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72CAF3D8-6E75-45AE-A7EA-C794588A6983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직선 연결선 83">
              <a:extLst>
                <a:ext uri="{FF2B5EF4-FFF2-40B4-BE49-F238E27FC236}">
                  <a16:creationId xmlns:a16="http://schemas.microsoft.com/office/drawing/2014/main" id="{F68218C2-45FF-45BF-9DE4-8C263C35FB63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608867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65DF8FF9-53E7-46BE-8E80-A037D1EAD19A}"/>
                </a:ext>
              </a:extLst>
            </p:cNvPr>
            <p:cNvSpPr/>
            <p:nvPr/>
          </p:nvSpPr>
          <p:spPr>
            <a:xfrm>
              <a:off x="3655068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사각형: 둥근 모서리 86">
              <a:extLst>
                <a:ext uri="{FF2B5EF4-FFF2-40B4-BE49-F238E27FC236}">
                  <a16:creationId xmlns:a16="http://schemas.microsoft.com/office/drawing/2014/main" id="{A71717F6-C150-4EE6-AF94-FE3F6EE54CA3}"/>
                </a:ext>
              </a:extLst>
            </p:cNvPr>
            <p:cNvSpPr/>
            <p:nvPr/>
          </p:nvSpPr>
          <p:spPr>
            <a:xfrm>
              <a:off x="4607197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5070669D-064C-474E-8C77-C9461ECA2115}"/>
                </a:ext>
              </a:extLst>
            </p:cNvPr>
            <p:cNvSpPr/>
            <p:nvPr/>
          </p:nvSpPr>
          <p:spPr>
            <a:xfrm>
              <a:off x="5559326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9" name="사각형: 둥근 모서리 88">
              <a:extLst>
                <a:ext uri="{FF2B5EF4-FFF2-40B4-BE49-F238E27FC236}">
                  <a16:creationId xmlns:a16="http://schemas.microsoft.com/office/drawing/2014/main" id="{6FAE576C-37AB-4BD3-B9B0-00A9DBB5827C}"/>
                </a:ext>
              </a:extLst>
            </p:cNvPr>
            <p:cNvSpPr/>
            <p:nvPr/>
          </p:nvSpPr>
          <p:spPr>
            <a:xfrm>
              <a:off x="6511142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DEA1B707-990D-4EA4-97A1-A5BDA7EE390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91" name="그림 90">
            <a:extLst>
              <a:ext uri="{FF2B5EF4-FFF2-40B4-BE49-F238E27FC236}">
                <a16:creationId xmlns:a16="http://schemas.microsoft.com/office/drawing/2014/main" id="{F32F8C9E-021A-4542-9C0C-4EB13BDE8B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105" y="4130116"/>
            <a:ext cx="8193347" cy="423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100518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631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자문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를 전자문서 뷰어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자문서 뷰어 팝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문서 열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International Sustainability Standards Board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D4818F4-25D1-4D61-BAB0-B0A7BA0E9BE2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S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제재무보고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재단 산하의 위원회로서 지속가능성 공시를 위한 기준을 제정하는 국제 지속가능성 기준위원회에서 제공하는 공시 가이드라인입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b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관련 재무정보 공시를 위한 일반 요구사항을 제시하고 있는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1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와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주제영역을 지배구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와 목표 측면으로 분류하여 공시 기준을 제공하는 기준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2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</a:p>
        </p:txBody>
      </p:sp>
      <p:graphicFrame>
        <p:nvGraphicFramePr>
          <p:cNvPr id="53" name="표 8">
            <a:extLst>
              <a:ext uri="{FF2B5EF4-FFF2-40B4-BE49-F238E27FC236}">
                <a16:creationId xmlns:a16="http://schemas.microsoft.com/office/drawing/2014/main" id="{588A1BD6-7530-4ACC-891B-95A457122A42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aphicFrame>
        <p:nvGraphicFramePr>
          <p:cNvPr id="62" name="표 11">
            <a:extLst>
              <a:ext uri="{FF2B5EF4-FFF2-40B4-BE49-F238E27FC236}">
                <a16:creationId xmlns:a16="http://schemas.microsoft.com/office/drawing/2014/main" id="{61EB0A66-D361-401A-A405-5B162E19F3C0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3463684"/>
          <a:ext cx="8215560" cy="27779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4700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968552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1 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 관련 재무공시를 위한 일반 요구사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적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범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핵심요소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사항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Objectiv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적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Scop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범위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Core Conten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핵심요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45696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General Feature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사항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기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계된 정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정한 표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 및 기회의 식별과 공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요성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441790"/>
                  </a:ext>
                </a:extLst>
              </a:tr>
              <a:tr h="15704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2 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 관련 공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적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범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  Objectiv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적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474632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  Scop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적용범위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013393"/>
                  </a:ext>
                </a:extLst>
              </a:tr>
            </a:tbl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CDF512D2-7CDD-49D3-A1EB-1B868CCEF4C6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 구성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8593F9F9-B286-489C-AE04-2C7A49733488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DAD814BF-680B-43C1-BC49-3E72DB464B64}"/>
              </a:ext>
            </a:extLst>
          </p:cNvPr>
          <p:cNvSpPr/>
          <p:nvPr/>
        </p:nvSpPr>
        <p:spPr>
          <a:xfrm>
            <a:off x="7968208" y="34416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FB16B46-ADA3-46E0-9CC4-1DDDB20C2EB5}"/>
              </a:ext>
            </a:extLst>
          </p:cNvPr>
          <p:cNvSpPr txBox="1"/>
          <p:nvPr/>
        </p:nvSpPr>
        <p:spPr>
          <a:xfrm>
            <a:off x="1775520" y="3165460"/>
            <a:ext cx="482453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항목별로 구성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번역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은 아래 표 안에 있는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          )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클릭하여 확인 가능 </a:t>
            </a:r>
          </a:p>
        </p:txBody>
      </p:sp>
      <p:pic>
        <p:nvPicPr>
          <p:cNvPr id="33" name="Picture 2" descr="Magic, book, skill, spell">
            <a:extLst>
              <a:ext uri="{FF2B5EF4-FFF2-40B4-BE49-F238E27FC236}">
                <a16:creationId xmlns:a16="http://schemas.microsoft.com/office/drawing/2014/main" id="{EC8404B2-C57C-4789-9427-6863C1E3C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279" y="3168859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Magic, book, skill, spell">
            <a:extLst>
              <a:ext uri="{FF2B5EF4-FFF2-40B4-BE49-F238E27FC236}">
                <a16:creationId xmlns:a16="http://schemas.microsoft.com/office/drawing/2014/main" id="{2B65FDCF-8089-45D8-A85A-F30D41D334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350000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Magic, book, skill, spell">
            <a:extLst>
              <a:ext uri="{FF2B5EF4-FFF2-40B4-BE49-F238E27FC236}">
                <a16:creationId xmlns:a16="http://schemas.microsoft.com/office/drawing/2014/main" id="{CF3E1721-2CBF-4156-8320-D2DF2D11E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536338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그룹 38">
            <a:extLst>
              <a:ext uri="{FF2B5EF4-FFF2-40B4-BE49-F238E27FC236}">
                <a16:creationId xmlns:a16="http://schemas.microsoft.com/office/drawing/2014/main" id="{0CB20067-1A0D-4CEF-B11A-76BEC764EB7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8A5556D4-0B24-4779-B495-36083B40D8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A664A71F-3F37-42AF-9EFF-8C505ED94E0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3FC4BCFC-00A9-4527-B610-BAD188A864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B533059D-6276-47AD-A15C-AE6E92C4648A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EACBDB5-AFEA-4CF0-B121-08E6A5DB4D1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98620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BDE3CDFA-101B-4867-87C0-DD222587F932}"/>
              </a:ext>
            </a:extLst>
          </p:cNvPr>
          <p:cNvSpPr txBox="1"/>
          <p:nvPr/>
        </p:nvSpPr>
        <p:spPr>
          <a:xfrm>
            <a:off x="263352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홈메인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전체 화면 예시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F39AAF2-DDBB-4E67-BF55-54467A763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095" y="842461"/>
            <a:ext cx="5300035" cy="506876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ADCD882-417E-48E2-BC0F-E3822CDA0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7155" y="812139"/>
            <a:ext cx="5312991" cy="568515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05208940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graphicFrame>
        <p:nvGraphicFramePr>
          <p:cNvPr id="26" name="표 11">
            <a:extLst>
              <a:ext uri="{FF2B5EF4-FFF2-40B4-BE49-F238E27FC236}">
                <a16:creationId xmlns:a16="http://schemas.microsoft.com/office/drawing/2014/main" id="{640D3B93-9265-464F-972B-08A26B295C77}"/>
              </a:ext>
            </a:extLst>
          </p:cNvPr>
          <p:cNvGraphicFramePr>
            <a:graphicFrameLocks noGrp="1"/>
          </p:cNvGraphicFramePr>
          <p:nvPr/>
        </p:nvGraphicFramePr>
        <p:xfrm>
          <a:off x="501814" y="1635895"/>
          <a:ext cx="8114466" cy="1493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0189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5112568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overnanc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Strate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 관련 위험 및 기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과 의사결정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무상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무성과 및 현금흐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 회복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Risk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2986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825235"/>
                  </a:ext>
                </a:extLst>
              </a:tr>
              <a:tr h="29862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※ 2023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기준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1, S2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가 발표되었으며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향후 생물다양성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적자본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권 등과 관련된 주제별 기준서가 발표될 예정입니다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69993"/>
                  </a:ext>
                </a:extLst>
              </a:tr>
            </a:tbl>
          </a:graphicData>
        </a:graphic>
      </p:graphicFrame>
      <p:grpSp>
        <p:nvGrpSpPr>
          <p:cNvPr id="28" name="그룹 27">
            <a:extLst>
              <a:ext uri="{FF2B5EF4-FFF2-40B4-BE49-F238E27FC236}">
                <a16:creationId xmlns:a16="http://schemas.microsoft.com/office/drawing/2014/main" id="{7B5058D8-2835-4D1D-9832-039601AB72EE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2ABD7C4F-41A9-48AC-989A-AF69A72DD4FD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0DE69EC2-E71B-4A64-9E4F-7CA847E0DAE6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74C54586-1228-4115-891C-8F1EE4510ED0}"/>
                  </a:ext>
                </a:extLst>
              </p:cNvPr>
              <p:cNvSpPr/>
              <p:nvPr/>
            </p:nvSpPr>
            <p:spPr>
              <a:xfrm>
                <a:off x="9201495" y="308633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2" name="직사각형 31">
                <a:extLst>
                  <a:ext uri="{FF2B5EF4-FFF2-40B4-BE49-F238E27FC236}">
                    <a16:creationId xmlns:a16="http://schemas.microsoft.com/office/drawing/2014/main" id="{9D6C98DB-2F75-42C0-94CB-D6C3B94BDF8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3" name="직사각형 32">
                <a:extLst>
                  <a:ext uri="{FF2B5EF4-FFF2-40B4-BE49-F238E27FC236}">
                    <a16:creationId xmlns:a16="http://schemas.microsoft.com/office/drawing/2014/main" id="{4199B97C-9D78-4DF7-AE60-3E2BC167040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A2D12A5D-6D4E-42B9-829A-B77DCE9E6BF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6ACF36E3-C20B-47EC-9DE4-5D1A45F3C7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3C8208CE-D6E7-4095-A751-7D3AD316556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063E0EEF-2418-4FC4-99F9-18DA6BC5AB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C54B00D8-CE5E-4CC0-8060-90CCF4A2330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4570D29-9B9E-44C8-A785-6BD56BF5C39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002476187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90034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ISSB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77" name="표 8">
            <a:extLst>
              <a:ext uri="{FF2B5EF4-FFF2-40B4-BE49-F238E27FC236}">
                <a16:creationId xmlns:a16="http://schemas.microsoft.com/office/drawing/2014/main" id="{FD3BDF6E-6ABF-4690-97D0-1B222BAEF2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966627"/>
              </p:ext>
            </p:extLst>
          </p:nvPr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A5F14053-6703-48B9-8B4D-EE176B74A249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7AEFE8F4-0C3C-4F3F-BE25-5EBAA735CE28}"/>
              </a:ext>
            </a:extLst>
          </p:cNvPr>
          <p:cNvGrpSpPr/>
          <p:nvPr/>
        </p:nvGrpSpPr>
        <p:grpSpPr>
          <a:xfrm>
            <a:off x="445317" y="3153721"/>
            <a:ext cx="8220331" cy="3069420"/>
            <a:chOff x="418943" y="1613550"/>
            <a:chExt cx="8220331" cy="4407738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16029FE8-755A-4C20-A66B-784B6A4861C2}"/>
                </a:ext>
              </a:extLst>
            </p:cNvPr>
            <p:cNvSpPr/>
            <p:nvPr/>
          </p:nvSpPr>
          <p:spPr>
            <a:xfrm>
              <a:off x="418943" y="1650219"/>
              <a:ext cx="5092036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32976C00-A3C9-4D0E-9579-806A7EAA1110}"/>
                </a:ext>
              </a:extLst>
            </p:cNvPr>
            <p:cNvSpPr/>
            <p:nvPr/>
          </p:nvSpPr>
          <p:spPr>
            <a:xfrm>
              <a:off x="440619" y="1924902"/>
              <a:ext cx="8161072" cy="4096386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586E4D22-3850-4F99-BF14-5698A4CDBFF8}"/>
                </a:ext>
              </a:extLst>
            </p:cNvPr>
            <p:cNvGrpSpPr/>
            <p:nvPr/>
          </p:nvGrpSpPr>
          <p:grpSpPr>
            <a:xfrm>
              <a:off x="2423353" y="2429234"/>
              <a:ext cx="3930013" cy="756071"/>
              <a:chOff x="3010743" y="2119302"/>
              <a:chExt cx="3930013" cy="75607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69B64FF9-DA0B-405C-9814-6F056DCB3485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관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실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리스크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33E89560-DF58-42AB-B849-0AA0FDE475E6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‘S(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’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리스크 완화를 위한 공급망 전략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EE24E768-4639-441B-82ED-E3757A100B13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6060D4D5-C09C-4F67-94EA-715EDEE4FFD2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</a:t>
                </a: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130610F-4E40-46AE-A0B9-75E6705237C1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4C96BD29-0BE2-4111-9D8D-498E4B72656C}"/>
                  </a:ext>
                </a:extLst>
              </p:cNvPr>
              <p:cNvSpPr/>
              <p:nvPr/>
            </p:nvSpPr>
            <p:spPr>
              <a:xfrm>
                <a:off x="3977792" y="2440602"/>
                <a:ext cx="73253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</a:p>
            </p:txBody>
          </p:sp>
        </p:grp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A6F13D16-5FD9-4687-B92F-A0C5C9C5C3C8}"/>
                </a:ext>
              </a:extLst>
            </p:cNvPr>
            <p:cNvGrpSpPr/>
            <p:nvPr/>
          </p:nvGrpSpPr>
          <p:grpSpPr>
            <a:xfrm>
              <a:off x="599488" y="2136659"/>
              <a:ext cx="1820374" cy="1075495"/>
              <a:chOff x="3925318" y="3675504"/>
              <a:chExt cx="1124954" cy="765997"/>
            </a:xfrm>
          </p:grpSpPr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95AC86E0-87AF-482C-9B5C-D7F806265110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62" name="직선 연결선 161">
                <a:extLst>
                  <a:ext uri="{FF2B5EF4-FFF2-40B4-BE49-F238E27FC236}">
                    <a16:creationId xmlns:a16="http://schemas.microsoft.com/office/drawing/2014/main" id="{80FE92EA-435D-48E9-8BB4-D1FBFB868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직선 연결선 162">
                <a:extLst>
                  <a:ext uri="{FF2B5EF4-FFF2-40B4-BE49-F238E27FC236}">
                    <a16:creationId xmlns:a16="http://schemas.microsoft.com/office/drawing/2014/main" id="{6559DC21-DF75-4B0D-909A-2871DA8208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E40680C-3B88-44B2-BF07-0E6DEC279E98}"/>
                </a:ext>
              </a:extLst>
            </p:cNvPr>
            <p:cNvGrpSpPr/>
            <p:nvPr/>
          </p:nvGrpSpPr>
          <p:grpSpPr>
            <a:xfrm>
              <a:off x="2998868" y="3397119"/>
              <a:ext cx="764659" cy="231036"/>
              <a:chOff x="1483869" y="7479163"/>
              <a:chExt cx="764659" cy="231036"/>
            </a:xfrm>
          </p:grpSpPr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A567A0E0-CDD8-4702-8714-C2BD68FAA518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20391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EDC0BDF5-254D-4A3E-8EE1-013E8762FB5F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esson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352BDA8-B731-4D07-BCA3-1CA2B40D6D86}"/>
                </a:ext>
              </a:extLst>
            </p:cNvPr>
            <p:cNvGrpSpPr/>
            <p:nvPr/>
          </p:nvGrpSpPr>
          <p:grpSpPr>
            <a:xfrm>
              <a:off x="2424814" y="3698999"/>
              <a:ext cx="5275929" cy="745513"/>
              <a:chOff x="1410704" y="4990597"/>
              <a:chExt cx="5492992" cy="745513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F7B33716-1B70-4C1D-933A-CBA55512CA32}"/>
                  </a:ext>
                </a:extLst>
              </p:cNvPr>
              <p:cNvSpPr/>
              <p:nvPr/>
            </p:nvSpPr>
            <p:spPr>
              <a:xfrm>
                <a:off x="1410704" y="4990597"/>
                <a:ext cx="5492992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defTabSz="2437985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알기 쉬운 탄소국경조정제도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CBAM) –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잠정합의안 주요 내용 및 기업의 대응방안  </a:t>
                </a:r>
                <a:endPara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85CDB5A3-9C7E-40D9-9732-1AB16375299C}"/>
                  </a:ext>
                </a:extLst>
              </p:cNvPr>
              <p:cNvSpPr/>
              <p:nvPr/>
            </p:nvSpPr>
            <p:spPr>
              <a:xfrm>
                <a:off x="1424954" y="5523801"/>
                <a:ext cx="20877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0A1CC6E-CE68-4AD2-A4C3-2B91F59DD863}"/>
                </a:ext>
              </a:extLst>
            </p:cNvPr>
            <p:cNvGrpSpPr/>
            <p:nvPr/>
          </p:nvGrpSpPr>
          <p:grpSpPr>
            <a:xfrm>
              <a:off x="2523772" y="4004569"/>
              <a:ext cx="1574676" cy="155552"/>
              <a:chOff x="3287688" y="7159620"/>
              <a:chExt cx="1069338" cy="218101"/>
            </a:xfrm>
          </p:grpSpPr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A0A7B54D-1617-46D1-9F18-3FE7D01C2FA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01F18C6E-1F60-4C30-8BD7-3B63DC15288E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6AEA1494-5521-4E78-B7E4-A05D9968955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0EBC87C9-176D-46D3-ABAC-406DBD952848}"/>
                </a:ext>
              </a:extLst>
            </p:cNvPr>
            <p:cNvGrpSpPr/>
            <p:nvPr/>
          </p:nvGrpSpPr>
          <p:grpSpPr>
            <a:xfrm>
              <a:off x="599488" y="3419097"/>
              <a:ext cx="1820374" cy="1075495"/>
              <a:chOff x="3925318" y="3675504"/>
              <a:chExt cx="1124954" cy="765997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5F3EC512-77FA-4DD1-B9FB-C543532B9C46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52" name="직선 연결선 151">
                <a:extLst>
                  <a:ext uri="{FF2B5EF4-FFF2-40B4-BE49-F238E27FC236}">
                    <a16:creationId xmlns:a16="http://schemas.microsoft.com/office/drawing/2014/main" id="{B08FC3AF-6945-4B52-A494-AD6451388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직선 연결선 152">
                <a:extLst>
                  <a:ext uri="{FF2B5EF4-FFF2-40B4-BE49-F238E27FC236}">
                    <a16:creationId xmlns:a16="http://schemas.microsoft.com/office/drawing/2014/main" id="{692270C6-84C4-4BF9-AF89-DAE2D8E683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E0B76454-3AE3-4A75-9C13-A024322BCA44}"/>
                </a:ext>
              </a:extLst>
            </p:cNvPr>
            <p:cNvGrpSpPr/>
            <p:nvPr/>
          </p:nvGrpSpPr>
          <p:grpSpPr>
            <a:xfrm>
              <a:off x="2403976" y="2123186"/>
              <a:ext cx="764659" cy="231036"/>
              <a:chOff x="1483869" y="7479163"/>
              <a:chExt cx="764659" cy="231036"/>
            </a:xfrm>
          </p:grpSpPr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C3A55689-AD0D-4999-9956-DA2A409C09EF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2CFB9699-DCEB-4C5E-8157-6A51FE1E27B4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2EF697B0-E83A-41EA-9C66-D77C4CE14925}"/>
                </a:ext>
              </a:extLst>
            </p:cNvPr>
            <p:cNvSpPr/>
            <p:nvPr/>
          </p:nvSpPr>
          <p:spPr>
            <a:xfrm>
              <a:off x="4193697" y="4007231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8E18647-6323-48DA-B76A-A1CDCC696924}"/>
                </a:ext>
              </a:extLst>
            </p:cNvPr>
            <p:cNvSpPr/>
            <p:nvPr/>
          </p:nvSpPr>
          <p:spPr>
            <a:xfrm>
              <a:off x="1533434" y="4283627"/>
              <a:ext cx="824131" cy="1481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0F604A11-3B24-40E8-B324-45E1AAAEB568}"/>
                </a:ext>
              </a:extLst>
            </p:cNvPr>
            <p:cNvGrpSpPr/>
            <p:nvPr/>
          </p:nvGrpSpPr>
          <p:grpSpPr>
            <a:xfrm>
              <a:off x="1349598" y="3804003"/>
              <a:ext cx="317115" cy="317115"/>
              <a:chOff x="1519093" y="5661249"/>
              <a:chExt cx="504056" cy="504056"/>
            </a:xfrm>
          </p:grpSpPr>
          <p:sp>
            <p:nvSpPr>
              <p:cNvPr id="147" name="타원 146">
                <a:extLst>
                  <a:ext uri="{FF2B5EF4-FFF2-40B4-BE49-F238E27FC236}">
                    <a16:creationId xmlns:a16="http://schemas.microsoft.com/office/drawing/2014/main" id="{87332095-6893-4F76-9D0D-6C8A1868992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이등변 삼각형 147">
                <a:extLst>
                  <a:ext uri="{FF2B5EF4-FFF2-40B4-BE49-F238E27FC236}">
                    <a16:creationId xmlns:a16="http://schemas.microsoft.com/office/drawing/2014/main" id="{D4F9F28D-1D1C-4982-A0D2-0E4E3D0F18C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D126C3B-CF73-4CA0-B84E-01C910DAC4C6}"/>
                </a:ext>
              </a:extLst>
            </p:cNvPr>
            <p:cNvSpPr/>
            <p:nvPr/>
          </p:nvSpPr>
          <p:spPr>
            <a:xfrm>
              <a:off x="539412" y="2082496"/>
              <a:ext cx="7932852" cy="1194183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92EB0FA4-9659-429F-9330-28B446BA4BC5}"/>
                </a:ext>
              </a:extLst>
            </p:cNvPr>
            <p:cNvGrpSpPr/>
            <p:nvPr/>
          </p:nvGrpSpPr>
          <p:grpSpPr>
            <a:xfrm>
              <a:off x="2419861" y="4959632"/>
              <a:ext cx="3930013" cy="756071"/>
              <a:chOff x="3010743" y="2119302"/>
              <a:chExt cx="3930013" cy="756071"/>
            </a:xfrm>
          </p:grpSpPr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5AABC431-6476-452A-8E6C-C9FB1824DB8B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 # 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기준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98D8672-3582-445A-87AF-CF1625D12183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F94F41D8-62FE-427D-8275-F6F92D33768B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C2E001C7-8827-4020-9046-DD0AE10FE889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98AA277C-195E-4789-93A5-1DB475EC3C2F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722744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40A2622C-58F6-40DC-88AB-6DC64A17CD38}"/>
                  </a:ext>
                </a:extLst>
              </p:cNvPr>
              <p:cNvSpPr/>
              <p:nvPr/>
            </p:nvSpPr>
            <p:spPr>
              <a:xfrm>
                <a:off x="4340966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0" name="그룹 119">
              <a:extLst>
                <a:ext uri="{FF2B5EF4-FFF2-40B4-BE49-F238E27FC236}">
                  <a16:creationId xmlns:a16="http://schemas.microsoft.com/office/drawing/2014/main" id="{1EE2B7AE-3C82-4A95-BCB4-C3013506318E}"/>
                </a:ext>
              </a:extLst>
            </p:cNvPr>
            <p:cNvGrpSpPr/>
            <p:nvPr/>
          </p:nvGrpSpPr>
          <p:grpSpPr>
            <a:xfrm>
              <a:off x="595996" y="4667057"/>
              <a:ext cx="1820374" cy="1075495"/>
              <a:chOff x="3925318" y="3675504"/>
              <a:chExt cx="1124954" cy="765997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BDB91236-6E19-4FD8-83F9-1C4C17DA3413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5" name="직선 연결선 134">
                <a:extLst>
                  <a:ext uri="{FF2B5EF4-FFF2-40B4-BE49-F238E27FC236}">
                    <a16:creationId xmlns:a16="http://schemas.microsoft.com/office/drawing/2014/main" id="{D1FD4AB3-74AA-4855-86AC-CB5D5B9D5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72B23B6B-DDF3-4FD2-B020-3112C0735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39F9A19A-9D14-489E-9D0B-202955F0ED84}"/>
                </a:ext>
              </a:extLst>
            </p:cNvPr>
            <p:cNvGrpSpPr/>
            <p:nvPr/>
          </p:nvGrpSpPr>
          <p:grpSpPr>
            <a:xfrm>
              <a:off x="2400484" y="4653584"/>
              <a:ext cx="764659" cy="231036"/>
              <a:chOff x="1483869" y="7479163"/>
              <a:chExt cx="764659" cy="231036"/>
            </a:xfrm>
          </p:grpSpPr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17BB3C3B-384B-4779-A81B-F7EAD3AB90BA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0C5830E-FD2A-4166-897B-CFB163F220D6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2" name="그룹 121">
              <a:extLst>
                <a:ext uri="{FF2B5EF4-FFF2-40B4-BE49-F238E27FC236}">
                  <a16:creationId xmlns:a16="http://schemas.microsoft.com/office/drawing/2014/main" id="{55E90889-FD1D-45E5-966A-B51C57C424A3}"/>
                </a:ext>
              </a:extLst>
            </p:cNvPr>
            <p:cNvGrpSpPr/>
            <p:nvPr/>
          </p:nvGrpSpPr>
          <p:grpSpPr>
            <a:xfrm>
              <a:off x="8099274" y="3382036"/>
              <a:ext cx="540000" cy="576000"/>
              <a:chOff x="-2020480" y="1176136"/>
              <a:chExt cx="1216800" cy="956948"/>
            </a:xfrm>
          </p:grpSpPr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675FDAAB-EAC7-443E-BAD9-67DE28D184FC}"/>
                  </a:ext>
                </a:extLst>
              </p:cNvPr>
              <p:cNvSpPr/>
              <p:nvPr/>
            </p:nvSpPr>
            <p:spPr>
              <a:xfrm>
                <a:off x="-2020480" y="1176136"/>
                <a:ext cx="1216800" cy="95694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700" b="1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07116B44-248D-4ECD-923E-78EAC5695B54}"/>
                  </a:ext>
                </a:extLst>
              </p:cNvPr>
              <p:cNvSpPr/>
              <p:nvPr/>
            </p:nvSpPr>
            <p:spPr>
              <a:xfrm>
                <a:off x="-1981326" y="1787888"/>
                <a:ext cx="1157289" cy="2606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온라인문의</a:t>
                </a:r>
              </a:p>
            </p:txBody>
          </p:sp>
          <p:pic>
            <p:nvPicPr>
              <p:cNvPr id="130" name="그림 129">
                <a:extLst>
                  <a:ext uri="{FF2B5EF4-FFF2-40B4-BE49-F238E27FC236}">
                    <a16:creationId xmlns:a16="http://schemas.microsoft.com/office/drawing/2014/main" id="{F2E62DF5-2AF0-471F-8ABA-D47079E52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27181" y="1298831"/>
                <a:ext cx="449001" cy="383626"/>
              </a:xfrm>
              <a:prstGeom prst="rect">
                <a:avLst/>
              </a:prstGeom>
            </p:spPr>
          </p:pic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D8FBF68F-5DD9-4CCD-8561-3E9D98EF99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1906736" y="2133084"/>
                <a:ext cx="10081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EF66246-5A7A-4531-9486-57343D8CDDDC}"/>
                </a:ext>
              </a:extLst>
            </p:cNvPr>
            <p:cNvSpPr/>
            <p:nvPr/>
          </p:nvSpPr>
          <p:spPr>
            <a:xfrm>
              <a:off x="2514522" y="3424468"/>
              <a:ext cx="530588" cy="195775"/>
            </a:xfrm>
            <a:prstGeom prst="rect">
              <a:avLst/>
            </a:prstGeom>
            <a:solidFill>
              <a:srgbClr val="C0460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ick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C21155F-4748-4AFB-84D8-062E89C14E26}"/>
                </a:ext>
              </a:extLst>
            </p:cNvPr>
            <p:cNvSpPr/>
            <p:nvPr/>
          </p:nvSpPr>
          <p:spPr>
            <a:xfrm>
              <a:off x="428844" y="1613550"/>
              <a:ext cx="1204522" cy="216540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70" name="표 10">
            <a:extLst>
              <a:ext uri="{FF2B5EF4-FFF2-40B4-BE49-F238E27FC236}">
                <a16:creationId xmlns:a16="http://schemas.microsoft.com/office/drawing/2014/main" id="{52C6D022-3108-40BD-B35F-2FB7FDF9CC69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99215E05-AD56-4FC1-960C-E7115FFC2DFA}"/>
              </a:ext>
            </a:extLst>
          </p:cNvPr>
          <p:cNvSpPr/>
          <p:nvPr/>
        </p:nvSpPr>
        <p:spPr>
          <a:xfrm>
            <a:off x="423909" y="31228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4E4B4008-0D79-449B-ACE5-828B2709E4A1}"/>
              </a:ext>
            </a:extLst>
          </p:cNvPr>
          <p:cNvSpPr/>
          <p:nvPr/>
        </p:nvSpPr>
        <p:spPr>
          <a:xfrm>
            <a:off x="1447709" y="31174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C9782AA-864B-4C61-87A0-97FAFC96C689}"/>
              </a:ext>
            </a:extLst>
          </p:cNvPr>
          <p:cNvSpPr/>
          <p:nvPr/>
        </p:nvSpPr>
        <p:spPr>
          <a:xfrm>
            <a:off x="365705" y="3327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648C397E-3F6B-4EB0-B5C4-0203C0A70781}"/>
              </a:ext>
            </a:extLst>
          </p:cNvPr>
          <p:cNvSpPr/>
          <p:nvPr/>
        </p:nvSpPr>
        <p:spPr>
          <a:xfrm>
            <a:off x="518105" y="34796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5B0126F7-C821-4C1F-86F2-9881D3B10726}"/>
              </a:ext>
            </a:extLst>
          </p:cNvPr>
          <p:cNvSpPr/>
          <p:nvPr/>
        </p:nvSpPr>
        <p:spPr>
          <a:xfrm>
            <a:off x="1463916" y="36511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A84E440-7B2D-4E01-B16E-748462E52986}"/>
              </a:ext>
            </a:extLst>
          </p:cNvPr>
          <p:cNvSpPr/>
          <p:nvPr/>
        </p:nvSpPr>
        <p:spPr>
          <a:xfrm>
            <a:off x="2465520" y="344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7" name="표 10">
            <a:extLst>
              <a:ext uri="{FF2B5EF4-FFF2-40B4-BE49-F238E27FC236}">
                <a16:creationId xmlns:a16="http://schemas.microsoft.com/office/drawing/2014/main" id="{971E8732-7508-41E1-BC67-8C1CDF84CE30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96419F6A-7A27-4F03-A681-780AC52A0A79}"/>
              </a:ext>
            </a:extLst>
          </p:cNvPr>
          <p:cNvSpPr/>
          <p:nvPr/>
        </p:nvSpPr>
        <p:spPr>
          <a:xfrm>
            <a:off x="2432856" y="43698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78DE782E-FE20-4439-8C05-FA8FE9B64A1E}"/>
              </a:ext>
            </a:extLst>
          </p:cNvPr>
          <p:cNvSpPr/>
          <p:nvPr/>
        </p:nvSpPr>
        <p:spPr>
          <a:xfrm>
            <a:off x="2369056" y="4578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D5C7480F-25A4-43DB-B04F-3F889B15964D}"/>
              </a:ext>
            </a:extLst>
          </p:cNvPr>
          <p:cNvSpPr/>
          <p:nvPr/>
        </p:nvSpPr>
        <p:spPr>
          <a:xfrm>
            <a:off x="2377095" y="4772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96481CB9-FBF4-4F2E-84C1-DEDDBA7DF3F1}"/>
              </a:ext>
            </a:extLst>
          </p:cNvPr>
          <p:cNvSpPr/>
          <p:nvPr/>
        </p:nvSpPr>
        <p:spPr>
          <a:xfrm>
            <a:off x="4149388" y="4764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13B8F568-1FC6-4A33-A059-BE5B3B1399EA}"/>
              </a:ext>
            </a:extLst>
          </p:cNvPr>
          <p:cNvSpPr/>
          <p:nvPr/>
        </p:nvSpPr>
        <p:spPr>
          <a:xfrm>
            <a:off x="2384783" y="4958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BF57D378-C007-4AF5-92F3-401D0D679814}"/>
              </a:ext>
            </a:extLst>
          </p:cNvPr>
          <p:cNvSpPr/>
          <p:nvPr/>
        </p:nvSpPr>
        <p:spPr>
          <a:xfrm>
            <a:off x="1473283" y="4932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35B37526-473F-4D35-AE04-A0ED8EFCC3CA}"/>
              </a:ext>
            </a:extLst>
          </p:cNvPr>
          <p:cNvSpPr/>
          <p:nvPr/>
        </p:nvSpPr>
        <p:spPr>
          <a:xfrm>
            <a:off x="8972055" y="1"/>
            <a:ext cx="3218221" cy="11706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컨텐츠 내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 추가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기준서 반영 부탁드립니다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)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7]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삼일인사이트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8D3DF49-7967-4FC9-86E9-BDA0153350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International Sustainability Standards Board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8821C6E4-A26C-458D-B0CE-F75F535C61A1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S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제재무보고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재단 산하의 위원회로서 지속가능성 공시를 위한 기준을 제정하는 국제 지속가능성 기준위원회에서 제공하는 공시 가이드라인입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b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관련 재무정보 공시를 위한 일반 요구사항을 제시하고 있는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1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와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주제영역을 지배구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와 목표 측면으로 분류하여 공시 기준을 제공하는 기준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2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62C7C751-0531-4FE8-B106-4ADECA7091BA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205668935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8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F6BE1CA-261B-4187-8C13-6DFDA9269D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International Sustainability Standards Board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E6CFCE74-DE21-483E-B762-CE71869F899E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S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제재무보고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재단 산하의 위원회로서 지속가능성 공시를 위한 기준을 제정하는 국제 지속가능성 기준위원회에서 제공하는 공시 가이드라인입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b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관련 재무정보 공시를 위한 일반 요구사항을 제시하고 있는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1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와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주제영역을 지배구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위험관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와 목표 측면으로 분류하여 공시 기준을 제공하는 기준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2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</a:p>
        </p:txBody>
      </p:sp>
      <p:graphicFrame>
        <p:nvGraphicFramePr>
          <p:cNvPr id="93" name="표 8">
            <a:extLst>
              <a:ext uri="{FF2B5EF4-FFF2-40B4-BE49-F238E27FC236}">
                <a16:creationId xmlns:a16="http://schemas.microsoft.com/office/drawing/2014/main" id="{61BF1A29-6546-4F81-BA9E-DFCC9AF3B3E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86DBE699-5C91-43CE-84DE-9DDE60160935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5209C5A-B61E-4B7E-B37A-83F6C2C57CE0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52BE39B2-3D0F-4A9C-A1B2-A563AD900E9D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8AA34EF4-1942-486F-A2E1-8EA5299702D3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3DCEBD9-24EC-46F0-B558-33F860E59516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E3B2D492-79B7-499B-B70E-D3EAFB697C8A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B2D1F4F-2350-480A-BCD2-0540C29ED43F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91E5925A-8876-466B-BABA-5E5AFC5EBB76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BBD96F8E-1636-48A2-8945-FB66B7880C65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0DF7DB35-7FF6-442B-BDE1-329EA7CE7361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B86D0F3C-C646-476F-B3A5-5E751B77C01F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연결선 131">
                <a:extLst>
                  <a:ext uri="{FF2B5EF4-FFF2-40B4-BE49-F238E27FC236}">
                    <a16:creationId xmlns:a16="http://schemas.microsoft.com/office/drawing/2014/main" id="{A63F300B-C882-47AB-B7D8-5F171B992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473B9978-8351-48CD-8C88-36F0C28D39C6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4709DE2A-CC3C-4468-8887-4C8871F018BB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8" name="직선 연결선 127">
                <a:extLst>
                  <a:ext uri="{FF2B5EF4-FFF2-40B4-BE49-F238E27FC236}">
                    <a16:creationId xmlns:a16="http://schemas.microsoft.com/office/drawing/2014/main" id="{293A0A75-B957-40BD-8C99-833F242EDC02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>
                <a:extLst>
                  <a:ext uri="{FF2B5EF4-FFF2-40B4-BE49-F238E27FC236}">
                    <a16:creationId xmlns:a16="http://schemas.microsoft.com/office/drawing/2014/main" id="{607C1741-334B-4284-A850-4B4E5F7B3E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3DB30302-FAD7-4C47-8AE9-298CDC892A3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F43622D7-5B2D-4F50-9B9F-9D14839D59D0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9E60B39-DD3B-4F34-A25D-70AC9BD0F74F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A02D94CE-FC3B-4930-B302-D0B7D2B369A6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3F9FB1BC-A35F-4F20-BCC6-B8988A66E0F4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B46CD3CA-A2E4-4D04-AB5A-B201AC41B3E6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DB2E24C7-F364-43E3-A377-8D9FD3A880D6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6B4ED84-6B63-408B-BABD-E9660F627702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DB17E664-70E3-40B3-8B0C-19507BDE5AE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5" name="직선 연결선 124">
                <a:extLst>
                  <a:ext uri="{FF2B5EF4-FFF2-40B4-BE49-F238E27FC236}">
                    <a16:creationId xmlns:a16="http://schemas.microsoft.com/office/drawing/2014/main" id="{A26AAEEA-5C4E-4969-A9ED-B51FFA25327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직선 연결선 125">
                <a:extLst>
                  <a:ext uri="{FF2B5EF4-FFF2-40B4-BE49-F238E27FC236}">
                    <a16:creationId xmlns:a16="http://schemas.microsoft.com/office/drawing/2014/main" id="{60F0AA73-0F75-42EC-BF50-21BADA9ABB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C085222E-031A-44A7-8553-5EF091FEA357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4877FD7-5F53-4E65-B2C0-D64B5BDDF7C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2" name="직선 연결선 121">
                <a:extLst>
                  <a:ext uri="{FF2B5EF4-FFF2-40B4-BE49-F238E27FC236}">
                    <a16:creationId xmlns:a16="http://schemas.microsoft.com/office/drawing/2014/main" id="{B3DB5BF3-647B-4503-AD3A-2D061CB1D9C1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직선 연결선 122">
                <a:extLst>
                  <a:ext uri="{FF2B5EF4-FFF2-40B4-BE49-F238E27FC236}">
                    <a16:creationId xmlns:a16="http://schemas.microsoft.com/office/drawing/2014/main" id="{BDD0B5BC-BCC2-4263-BDD5-47D3C2A89A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D11FE49C-3C9C-40C8-B360-C39BCC11C6C5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9ECED189-F6D4-4A7B-A27F-73ADEBFCBD9B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939AA46-A38C-4FF7-8359-4992548387D8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37C3B3FB-BFE3-4918-9681-1BA822C55FD8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A4CBC09F-A3E0-4229-B374-2C6F3E411CEF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DE652009-61BA-40E5-BB13-AC5A99333460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22069D35-0DD5-4933-99B4-CC8CCE48D442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2AB8E1C8-B25C-4C58-96C2-9B6D2870899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C865ACB3-2026-4EF5-92CD-E3BD77DF2611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9945A0FD-C178-4996-9033-2F004F3C14E3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93826172-D45F-4146-A297-7DF93FD12484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AE6F5F41-B565-428B-A6EE-2E4F012B0276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2BF339A6-FCE2-4332-9769-838618E39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044FA516-B834-4C18-A0B0-E5136C705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전체보기 목록 | 환경 | 키즈현대">
              <a:extLst>
                <a:ext uri="{FF2B5EF4-FFF2-40B4-BE49-F238E27FC236}">
                  <a16:creationId xmlns:a16="http://schemas.microsoft.com/office/drawing/2014/main" id="{C1B1E33B-DDD5-4BD1-9DF5-E91BE02DC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7D608ADA-B49D-47D0-B3B7-2EB61A8CA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6D5E380-5F58-4C07-AF63-804A970524B3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706BC021-D440-4CDA-B5D0-1964C4B49DCB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2653E18-B0E4-4B15-97C2-7FCACF03FA1F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C0D4F36-AECE-4F8D-98AC-75BFE1B5B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8966ACE-2E7B-4594-9816-B47F224434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A8AB4FA-DEF9-4313-A3D7-E90DC7C12DE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C477E41-E5A5-45A4-A5B5-52239C844D1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D504092-787A-4C79-AC11-3690C271C66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1CA51FF-6BBD-4966-90D3-83B798620EE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09CDF0AB-CB09-4F2F-AC84-650CA1B4423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061F612A-BD80-43F6-9410-AB954A606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60C50503-775A-4F83-B9E5-0E27F151B4F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FEE59F86-22F4-48C5-B2B9-EA59B2E196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442797E8-BED5-4511-9290-F129342555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AD764054-EF17-48FF-A814-3B2B141510B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516056177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88394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SEC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007" y="2602693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ecurities and Exchange Commission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20" y="2962794"/>
            <a:ext cx="8195695" cy="46468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기후 변화 리스크 및 그 영향에 대한 상장 기업의 공시를 확대하는 새로운 규칙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Rul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제안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 규칙은 모든 상장 기업에 적용되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장 기업은 재무제표에 기후 관련 재무지표를 포함하여 공시할 것을 요구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되는 탄소 배출량 정보는 단계적으로 외부 인증을 받도록 하고 있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습니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160516"/>
              </p:ext>
            </p:extLst>
          </p:nvPr>
        </p:nvGraphicFramePr>
        <p:xfrm>
          <a:off x="496390" y="3561312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34903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DEE9ADA5-22F3-45B8-80A6-0E95576C4E3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075CCAA5-85F4-4566-B115-E3603BF46F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0C3432B8-1294-4AEB-8E1B-7A72231C572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B1B2160F-209E-4A71-A536-D871BCBB86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A4CDD617-5B58-4169-882A-965860111E2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D72D3BBB-6D08-4E52-BA64-931071467390}"/>
              </a:ext>
            </a:extLst>
          </p:cNvPr>
          <p:cNvGrpSpPr/>
          <p:nvPr/>
        </p:nvGrpSpPr>
        <p:grpSpPr>
          <a:xfrm>
            <a:off x="341695" y="1612190"/>
            <a:ext cx="8642428" cy="996677"/>
            <a:chOff x="341695" y="1612190"/>
            <a:chExt cx="8642428" cy="996677"/>
          </a:xfrm>
        </p:grpSpPr>
        <p:sp>
          <p:nvSpPr>
            <p:cNvPr id="79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C9DD6C55-F936-4F07-A9A6-6236D895A617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9B9435FB-346E-4D03-9CB7-3FDAA43D0DD4}"/>
                </a:ext>
              </a:extLst>
            </p:cNvPr>
            <p:cNvSpPr/>
            <p:nvPr/>
          </p:nvSpPr>
          <p:spPr>
            <a:xfrm>
              <a:off x="469824" y="2202180"/>
              <a:ext cx="1233688" cy="346144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970D157-A2AE-4822-9D35-0FAE49936E4D}"/>
                </a:ext>
              </a:extLst>
            </p:cNvPr>
            <p:cNvSpPr/>
            <p:nvPr/>
          </p:nvSpPr>
          <p:spPr>
            <a:xfrm>
              <a:off x="1776659" y="2218192"/>
              <a:ext cx="847884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228DC87A-F045-4E9B-B398-EBD2C605510C}"/>
                </a:ext>
              </a:extLst>
            </p:cNvPr>
            <p:cNvSpPr/>
            <p:nvPr/>
          </p:nvSpPr>
          <p:spPr>
            <a:xfrm>
              <a:off x="2702939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4" name="직선 연결선 83">
              <a:extLst>
                <a:ext uri="{FF2B5EF4-FFF2-40B4-BE49-F238E27FC236}">
                  <a16:creationId xmlns:a16="http://schemas.microsoft.com/office/drawing/2014/main" id="{92C271FB-9E2F-420B-B243-EBFFAEE89AA1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직선 연결선 84">
              <a:extLst>
                <a:ext uri="{FF2B5EF4-FFF2-40B4-BE49-F238E27FC236}">
                  <a16:creationId xmlns:a16="http://schemas.microsoft.com/office/drawing/2014/main" id="{0DC15161-F4CE-4F7D-A0C9-18DA7FF6F66A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608867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사각형: 둥근 모서리 85">
              <a:extLst>
                <a:ext uri="{FF2B5EF4-FFF2-40B4-BE49-F238E27FC236}">
                  <a16:creationId xmlns:a16="http://schemas.microsoft.com/office/drawing/2014/main" id="{730458E9-1FE1-419D-B87E-9982AC1FD4C1}"/>
                </a:ext>
              </a:extLst>
            </p:cNvPr>
            <p:cNvSpPr/>
            <p:nvPr/>
          </p:nvSpPr>
          <p:spPr>
            <a:xfrm>
              <a:off x="3655068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사각형: 둥근 모서리 86">
              <a:extLst>
                <a:ext uri="{FF2B5EF4-FFF2-40B4-BE49-F238E27FC236}">
                  <a16:creationId xmlns:a16="http://schemas.microsoft.com/office/drawing/2014/main" id="{C55168B4-709F-49B6-A148-770C33193C8A}"/>
                </a:ext>
              </a:extLst>
            </p:cNvPr>
            <p:cNvSpPr/>
            <p:nvPr/>
          </p:nvSpPr>
          <p:spPr>
            <a:xfrm>
              <a:off x="4607197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063CA249-B15E-475D-850F-3CCBC7AB431E}"/>
                </a:ext>
              </a:extLst>
            </p:cNvPr>
            <p:cNvSpPr/>
            <p:nvPr/>
          </p:nvSpPr>
          <p:spPr>
            <a:xfrm>
              <a:off x="5559326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9" name="사각형: 둥근 모서리 88">
              <a:extLst>
                <a:ext uri="{FF2B5EF4-FFF2-40B4-BE49-F238E27FC236}">
                  <a16:creationId xmlns:a16="http://schemas.microsoft.com/office/drawing/2014/main" id="{9AF863E8-808E-4195-B46B-29933B0E2A45}"/>
                </a:ext>
              </a:extLst>
            </p:cNvPr>
            <p:cNvSpPr/>
            <p:nvPr/>
          </p:nvSpPr>
          <p:spPr>
            <a:xfrm>
              <a:off x="6511142" y="2218192"/>
              <a:ext cx="873733" cy="330132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D765DB1E-A928-4F63-B6D1-85999D636F1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57" name="그림 56">
            <a:extLst>
              <a:ext uri="{FF2B5EF4-FFF2-40B4-BE49-F238E27FC236}">
                <a16:creationId xmlns:a16="http://schemas.microsoft.com/office/drawing/2014/main" id="{6D8D35DD-98AD-4BF1-885A-16BDAD49A4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508" y="3966788"/>
            <a:ext cx="8308963" cy="382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559461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규칙안 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SEC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ecurities and Exchange Commission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기후 변화 리스크 및 그 영향에 대한 상장 기업의 공시를 확대하는 새로운 규칙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Rul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제안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 규칙은 모든 상장 기업에 적용되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장 기업은 재무제표에 기후 관련 재무지표를 포함하여 공시할 것을 요구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되는 탄소 배출량 정보는 단계적으로 외부 인증을 받도록 하고 있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습니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6" name="표 11">
            <a:extLst>
              <a:ext uri="{FF2B5EF4-FFF2-40B4-BE49-F238E27FC236}">
                <a16:creationId xmlns:a16="http://schemas.microsoft.com/office/drawing/2014/main" id="{3EA105EA-E13F-42A4-85D5-C1B0A2BAD0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363166"/>
              </p:ext>
            </p:extLst>
          </p:nvPr>
        </p:nvGraphicFramePr>
        <p:xfrm>
          <a:off x="472728" y="3763886"/>
          <a:ext cx="8215560" cy="2514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35040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68052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2709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isclosure of Climate-Related Risk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관련 위험 공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102076"/>
                  </a:ext>
                </a:extLst>
              </a:tr>
              <a:tr h="11890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229535"/>
                  </a:ext>
                </a:extLst>
              </a:tr>
              <a:tr h="317073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isclosure Regarding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limate-Related Impacts on Strategy, Business Model, and Outlook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업모델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전망에 미치는 기후 관련 영향 공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837027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 유형 및 운영 위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품 또는 서비스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치 사슬의 공급자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개발 관련 지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9671030"/>
                  </a:ext>
                </a:extLst>
              </a:tr>
              <a:tr h="11890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227977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overnance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 감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oard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versight),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경영진 감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Management Oversight)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606590"/>
                  </a:ext>
                </a:extLst>
              </a:tr>
              <a:tr h="11890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isk Management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험 관리 공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 관련 위험을 파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및 관리하기 위한 프로세스 설명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337"/>
                  </a:ext>
                </a:extLst>
              </a:tr>
              <a:tr h="118902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848209"/>
                  </a:ext>
                </a:extLst>
              </a:tr>
              <a:tr h="22709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inancial Statement Metric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무제표 지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549038"/>
                  </a:ext>
                </a:extLst>
              </a:tr>
            </a:tbl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B136621B-ED69-4C23-9DE6-1E5C811ED784}"/>
              </a:ext>
            </a:extLst>
          </p:cNvPr>
          <p:cNvSpPr txBox="1"/>
          <p:nvPr/>
        </p:nvSpPr>
        <p:spPr>
          <a:xfrm>
            <a:off x="485293" y="3570882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공시 규칙안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내용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0D006E9B-56B2-4431-BC5B-AF6AFEBDDBF0}"/>
              </a:ext>
            </a:extLst>
          </p:cNvPr>
          <p:cNvSpPr/>
          <p:nvPr/>
        </p:nvSpPr>
        <p:spPr>
          <a:xfrm>
            <a:off x="472728" y="3176939"/>
            <a:ext cx="2616223" cy="2479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공시 규칙안 바로보기</a:t>
            </a: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83F9CD8C-B1B6-4305-A41D-129795F9DF3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2C1A5369-B64B-429D-8E38-60F8C0E808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04CBE017-743B-44F4-A047-46D94CBD85C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AAD79688-0AD8-4994-9C0D-4CC61B5123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A5E6D27-B171-4568-84B7-7E49CC9905AE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2A8D9AFC-7019-4200-B407-5378F1409E4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660436093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규칙안 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SEC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ecurities and Exchange Commission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60" name="표 11">
            <a:extLst>
              <a:ext uri="{FF2B5EF4-FFF2-40B4-BE49-F238E27FC236}">
                <a16:creationId xmlns:a16="http://schemas.microsoft.com/office/drawing/2014/main" id="{85FF1836-7D3A-415A-8E2E-A80915579E57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1916832"/>
          <a:ext cx="8215560" cy="22242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35040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68052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inancial Statement Metric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무제표 지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54903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무적 영향 지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출지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정 및 가정에 미치는 영향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838379"/>
                  </a:ext>
                </a:extLst>
              </a:tr>
              <a:tr h="123095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447713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HG Emissions Metrics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실가스 배출량 지표 공시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485043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cope 1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이 소유하거나 통제 가능한 운영과정에서 발생되는 직접 배출 온실가스</a:t>
                      </a:r>
                      <a:endParaRPr lang="en-US" altLang="ko-KR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cope 2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이 소유하거나 관리하는 사업에서 발생하는 간접 배출 온실가스</a:t>
                      </a:r>
                      <a:endParaRPr lang="en-US" altLang="ko-KR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cope 3: Scope2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포함되지 않는 간접 배출 온실가스로서 공급사슬에서 발생하는 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실가스 배출량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381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555221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ttestation of Scope 1 and Scope 2 Emissions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cope 1, 2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출량 공시 인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385009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cope 1, 2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출량 공시에 대해 재무제표와 동일한 수준의 제 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의 인증 필요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651089"/>
                  </a:ext>
                </a:extLst>
              </a:tr>
            </a:tbl>
          </a:graphicData>
        </a:graphic>
      </p:graphicFrame>
      <p:grpSp>
        <p:nvGrpSpPr>
          <p:cNvPr id="21" name="그룹 20">
            <a:extLst>
              <a:ext uri="{FF2B5EF4-FFF2-40B4-BE49-F238E27FC236}">
                <a16:creationId xmlns:a16="http://schemas.microsoft.com/office/drawing/2014/main" id="{C83E4821-E892-42F3-9134-C99A8C677D8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2A1B0EF3-0F17-4830-98E7-6524A6A217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B935FA38-40C9-4A5F-9A50-E617C4C1800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0897C1F6-92E7-40DB-BAF7-43EB3BB57C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66A024E4-EE46-42D7-AAB8-4E234980DE88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0CB55DD-E156-4704-B00F-4A77CF08FF8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078964587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37735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SEC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7AEFE8F4-0C3C-4F3F-BE25-5EBAA735CE28}"/>
              </a:ext>
            </a:extLst>
          </p:cNvPr>
          <p:cNvGrpSpPr/>
          <p:nvPr/>
        </p:nvGrpSpPr>
        <p:grpSpPr>
          <a:xfrm>
            <a:off x="445317" y="3153721"/>
            <a:ext cx="8220331" cy="3069420"/>
            <a:chOff x="418943" y="1613550"/>
            <a:chExt cx="8220331" cy="4407738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16029FE8-755A-4C20-A66B-784B6A4861C2}"/>
                </a:ext>
              </a:extLst>
            </p:cNvPr>
            <p:cNvSpPr/>
            <p:nvPr/>
          </p:nvSpPr>
          <p:spPr>
            <a:xfrm>
              <a:off x="418943" y="1650219"/>
              <a:ext cx="5092036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32976C00-A3C9-4D0E-9579-806A7EAA1110}"/>
                </a:ext>
              </a:extLst>
            </p:cNvPr>
            <p:cNvSpPr/>
            <p:nvPr/>
          </p:nvSpPr>
          <p:spPr>
            <a:xfrm>
              <a:off x="440619" y="1924902"/>
              <a:ext cx="8161072" cy="4096386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586E4D22-3850-4F99-BF14-5698A4CDBFF8}"/>
                </a:ext>
              </a:extLst>
            </p:cNvPr>
            <p:cNvGrpSpPr/>
            <p:nvPr/>
          </p:nvGrpSpPr>
          <p:grpSpPr>
            <a:xfrm>
              <a:off x="2423353" y="2429234"/>
              <a:ext cx="3930013" cy="756071"/>
              <a:chOff x="3010743" y="2119302"/>
              <a:chExt cx="3930013" cy="75607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69B64FF9-DA0B-405C-9814-6F056DCB3485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관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실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리스크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33E89560-DF58-42AB-B849-0AA0FDE475E6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‘S(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’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리스크 완화를 위한 공급망 전략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EE24E768-4639-441B-82ED-E3757A100B13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6060D4D5-C09C-4F67-94EA-715EDEE4FFD2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</a:t>
                </a: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130610F-4E40-46AE-A0B9-75E6705237C1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4C96BD29-0BE2-4111-9D8D-498E4B72656C}"/>
                  </a:ext>
                </a:extLst>
              </p:cNvPr>
              <p:cNvSpPr/>
              <p:nvPr/>
            </p:nvSpPr>
            <p:spPr>
              <a:xfrm>
                <a:off x="3977792" y="2440602"/>
                <a:ext cx="73253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</a:p>
            </p:txBody>
          </p:sp>
        </p:grp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A6F13D16-5FD9-4687-B92F-A0C5C9C5C3C8}"/>
                </a:ext>
              </a:extLst>
            </p:cNvPr>
            <p:cNvGrpSpPr/>
            <p:nvPr/>
          </p:nvGrpSpPr>
          <p:grpSpPr>
            <a:xfrm>
              <a:off x="599488" y="2136659"/>
              <a:ext cx="1820374" cy="1075495"/>
              <a:chOff x="3925318" y="3675504"/>
              <a:chExt cx="1124954" cy="765997"/>
            </a:xfrm>
          </p:grpSpPr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95AC86E0-87AF-482C-9B5C-D7F806265110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62" name="직선 연결선 161">
                <a:extLst>
                  <a:ext uri="{FF2B5EF4-FFF2-40B4-BE49-F238E27FC236}">
                    <a16:creationId xmlns:a16="http://schemas.microsoft.com/office/drawing/2014/main" id="{80FE92EA-435D-48E9-8BB4-D1FBFB868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직선 연결선 162">
                <a:extLst>
                  <a:ext uri="{FF2B5EF4-FFF2-40B4-BE49-F238E27FC236}">
                    <a16:creationId xmlns:a16="http://schemas.microsoft.com/office/drawing/2014/main" id="{6559DC21-DF75-4B0D-909A-2871DA8208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E40680C-3B88-44B2-BF07-0E6DEC279E98}"/>
                </a:ext>
              </a:extLst>
            </p:cNvPr>
            <p:cNvGrpSpPr/>
            <p:nvPr/>
          </p:nvGrpSpPr>
          <p:grpSpPr>
            <a:xfrm>
              <a:off x="2998868" y="3397119"/>
              <a:ext cx="764659" cy="231036"/>
              <a:chOff x="1483869" y="7479163"/>
              <a:chExt cx="764659" cy="231036"/>
            </a:xfrm>
          </p:grpSpPr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A567A0E0-CDD8-4702-8714-C2BD68FAA518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20391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EDC0BDF5-254D-4A3E-8EE1-013E8762FB5F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esson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352BDA8-B731-4D07-BCA3-1CA2B40D6D86}"/>
                </a:ext>
              </a:extLst>
            </p:cNvPr>
            <p:cNvGrpSpPr/>
            <p:nvPr/>
          </p:nvGrpSpPr>
          <p:grpSpPr>
            <a:xfrm>
              <a:off x="2424814" y="3698999"/>
              <a:ext cx="5275929" cy="745513"/>
              <a:chOff x="1410704" y="4990597"/>
              <a:chExt cx="5492992" cy="745513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F7B33716-1B70-4C1D-933A-CBA55512CA32}"/>
                  </a:ext>
                </a:extLst>
              </p:cNvPr>
              <p:cNvSpPr/>
              <p:nvPr/>
            </p:nvSpPr>
            <p:spPr>
              <a:xfrm>
                <a:off x="1410704" y="4990597"/>
                <a:ext cx="5492992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defTabSz="2437985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알기 쉬운 탄소국경조정제도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CBAM) –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잠정합의안 주요 내용 및 기업의 대응방안  </a:t>
                </a:r>
                <a:endPara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85CDB5A3-9C7E-40D9-9732-1AB16375299C}"/>
                  </a:ext>
                </a:extLst>
              </p:cNvPr>
              <p:cNvSpPr/>
              <p:nvPr/>
            </p:nvSpPr>
            <p:spPr>
              <a:xfrm>
                <a:off x="1424954" y="5523801"/>
                <a:ext cx="20877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0A1CC6E-CE68-4AD2-A4C3-2B91F59DD863}"/>
                </a:ext>
              </a:extLst>
            </p:cNvPr>
            <p:cNvGrpSpPr/>
            <p:nvPr/>
          </p:nvGrpSpPr>
          <p:grpSpPr>
            <a:xfrm>
              <a:off x="2523772" y="4004569"/>
              <a:ext cx="1574676" cy="155552"/>
              <a:chOff x="3287688" y="7159620"/>
              <a:chExt cx="1069338" cy="218101"/>
            </a:xfrm>
          </p:grpSpPr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A0A7B54D-1617-46D1-9F18-3FE7D01C2FA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01F18C6E-1F60-4C30-8BD7-3B63DC15288E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6AEA1494-5521-4E78-B7E4-A05D9968955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0EBC87C9-176D-46D3-ABAC-406DBD952848}"/>
                </a:ext>
              </a:extLst>
            </p:cNvPr>
            <p:cNvGrpSpPr/>
            <p:nvPr/>
          </p:nvGrpSpPr>
          <p:grpSpPr>
            <a:xfrm>
              <a:off x="599488" y="3419097"/>
              <a:ext cx="1820374" cy="1075495"/>
              <a:chOff x="3925318" y="3675504"/>
              <a:chExt cx="1124954" cy="765997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5F3EC512-77FA-4DD1-B9FB-C543532B9C46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52" name="직선 연결선 151">
                <a:extLst>
                  <a:ext uri="{FF2B5EF4-FFF2-40B4-BE49-F238E27FC236}">
                    <a16:creationId xmlns:a16="http://schemas.microsoft.com/office/drawing/2014/main" id="{B08FC3AF-6945-4B52-A494-AD6451388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직선 연결선 152">
                <a:extLst>
                  <a:ext uri="{FF2B5EF4-FFF2-40B4-BE49-F238E27FC236}">
                    <a16:creationId xmlns:a16="http://schemas.microsoft.com/office/drawing/2014/main" id="{692270C6-84C4-4BF9-AF89-DAE2D8E683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E0B76454-3AE3-4A75-9C13-A024322BCA44}"/>
                </a:ext>
              </a:extLst>
            </p:cNvPr>
            <p:cNvGrpSpPr/>
            <p:nvPr/>
          </p:nvGrpSpPr>
          <p:grpSpPr>
            <a:xfrm>
              <a:off x="2403976" y="2123186"/>
              <a:ext cx="764659" cy="231036"/>
              <a:chOff x="1483869" y="7479163"/>
              <a:chExt cx="764659" cy="231036"/>
            </a:xfrm>
          </p:grpSpPr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C3A55689-AD0D-4999-9956-DA2A409C09EF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2CFB9699-DCEB-4C5E-8157-6A51FE1E27B4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2EF697B0-E83A-41EA-9C66-D77C4CE14925}"/>
                </a:ext>
              </a:extLst>
            </p:cNvPr>
            <p:cNvSpPr/>
            <p:nvPr/>
          </p:nvSpPr>
          <p:spPr>
            <a:xfrm>
              <a:off x="4193697" y="4007231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8E18647-6323-48DA-B76A-A1CDCC696924}"/>
                </a:ext>
              </a:extLst>
            </p:cNvPr>
            <p:cNvSpPr/>
            <p:nvPr/>
          </p:nvSpPr>
          <p:spPr>
            <a:xfrm>
              <a:off x="1533434" y="4283627"/>
              <a:ext cx="824131" cy="1481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0F604A11-3B24-40E8-B324-45E1AAAEB568}"/>
                </a:ext>
              </a:extLst>
            </p:cNvPr>
            <p:cNvGrpSpPr/>
            <p:nvPr/>
          </p:nvGrpSpPr>
          <p:grpSpPr>
            <a:xfrm>
              <a:off x="1349598" y="3804003"/>
              <a:ext cx="317115" cy="317115"/>
              <a:chOff x="1519093" y="5661249"/>
              <a:chExt cx="504056" cy="504056"/>
            </a:xfrm>
          </p:grpSpPr>
          <p:sp>
            <p:nvSpPr>
              <p:cNvPr id="147" name="타원 146">
                <a:extLst>
                  <a:ext uri="{FF2B5EF4-FFF2-40B4-BE49-F238E27FC236}">
                    <a16:creationId xmlns:a16="http://schemas.microsoft.com/office/drawing/2014/main" id="{87332095-6893-4F76-9D0D-6C8A1868992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이등변 삼각형 147">
                <a:extLst>
                  <a:ext uri="{FF2B5EF4-FFF2-40B4-BE49-F238E27FC236}">
                    <a16:creationId xmlns:a16="http://schemas.microsoft.com/office/drawing/2014/main" id="{D4F9F28D-1D1C-4982-A0D2-0E4E3D0F18C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D126C3B-CF73-4CA0-B84E-01C910DAC4C6}"/>
                </a:ext>
              </a:extLst>
            </p:cNvPr>
            <p:cNvSpPr/>
            <p:nvPr/>
          </p:nvSpPr>
          <p:spPr>
            <a:xfrm>
              <a:off x="539412" y="2082496"/>
              <a:ext cx="7932852" cy="1194183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92EB0FA4-9659-429F-9330-28B446BA4BC5}"/>
                </a:ext>
              </a:extLst>
            </p:cNvPr>
            <p:cNvGrpSpPr/>
            <p:nvPr/>
          </p:nvGrpSpPr>
          <p:grpSpPr>
            <a:xfrm>
              <a:off x="2419861" y="4959632"/>
              <a:ext cx="3930013" cy="756071"/>
              <a:chOff x="3010743" y="2119302"/>
              <a:chExt cx="3930013" cy="756071"/>
            </a:xfrm>
          </p:grpSpPr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5AABC431-6476-452A-8E6C-C9FB1824DB8B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 # 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기준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98D8672-3582-445A-87AF-CF1625D12183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F94F41D8-62FE-427D-8275-F6F92D33768B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C2E001C7-8827-4020-9046-DD0AE10FE889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98AA277C-195E-4789-93A5-1DB475EC3C2F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722744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40A2622C-58F6-40DC-88AB-6DC64A17CD38}"/>
                  </a:ext>
                </a:extLst>
              </p:cNvPr>
              <p:cNvSpPr/>
              <p:nvPr/>
            </p:nvSpPr>
            <p:spPr>
              <a:xfrm>
                <a:off x="4340966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0" name="그룹 119">
              <a:extLst>
                <a:ext uri="{FF2B5EF4-FFF2-40B4-BE49-F238E27FC236}">
                  <a16:creationId xmlns:a16="http://schemas.microsoft.com/office/drawing/2014/main" id="{1EE2B7AE-3C82-4A95-BCB4-C3013506318E}"/>
                </a:ext>
              </a:extLst>
            </p:cNvPr>
            <p:cNvGrpSpPr/>
            <p:nvPr/>
          </p:nvGrpSpPr>
          <p:grpSpPr>
            <a:xfrm>
              <a:off x="595996" y="4667057"/>
              <a:ext cx="1820374" cy="1075495"/>
              <a:chOff x="3925318" y="3675504"/>
              <a:chExt cx="1124954" cy="765997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BDB91236-6E19-4FD8-83F9-1C4C17DA3413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5" name="직선 연결선 134">
                <a:extLst>
                  <a:ext uri="{FF2B5EF4-FFF2-40B4-BE49-F238E27FC236}">
                    <a16:creationId xmlns:a16="http://schemas.microsoft.com/office/drawing/2014/main" id="{D1FD4AB3-74AA-4855-86AC-CB5D5B9D5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72B23B6B-DDF3-4FD2-B020-3112C0735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39F9A19A-9D14-489E-9D0B-202955F0ED84}"/>
                </a:ext>
              </a:extLst>
            </p:cNvPr>
            <p:cNvGrpSpPr/>
            <p:nvPr/>
          </p:nvGrpSpPr>
          <p:grpSpPr>
            <a:xfrm>
              <a:off x="2400484" y="4653584"/>
              <a:ext cx="764659" cy="231036"/>
              <a:chOff x="1483869" y="7479163"/>
              <a:chExt cx="764659" cy="231036"/>
            </a:xfrm>
          </p:grpSpPr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17BB3C3B-384B-4779-A81B-F7EAD3AB90BA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0C5830E-FD2A-4166-897B-CFB163F220D6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2" name="그룹 121">
              <a:extLst>
                <a:ext uri="{FF2B5EF4-FFF2-40B4-BE49-F238E27FC236}">
                  <a16:creationId xmlns:a16="http://schemas.microsoft.com/office/drawing/2014/main" id="{55E90889-FD1D-45E5-966A-B51C57C424A3}"/>
                </a:ext>
              </a:extLst>
            </p:cNvPr>
            <p:cNvGrpSpPr/>
            <p:nvPr/>
          </p:nvGrpSpPr>
          <p:grpSpPr>
            <a:xfrm>
              <a:off x="8099274" y="3382036"/>
              <a:ext cx="540000" cy="576000"/>
              <a:chOff x="-2020480" y="1176136"/>
              <a:chExt cx="1216800" cy="956948"/>
            </a:xfrm>
          </p:grpSpPr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675FDAAB-EAC7-443E-BAD9-67DE28D184FC}"/>
                  </a:ext>
                </a:extLst>
              </p:cNvPr>
              <p:cNvSpPr/>
              <p:nvPr/>
            </p:nvSpPr>
            <p:spPr>
              <a:xfrm>
                <a:off x="-2020480" y="1176136"/>
                <a:ext cx="1216800" cy="95694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700" b="1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07116B44-248D-4ECD-923E-78EAC5695B54}"/>
                  </a:ext>
                </a:extLst>
              </p:cNvPr>
              <p:cNvSpPr/>
              <p:nvPr/>
            </p:nvSpPr>
            <p:spPr>
              <a:xfrm>
                <a:off x="-1981326" y="1787888"/>
                <a:ext cx="1157289" cy="2606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온라인문의</a:t>
                </a:r>
              </a:p>
            </p:txBody>
          </p:sp>
          <p:pic>
            <p:nvPicPr>
              <p:cNvPr id="130" name="그림 129">
                <a:extLst>
                  <a:ext uri="{FF2B5EF4-FFF2-40B4-BE49-F238E27FC236}">
                    <a16:creationId xmlns:a16="http://schemas.microsoft.com/office/drawing/2014/main" id="{F2E62DF5-2AF0-471F-8ABA-D47079E52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27181" y="1298831"/>
                <a:ext cx="449001" cy="383626"/>
              </a:xfrm>
              <a:prstGeom prst="rect">
                <a:avLst/>
              </a:prstGeom>
            </p:spPr>
          </p:pic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D8FBF68F-5DD9-4CCD-8561-3E9D98EF99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1906736" y="2133084"/>
                <a:ext cx="10081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EF66246-5A7A-4531-9486-57343D8CDDDC}"/>
                </a:ext>
              </a:extLst>
            </p:cNvPr>
            <p:cNvSpPr/>
            <p:nvPr/>
          </p:nvSpPr>
          <p:spPr>
            <a:xfrm>
              <a:off x="2514522" y="3424468"/>
              <a:ext cx="530588" cy="195775"/>
            </a:xfrm>
            <a:prstGeom prst="rect">
              <a:avLst/>
            </a:prstGeom>
            <a:solidFill>
              <a:srgbClr val="C0460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ick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C21155F-4748-4AFB-84D8-062E89C14E26}"/>
                </a:ext>
              </a:extLst>
            </p:cNvPr>
            <p:cNvSpPr/>
            <p:nvPr/>
          </p:nvSpPr>
          <p:spPr>
            <a:xfrm>
              <a:off x="428844" y="1613550"/>
              <a:ext cx="1204522" cy="216540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70" name="표 10">
            <a:extLst>
              <a:ext uri="{FF2B5EF4-FFF2-40B4-BE49-F238E27FC236}">
                <a16:creationId xmlns:a16="http://schemas.microsoft.com/office/drawing/2014/main" id="{52C6D022-3108-40BD-B35F-2FB7FDF9CC69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99215E05-AD56-4FC1-960C-E7115FFC2DFA}"/>
              </a:ext>
            </a:extLst>
          </p:cNvPr>
          <p:cNvSpPr/>
          <p:nvPr/>
        </p:nvSpPr>
        <p:spPr>
          <a:xfrm>
            <a:off x="423909" y="31228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4E4B4008-0D79-449B-ACE5-828B2709E4A1}"/>
              </a:ext>
            </a:extLst>
          </p:cNvPr>
          <p:cNvSpPr/>
          <p:nvPr/>
        </p:nvSpPr>
        <p:spPr>
          <a:xfrm>
            <a:off x="1447709" y="31174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C9782AA-864B-4C61-87A0-97FAFC96C689}"/>
              </a:ext>
            </a:extLst>
          </p:cNvPr>
          <p:cNvSpPr/>
          <p:nvPr/>
        </p:nvSpPr>
        <p:spPr>
          <a:xfrm>
            <a:off x="365705" y="3327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648C397E-3F6B-4EB0-B5C4-0203C0A70781}"/>
              </a:ext>
            </a:extLst>
          </p:cNvPr>
          <p:cNvSpPr/>
          <p:nvPr/>
        </p:nvSpPr>
        <p:spPr>
          <a:xfrm>
            <a:off x="518105" y="34796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5B0126F7-C821-4C1F-86F2-9881D3B10726}"/>
              </a:ext>
            </a:extLst>
          </p:cNvPr>
          <p:cNvSpPr/>
          <p:nvPr/>
        </p:nvSpPr>
        <p:spPr>
          <a:xfrm>
            <a:off x="1463916" y="36511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A84E440-7B2D-4E01-B16E-748462E52986}"/>
              </a:ext>
            </a:extLst>
          </p:cNvPr>
          <p:cNvSpPr/>
          <p:nvPr/>
        </p:nvSpPr>
        <p:spPr>
          <a:xfrm>
            <a:off x="2465520" y="344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7" name="표 10">
            <a:extLst>
              <a:ext uri="{FF2B5EF4-FFF2-40B4-BE49-F238E27FC236}">
                <a16:creationId xmlns:a16="http://schemas.microsoft.com/office/drawing/2014/main" id="{971E8732-7508-41E1-BC67-8C1CDF84CE30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96419F6A-7A27-4F03-A681-780AC52A0A79}"/>
              </a:ext>
            </a:extLst>
          </p:cNvPr>
          <p:cNvSpPr/>
          <p:nvPr/>
        </p:nvSpPr>
        <p:spPr>
          <a:xfrm>
            <a:off x="2432856" y="43698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78DE782E-FE20-4439-8C05-FA8FE9B64A1E}"/>
              </a:ext>
            </a:extLst>
          </p:cNvPr>
          <p:cNvSpPr/>
          <p:nvPr/>
        </p:nvSpPr>
        <p:spPr>
          <a:xfrm>
            <a:off x="2369056" y="4578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D5C7480F-25A4-43DB-B04F-3F889B15964D}"/>
              </a:ext>
            </a:extLst>
          </p:cNvPr>
          <p:cNvSpPr/>
          <p:nvPr/>
        </p:nvSpPr>
        <p:spPr>
          <a:xfrm>
            <a:off x="2377095" y="4772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96481CB9-FBF4-4F2E-84C1-DEDDBA7DF3F1}"/>
              </a:ext>
            </a:extLst>
          </p:cNvPr>
          <p:cNvSpPr/>
          <p:nvPr/>
        </p:nvSpPr>
        <p:spPr>
          <a:xfrm>
            <a:off x="4149388" y="4764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13B8F568-1FC6-4A33-A059-BE5B3B1399EA}"/>
              </a:ext>
            </a:extLst>
          </p:cNvPr>
          <p:cNvSpPr/>
          <p:nvPr/>
        </p:nvSpPr>
        <p:spPr>
          <a:xfrm>
            <a:off x="2384783" y="4958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BF57D378-C007-4AF5-92F3-401D0D679814}"/>
              </a:ext>
            </a:extLst>
          </p:cNvPr>
          <p:cNvSpPr/>
          <p:nvPr/>
        </p:nvSpPr>
        <p:spPr>
          <a:xfrm>
            <a:off x="1473283" y="4932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EAF1B24-C590-4665-B653-73CB056CD82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ecurities and Exchange Commission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2EDFE760-8DB3-4CCB-9552-9F8C26EA6DBD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기후 변화 리스크 및 그 영향에 대한 상장 기업의 공시를 확대하는 새로운 규칙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Rul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제안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 규칙은 모든 상장 기업에 적용되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장 기업은 재무제표에 기후 관련 재무지표를 포함하여 공시할 것을 요구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되는 탄소 배출량 정보는 단계적으로 외부 인증을 받도록 하고 있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습니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aphicFrame>
        <p:nvGraphicFramePr>
          <p:cNvPr id="111" name="표 8">
            <a:extLst>
              <a:ext uri="{FF2B5EF4-FFF2-40B4-BE49-F238E27FC236}">
                <a16:creationId xmlns:a16="http://schemas.microsoft.com/office/drawing/2014/main" id="{F4F147F4-C24E-4E53-8E80-018A47DE2C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745039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05C43E33-B897-42C2-9A8C-62C0E555045D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95EBBFF1-BBD5-4D3D-A1DF-9B05C84E133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29888549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11616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SEC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3DA30863-1B4A-48DC-B989-264A0AA3446C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99B181EB-B011-4C23-A93D-0818B24B744A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3" name="사각형: 둥근 모서리 22">
              <a:extLst>
                <a:ext uri="{FF2B5EF4-FFF2-40B4-BE49-F238E27FC236}">
                  <a16:creationId xmlns:a16="http://schemas.microsoft.com/office/drawing/2014/main" id="{A403D4D2-C54E-40FE-9AF1-04179D69B07E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193AFA5D-757E-4C70-8403-44F2D03BDAF1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DF31B67C-4CE8-4386-A68D-7D47D3F800C3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70230FE7-C565-47CC-B6AD-C1D6E9F755E6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5FD247CD-8058-4C68-AA5B-ABF26527C014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D3C22041-1787-4650-AF0E-97CCE491D8C3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57FE30DB-F545-4099-8C97-934DE4E1CA98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72" name="직선 연결선 71">
                <a:extLst>
                  <a:ext uri="{FF2B5EF4-FFF2-40B4-BE49-F238E27FC236}">
                    <a16:creationId xmlns:a16="http://schemas.microsoft.com/office/drawing/2014/main" id="{BE81DF92-06C2-40A8-AAC5-C30C6A9FF8B8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직선 연결선 72">
                <a:extLst>
                  <a:ext uri="{FF2B5EF4-FFF2-40B4-BE49-F238E27FC236}">
                    <a16:creationId xmlns:a16="http://schemas.microsoft.com/office/drawing/2014/main" id="{CBEACB0A-1F96-42E0-BA82-D9312EBA67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D50BC42C-A883-48E2-8B84-FDB4CAB011DE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CFF64EBA-7EC8-40F3-8ED8-DF1665DFE55C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9" name="직선 연결선 68">
                <a:extLst>
                  <a:ext uri="{FF2B5EF4-FFF2-40B4-BE49-F238E27FC236}">
                    <a16:creationId xmlns:a16="http://schemas.microsoft.com/office/drawing/2014/main" id="{D9CEB609-4C70-4576-B0AF-0C1E9419ED77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직선 연결선 69">
                <a:extLst>
                  <a:ext uri="{FF2B5EF4-FFF2-40B4-BE49-F238E27FC236}">
                    <a16:creationId xmlns:a16="http://schemas.microsoft.com/office/drawing/2014/main" id="{61D25F10-4A10-425B-A1F5-ECDB92A8EF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5BAA6C2A-6659-48CE-AB74-D08D80A0157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5" name="사각형: 둥근 모서리 34">
              <a:extLst>
                <a:ext uri="{FF2B5EF4-FFF2-40B4-BE49-F238E27FC236}">
                  <a16:creationId xmlns:a16="http://schemas.microsoft.com/office/drawing/2014/main" id="{F29C1135-2521-4E82-861B-7CCB615A37CF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5F8A2D0D-D7B4-462B-8BF4-D91C68F15BE8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EF4B3AB9-318A-4090-B5DE-1CEACE96FE7F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A0650F25-D42D-4722-8E76-8DD838A84B39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A89A01AA-7CAC-4D01-A064-424406991EB1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5E16658D-D8C8-415B-B62F-691E97DB53C7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3B1D496F-9D02-467D-824B-0022A381A396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D6A242D2-529F-479E-99C9-3C51D6914E92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6" name="직선 연결선 65">
                <a:extLst>
                  <a:ext uri="{FF2B5EF4-FFF2-40B4-BE49-F238E27FC236}">
                    <a16:creationId xmlns:a16="http://schemas.microsoft.com/office/drawing/2014/main" id="{1531BEB4-13C1-4220-95E6-563DDB68B2FC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직선 연결선 66">
                <a:extLst>
                  <a:ext uri="{FF2B5EF4-FFF2-40B4-BE49-F238E27FC236}">
                    <a16:creationId xmlns:a16="http://schemas.microsoft.com/office/drawing/2014/main" id="{1A590505-C69E-4E37-A40D-FF603E326B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24ACB150-0F3E-4867-99CB-B84D1E8B7EAE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89B767FA-5066-4869-B114-E913D6F3F2BA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3" name="직선 연결선 62">
                <a:extLst>
                  <a:ext uri="{FF2B5EF4-FFF2-40B4-BE49-F238E27FC236}">
                    <a16:creationId xmlns:a16="http://schemas.microsoft.com/office/drawing/2014/main" id="{27DF1168-BDA8-4C5E-95BF-718537177F5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직선 연결선 63">
                <a:extLst>
                  <a:ext uri="{FF2B5EF4-FFF2-40B4-BE49-F238E27FC236}">
                    <a16:creationId xmlns:a16="http://schemas.microsoft.com/office/drawing/2014/main" id="{6F29F2AB-F212-4822-AF1B-8615B45B4A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0D5EA7FB-3976-4BC3-9AD8-6B3BD3E87F50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820CCD61-8D8B-4904-BA63-7BA9F3D1AF18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43FD8BED-E89C-47B5-A7A5-9BD96664B7BE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55C40993-51A4-4474-B2CC-EEBBC164B407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BEE72384-DE04-4C96-AC3E-948247D2B051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직사각형 57">
                <a:extLst>
                  <a:ext uri="{FF2B5EF4-FFF2-40B4-BE49-F238E27FC236}">
                    <a16:creationId xmlns:a16="http://schemas.microsoft.com/office/drawing/2014/main" id="{4F613ABA-331C-42AA-95F7-4698F8EE0EAB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7" name="그룹 46">
              <a:extLst>
                <a:ext uri="{FF2B5EF4-FFF2-40B4-BE49-F238E27FC236}">
                  <a16:creationId xmlns:a16="http://schemas.microsoft.com/office/drawing/2014/main" id="{584A42B6-26BA-46C2-A48B-FC3D89C7821C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58B3E337-D34D-4BF7-8F27-A3C867A6F6C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직사각형 55">
                <a:extLst>
                  <a:ext uri="{FF2B5EF4-FFF2-40B4-BE49-F238E27FC236}">
                    <a16:creationId xmlns:a16="http://schemas.microsoft.com/office/drawing/2014/main" id="{06C89A4D-63EA-4C6B-B5B9-88C475587629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48" name="사각형: 둥근 모서리 47">
              <a:extLst>
                <a:ext uri="{FF2B5EF4-FFF2-40B4-BE49-F238E27FC236}">
                  <a16:creationId xmlns:a16="http://schemas.microsoft.com/office/drawing/2014/main" id="{69E8F72C-A078-4506-A1D9-CF85B73014B7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5DE0EEA9-55F5-4269-8BF5-F005279B3CD2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EA6268B6-FD18-4232-BAFE-0180B2C62BB3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F2C3D361-2A37-4221-965D-9BB19FD2AE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3FF06468-0705-4FBC-A873-322A8D7534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6" descr="전체보기 목록 | 환경 | 키즈현대">
              <a:extLst>
                <a:ext uri="{FF2B5EF4-FFF2-40B4-BE49-F238E27FC236}">
                  <a16:creationId xmlns:a16="http://schemas.microsoft.com/office/drawing/2014/main" id="{107F4AE3-6801-427C-BC8D-9C4D51C35D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0BA8DEE2-595E-490A-92F2-96863BE2B3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015BCEF4-DD12-48F4-8946-9EAB5DB7099A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5C5825AB-3BEB-40BF-A4A9-3F1630C1F073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B4B633A3-2AD8-4CD6-A79F-F75A094F9E1E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25640D8-7265-4416-AED9-229869A8DCD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9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AEB1A1D-69B9-440E-9165-FBD5572C39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40FBEB-2299-4633-A015-AF81E77F80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4A4FF8F-AB4D-492D-A1C8-B0354EDFBE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D83CE6C-202B-4B32-A8E8-298CAF15997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3F0C4C4-9ADB-4603-9215-2B63780D09E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A72FC84-CCA1-4E50-9868-8CC97ED6869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Securities and Exchange Commission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8D06E58D-311D-4D2A-8F03-C74D3A70C475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국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기후 변화 리스크 및 그 영향에 대한 상장 기업의 공시를 확대하는 새로운 규칙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Rul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제안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 규칙은 모든 상장 기업에 적용되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장 기업은 재무제표에 기후 관련 재무지표를 포함하여 공시할 것을 요구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되는 탄소 배출량 정보는 단계적으로 외부 인증을 받도록 하고 있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습니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aphicFrame>
        <p:nvGraphicFramePr>
          <p:cNvPr id="93" name="표 8">
            <a:extLst>
              <a:ext uri="{FF2B5EF4-FFF2-40B4-BE49-F238E27FC236}">
                <a16:creationId xmlns:a16="http://schemas.microsoft.com/office/drawing/2014/main" id="{59647441-66B6-4E5B-9E04-4B973402FF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397343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공시 규칙안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613A3236-3A7C-43A0-8689-5B46F2418469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A1B06858-ABD3-4EF4-A6D0-B94889D32234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816359578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61182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대상 확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 대상 구분과 이에 따른 공시일정 및 기준 차이 설명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cxnSpLocks/>
          </p:cNvCxnSpPr>
          <p:nvPr/>
        </p:nvCxnSpPr>
        <p:spPr>
          <a:xfrm>
            <a:off x="5997128" y="4121467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957024" y="2187300"/>
            <a:ext cx="7604124" cy="3494786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DD5228B-B0BD-4241-96B4-0C5FF7706AF6}"/>
              </a:ext>
            </a:extLst>
          </p:cNvPr>
          <p:cNvSpPr/>
          <p:nvPr/>
        </p:nvSpPr>
        <p:spPr>
          <a:xfrm>
            <a:off x="1055368" y="2424521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8E157D3C-C876-4C8E-B5F1-D2E40B039BA6}"/>
              </a:ext>
            </a:extLst>
          </p:cNvPr>
          <p:cNvSpPr/>
          <p:nvPr/>
        </p:nvSpPr>
        <p:spPr>
          <a:xfrm>
            <a:off x="9303999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보고대상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통 질문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0" name="표 10">
            <a:extLst>
              <a:ext uri="{FF2B5EF4-FFF2-40B4-BE49-F238E27FC236}">
                <a16:creationId xmlns:a16="http://schemas.microsoft.com/office/drawing/2014/main" id="{1D39650C-EAFF-40E5-925E-ECCA08226827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1136782"/>
          <a:ext cx="2922885" cy="28808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59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업종분류코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SICS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추후 전달 예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원 수를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자산 규모를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 매출액을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은 모든 항목을 선택한 후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기 화면에서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EX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없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650EE577-4A01-4CF2-8D29-97330C21B5B2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7AE9FB23-2B5A-4BF1-A130-DEE236AC3067}"/>
              </a:ext>
            </a:extLst>
          </p:cNvPr>
          <p:cNvSpPr/>
          <p:nvPr/>
        </p:nvSpPr>
        <p:spPr>
          <a:xfrm>
            <a:off x="983571" y="2271928"/>
            <a:ext cx="7425261" cy="60909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R="0" algn="l" defTabSz="914400" rtl="0" eaLnBrk="1" fontAlgn="base" latinLnBrk="0" hangingPunct="1">
              <a:lnSpc>
                <a:spcPct val="150000"/>
              </a:lnSpc>
              <a:spcAft>
                <a:spcPts val="600"/>
              </a:spcAft>
              <a:buClrTx/>
              <a:buSzTx/>
              <a:tabLst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 정보에 대한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내외의 간단한 질문을 통해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여부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시기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옵션 등의 정보를 확인하실 수 있도록 설계되었습니다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61A65E13-62E1-41F2-96FC-23DEA149C448}"/>
              </a:ext>
            </a:extLst>
          </p:cNvPr>
          <p:cNvSpPr/>
          <p:nvPr/>
        </p:nvSpPr>
        <p:spPr>
          <a:xfrm>
            <a:off x="1118394" y="4525151"/>
            <a:ext cx="7281384" cy="39141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자가진단은 일반 기업을 대상으로 작성되었으며 금융 기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용 기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험 회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기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PIE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에는 별도의 기준이 적용될 수 있음을 알려드립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적용 대상과 최초 공시 시기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국의 법제화 동향에 따라 실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과 차이가 존재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874EDEAA-6362-482C-8855-EB0536987A3B}"/>
              </a:ext>
            </a:extLst>
          </p:cNvPr>
          <p:cNvGrpSpPr/>
          <p:nvPr/>
        </p:nvGrpSpPr>
        <p:grpSpPr>
          <a:xfrm>
            <a:off x="1636162" y="2991180"/>
            <a:ext cx="6152126" cy="1306188"/>
            <a:chOff x="1636162" y="3050449"/>
            <a:chExt cx="6152126" cy="130618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430654FC-C224-495E-8F0C-24CC79020848}"/>
                </a:ext>
              </a:extLst>
            </p:cNvPr>
            <p:cNvGrpSpPr/>
            <p:nvPr/>
          </p:nvGrpSpPr>
          <p:grpSpPr>
            <a:xfrm>
              <a:off x="1636162" y="3059730"/>
              <a:ext cx="1435502" cy="1296907"/>
              <a:chOff x="1496438" y="2970921"/>
              <a:chExt cx="1435502" cy="1296907"/>
            </a:xfrm>
          </p:grpSpPr>
          <p:sp>
            <p:nvSpPr>
              <p:cNvPr id="3" name="사각형: 둥근 모서리 2">
                <a:extLst>
                  <a:ext uri="{FF2B5EF4-FFF2-40B4-BE49-F238E27FC236}">
                    <a16:creationId xmlns:a16="http://schemas.microsoft.com/office/drawing/2014/main" id="{83FA11B2-62C2-456B-90C3-787BB8B89E90}"/>
                  </a:ext>
                </a:extLst>
              </p:cNvPr>
              <p:cNvSpPr/>
              <p:nvPr/>
            </p:nvSpPr>
            <p:spPr>
              <a:xfrm>
                <a:off x="1508011" y="2970921"/>
                <a:ext cx="1398971" cy="1260257"/>
              </a:xfrm>
              <a:prstGeom prst="roundRect">
                <a:avLst>
                  <a:gd name="adj" fmla="val 659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80" name="직사각형 79">
                <a:extLst>
                  <a:ext uri="{FF2B5EF4-FFF2-40B4-BE49-F238E27FC236}">
                    <a16:creationId xmlns:a16="http://schemas.microsoft.com/office/drawing/2014/main" id="{2CA02752-C8F3-4CDC-9D1D-1F1CAF627DBC}"/>
                  </a:ext>
                </a:extLst>
              </p:cNvPr>
              <p:cNvSpPr/>
              <p:nvPr/>
            </p:nvSpPr>
            <p:spPr>
              <a:xfrm>
                <a:off x="1496438" y="3720874"/>
                <a:ext cx="1435502" cy="546954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marR="0" algn="ctr" defTabSz="914400" rtl="0" eaLnBrk="1" fontAlgn="base" latinLnBrk="0" hangingPunct="1">
                  <a:lnSpc>
                    <a:spcPct val="110000"/>
                  </a:lnSpc>
                  <a:spcAft>
                    <a:spcPts val="600"/>
                  </a:spcAft>
                  <a:buClrTx/>
                  <a:buSzTx/>
                  <a:tabLst/>
                </a:pP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기업정보 입력 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R="0" algn="ctr" defTabSz="914400" rtl="0" eaLnBrk="1" fontAlgn="base" latinLnBrk="0" hangingPunct="1">
                  <a:lnSpc>
                    <a:spcPct val="110000"/>
                  </a:lnSpc>
                  <a:spcAft>
                    <a:spcPts val="600"/>
                  </a:spcAft>
                  <a:buClrTx/>
                  <a:buSzTx/>
                  <a:tabLst/>
                </a:pPr>
                <a:r>
                  <a:rPr lang="ko-KR" altLang="en-US" sz="8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직원수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자산규모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순매출액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  <p:pic>
            <p:nvPicPr>
              <p:cNvPr id="9" name="그림 8">
                <a:extLst>
                  <a:ext uri="{FF2B5EF4-FFF2-40B4-BE49-F238E27FC236}">
                    <a16:creationId xmlns:a16="http://schemas.microsoft.com/office/drawing/2014/main" id="{82E3DC96-9812-49D7-BF20-85110F5967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897571" y="3109849"/>
                <a:ext cx="613848" cy="510728"/>
              </a:xfrm>
              <a:prstGeom prst="rect">
                <a:avLst/>
              </a:prstGeom>
            </p:spPr>
          </p:pic>
        </p:grp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12345505-942D-43D8-9EFA-70612DBE2278}"/>
                </a:ext>
              </a:extLst>
            </p:cNvPr>
            <p:cNvGrpSpPr/>
            <p:nvPr/>
          </p:nvGrpSpPr>
          <p:grpSpPr>
            <a:xfrm>
              <a:off x="3871199" y="3050449"/>
              <a:ext cx="1558777" cy="1306188"/>
              <a:chOff x="3258528" y="2970921"/>
              <a:chExt cx="1558777" cy="1306188"/>
            </a:xfrm>
          </p:grpSpPr>
          <p:sp>
            <p:nvSpPr>
              <p:cNvPr id="105" name="사각형: 둥근 모서리 104">
                <a:extLst>
                  <a:ext uri="{FF2B5EF4-FFF2-40B4-BE49-F238E27FC236}">
                    <a16:creationId xmlns:a16="http://schemas.microsoft.com/office/drawing/2014/main" id="{9C3C7F0F-F414-4624-9A39-842C6EFC322C}"/>
                  </a:ext>
                </a:extLst>
              </p:cNvPr>
              <p:cNvSpPr/>
              <p:nvPr/>
            </p:nvSpPr>
            <p:spPr>
              <a:xfrm>
                <a:off x="3316113" y="2970921"/>
                <a:ext cx="1398971" cy="1260257"/>
              </a:xfrm>
              <a:prstGeom prst="roundRect">
                <a:avLst>
                  <a:gd name="adj" fmla="val 659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pic>
            <p:nvPicPr>
              <p:cNvPr id="11" name="그림 10">
                <a:extLst>
                  <a:ext uri="{FF2B5EF4-FFF2-40B4-BE49-F238E27FC236}">
                    <a16:creationId xmlns:a16="http://schemas.microsoft.com/office/drawing/2014/main" id="{261577DA-39FC-4036-BF20-A46D0E2CCC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717122" y="3074363"/>
                <a:ext cx="585002" cy="585002"/>
              </a:xfrm>
              <a:prstGeom prst="rect">
                <a:avLst/>
              </a:prstGeom>
            </p:spPr>
          </p:pic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D851659A-42C3-4677-A14C-7147352EEC2F}"/>
                  </a:ext>
                </a:extLst>
              </p:cNvPr>
              <p:cNvSpPr/>
              <p:nvPr/>
            </p:nvSpPr>
            <p:spPr>
              <a:xfrm>
                <a:off x="3258528" y="3730155"/>
                <a:ext cx="1558777" cy="546954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marR="0" algn="ctr" defTabSz="914400" rtl="0" eaLnBrk="1" fontAlgn="base" latinLnBrk="0" hangingPunct="1">
                  <a:lnSpc>
                    <a:spcPct val="110000"/>
                  </a:lnSpc>
                  <a:spcAft>
                    <a:spcPts val="600"/>
                  </a:spcAft>
                  <a:buClrTx/>
                  <a:buSzTx/>
                  <a:tabLst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U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거래정보 입력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R="0" algn="ctr" defTabSz="914400" rtl="0" eaLnBrk="1" fontAlgn="base" latinLnBrk="0" hangingPunct="1">
                  <a:lnSpc>
                    <a:spcPct val="110000"/>
                  </a:lnSpc>
                  <a:spcAft>
                    <a:spcPts val="600"/>
                  </a:spcAft>
                  <a:buClrTx/>
                  <a:buSzTx/>
                  <a:tabLst/>
                </a:pPr>
                <a:r>
                  <a:rPr lang="ko-KR" altLang="en-US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거래유형</a:t>
                </a:r>
                <a:r>
                  <a:rPr lang="en-US" altLang="ko-KR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lang="ko-KR" altLang="en-US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상장여부</a:t>
                </a:r>
                <a:r>
                  <a:rPr lang="en-US" altLang="ko-KR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lang="ko-KR" altLang="en-US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매출액 등</a:t>
                </a:r>
                <a:r>
                  <a:rPr lang="en-US" altLang="ko-KR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</p:grp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C8029B79-7C15-4330-B898-6FDB075DA161}"/>
                </a:ext>
              </a:extLst>
            </p:cNvPr>
            <p:cNvGrpSpPr/>
            <p:nvPr/>
          </p:nvGrpSpPr>
          <p:grpSpPr>
            <a:xfrm>
              <a:off x="6229511" y="3050449"/>
              <a:ext cx="1558777" cy="1306188"/>
              <a:chOff x="6229511" y="2961640"/>
              <a:chExt cx="1558777" cy="1306188"/>
            </a:xfrm>
          </p:grpSpPr>
          <p:grpSp>
            <p:nvGrpSpPr>
              <p:cNvPr id="119" name="그룹 118">
                <a:extLst>
                  <a:ext uri="{FF2B5EF4-FFF2-40B4-BE49-F238E27FC236}">
                    <a16:creationId xmlns:a16="http://schemas.microsoft.com/office/drawing/2014/main" id="{54DBBCAE-94C5-4A6C-BCDC-E66E42B92D63}"/>
                  </a:ext>
                </a:extLst>
              </p:cNvPr>
              <p:cNvGrpSpPr/>
              <p:nvPr/>
            </p:nvGrpSpPr>
            <p:grpSpPr>
              <a:xfrm>
                <a:off x="6229511" y="2961640"/>
                <a:ext cx="1558777" cy="1306188"/>
                <a:chOff x="3258528" y="2970921"/>
                <a:chExt cx="1558777" cy="1306188"/>
              </a:xfrm>
            </p:grpSpPr>
            <p:sp>
              <p:nvSpPr>
                <p:cNvPr id="121" name="사각형: 둥근 모서리 120">
                  <a:extLst>
                    <a:ext uri="{FF2B5EF4-FFF2-40B4-BE49-F238E27FC236}">
                      <a16:creationId xmlns:a16="http://schemas.microsoft.com/office/drawing/2014/main" id="{5F98452B-465E-4634-BE8A-13E850A0F8B3}"/>
                    </a:ext>
                  </a:extLst>
                </p:cNvPr>
                <p:cNvSpPr/>
                <p:nvPr/>
              </p:nvSpPr>
              <p:spPr>
                <a:xfrm>
                  <a:off x="3316113" y="2970921"/>
                  <a:ext cx="1398971" cy="1260257"/>
                </a:xfrm>
                <a:prstGeom prst="roundRect">
                  <a:avLst>
                    <a:gd name="adj" fmla="val 6590"/>
                  </a:avLst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80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3" name="직사각형 122">
                  <a:extLst>
                    <a:ext uri="{FF2B5EF4-FFF2-40B4-BE49-F238E27FC236}">
                      <a16:creationId xmlns:a16="http://schemas.microsoft.com/office/drawing/2014/main" id="{4B387D80-C279-4CF1-A915-1D5F92F41E54}"/>
                    </a:ext>
                  </a:extLst>
                </p:cNvPr>
                <p:cNvSpPr/>
                <p:nvPr/>
              </p:nvSpPr>
              <p:spPr>
                <a:xfrm>
                  <a:off x="3258528" y="3730155"/>
                  <a:ext cx="1558777" cy="546954"/>
                </a:xfrm>
                <a:prstGeom prst="rect">
                  <a:avLst/>
                </a:prstGeom>
                <a:noFill/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marR="0" algn="ctr" defTabSz="914400" rtl="0" eaLnBrk="1" fontAlgn="base" latinLnBrk="0" hangingPunct="1">
                    <a:lnSpc>
                      <a:spcPct val="110000"/>
                    </a:lnSpc>
                    <a:spcAft>
                      <a:spcPts val="600"/>
                    </a:spcAft>
                    <a:buClrTx/>
                    <a:buSzTx/>
                    <a:tabLst/>
                  </a:pPr>
                  <a:r>
                    <a:rPr lang="ko-KR" altLang="en-US" sz="105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결과 확인</a:t>
                  </a:r>
                  <a:endPara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  <a:p>
                  <a:pPr marR="0" algn="ctr" defTabSz="914400" rtl="0" eaLnBrk="1" fontAlgn="base" latinLnBrk="0" hangingPunct="1">
                    <a:lnSpc>
                      <a:spcPct val="110000"/>
                    </a:lnSpc>
                    <a:spcAft>
                      <a:spcPts val="600"/>
                    </a:spcAft>
                    <a:buClrTx/>
                    <a:buSzTx/>
                    <a:tabLst/>
                  </a:pPr>
                  <a:r>
                    <a:rPr lang="ko-KR" altLang="en-US" sz="800" b="1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대상여부</a:t>
                  </a:r>
                  <a:r>
                    <a:rPr lang="en-US" altLang="ko-KR" sz="800" b="1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, </a:t>
                  </a:r>
                  <a:r>
                    <a:rPr lang="ko-KR" altLang="en-US" sz="800" b="1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공시시기</a:t>
                  </a:r>
                  <a:r>
                    <a:rPr lang="en-US" altLang="ko-KR" sz="800" b="1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, </a:t>
                  </a:r>
                  <a:r>
                    <a:rPr lang="ko-KR" altLang="en-US" sz="800" b="1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보고옵션 등</a:t>
                  </a:r>
                  <a:endParaRPr lang="en-US" altLang="ko-KR" sz="800" b="1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</p:grp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A57125B8-7125-4CC2-8A7D-B87B3FED97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730282" y="3073316"/>
                <a:ext cx="854433" cy="609090"/>
              </a:xfrm>
              <a:prstGeom prst="rect">
                <a:avLst/>
              </a:prstGeom>
            </p:spPr>
          </p:pic>
        </p:grp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id="{C58447A1-C2D4-44F4-8225-8090895F5121}"/>
                </a:ext>
              </a:extLst>
            </p:cNvPr>
            <p:cNvSpPr/>
            <p:nvPr/>
          </p:nvSpPr>
          <p:spPr>
            <a:xfrm rot="5400000">
              <a:off x="3212321" y="3561929"/>
              <a:ext cx="518222" cy="231432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24" name="이등변 삼각형 123">
              <a:extLst>
                <a:ext uri="{FF2B5EF4-FFF2-40B4-BE49-F238E27FC236}">
                  <a16:creationId xmlns:a16="http://schemas.microsoft.com/office/drawing/2014/main" id="{CC9327BB-0A66-4947-B0C6-5F25C72C8238}"/>
                </a:ext>
              </a:extLst>
            </p:cNvPr>
            <p:cNvSpPr/>
            <p:nvPr/>
          </p:nvSpPr>
          <p:spPr>
            <a:xfrm rot="5400000">
              <a:off x="5570633" y="3561929"/>
              <a:ext cx="518222" cy="231432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945CC1A9-0ED8-4FC7-8A64-84508E534479}"/>
              </a:ext>
            </a:extLst>
          </p:cNvPr>
          <p:cNvSpPr/>
          <p:nvPr/>
        </p:nvSpPr>
        <p:spPr>
          <a:xfrm>
            <a:off x="3741737" y="5110585"/>
            <a:ext cx="1780549" cy="324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시작하기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CD2F3F36-E098-4282-8C5F-A92937C9F2C0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373344181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BDE3CDFA-101B-4867-87C0-DD222587F932}"/>
              </a:ext>
            </a:extLst>
          </p:cNvPr>
          <p:cNvSpPr txBox="1"/>
          <p:nvPr/>
        </p:nvSpPr>
        <p:spPr>
          <a:xfrm>
            <a:off x="263352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RRD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결과 도출 로직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8EDA9F70-8AA9-4FF6-845C-10980A97F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438488"/>
              </p:ext>
            </p:extLst>
          </p:nvPr>
        </p:nvGraphicFramePr>
        <p:xfrm>
          <a:off x="4804234" y="1248646"/>
          <a:ext cx="1985478" cy="19888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02002">
                  <a:extLst>
                    <a:ext uri="{9D8B030D-6E8A-4147-A177-3AD203B41FA5}">
                      <a16:colId xmlns:a16="http://schemas.microsoft.com/office/drawing/2014/main" val="3723568771"/>
                    </a:ext>
                  </a:extLst>
                </a:gridCol>
                <a:gridCol w="691738">
                  <a:extLst>
                    <a:ext uri="{9D8B030D-6E8A-4147-A177-3AD203B41FA5}">
                      <a16:colId xmlns:a16="http://schemas.microsoft.com/office/drawing/2014/main" val="3034640258"/>
                    </a:ext>
                  </a:extLst>
                </a:gridCol>
                <a:gridCol w="691738">
                  <a:extLst>
                    <a:ext uri="{9D8B030D-6E8A-4147-A177-3AD203B41FA5}">
                      <a16:colId xmlns:a16="http://schemas.microsoft.com/office/drawing/2014/main" val="1487617914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식 상장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 규모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결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361192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094641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191466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68998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258263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893452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759789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005275"/>
                  </a:ext>
                </a:extLst>
              </a:tr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64922"/>
                  </a:ext>
                </a:extLst>
              </a:tr>
            </a:tbl>
          </a:graphicData>
        </a:graphic>
      </p:graphicFrame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AEDE6BE-AF55-44FF-AFC0-5BBBC9E0D7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460039"/>
              </p:ext>
            </p:extLst>
          </p:nvPr>
        </p:nvGraphicFramePr>
        <p:xfrm>
          <a:off x="7509779" y="1248646"/>
          <a:ext cx="3528392" cy="52379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0362">
                  <a:extLst>
                    <a:ext uri="{9D8B030D-6E8A-4147-A177-3AD203B41FA5}">
                      <a16:colId xmlns:a16="http://schemas.microsoft.com/office/drawing/2014/main" val="2918415107"/>
                    </a:ext>
                  </a:extLst>
                </a:gridCol>
                <a:gridCol w="855102">
                  <a:extLst>
                    <a:ext uri="{9D8B030D-6E8A-4147-A177-3AD203B41FA5}">
                      <a16:colId xmlns:a16="http://schemas.microsoft.com/office/drawing/2014/main" val="185669449"/>
                    </a:ext>
                  </a:extLst>
                </a:gridCol>
                <a:gridCol w="668422">
                  <a:extLst>
                    <a:ext uri="{9D8B030D-6E8A-4147-A177-3AD203B41FA5}">
                      <a16:colId xmlns:a16="http://schemas.microsoft.com/office/drawing/2014/main" val="1867580303"/>
                    </a:ext>
                  </a:extLst>
                </a:gridCol>
                <a:gridCol w="668422">
                  <a:extLst>
                    <a:ext uri="{9D8B030D-6E8A-4147-A177-3AD203B41FA5}">
                      <a16:colId xmlns:a16="http://schemas.microsoft.com/office/drawing/2014/main" val="3099414168"/>
                    </a:ext>
                  </a:extLst>
                </a:gridCol>
                <a:gridCol w="756084">
                  <a:extLst>
                    <a:ext uri="{9D8B030D-6E8A-4147-A177-3AD203B41FA5}">
                      <a16:colId xmlns:a16="http://schemas.microsoft.com/office/drawing/2014/main" val="644081578"/>
                    </a:ext>
                  </a:extLst>
                </a:gridCol>
              </a:tblGrid>
              <a:tr h="219600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식 상장 </a:t>
                      </a:r>
                    </a:p>
                  </a:txBody>
                  <a:tcPr marL="4547" marR="4547" marT="4547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결매출액 </a:t>
                      </a:r>
                    </a:p>
                  </a:txBody>
                  <a:tcPr marL="4547" marR="4547" marT="4547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회사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사</a:t>
                      </a:r>
                    </a:p>
                  </a:txBody>
                  <a:tcPr marL="4547" marR="4547" marT="4547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 규모 </a:t>
                      </a:r>
                    </a:p>
                  </a:txBody>
                  <a:tcPr marL="4547" marR="4547" marT="4547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화면 </a:t>
                      </a:r>
                    </a:p>
                  </a:txBody>
                  <a:tcPr marL="4547" marR="4547" marT="4547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883296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920779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105576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774977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79929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201158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57255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43506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197898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25088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414309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818095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159240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56455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585244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44428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052386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95909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805679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49117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859608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907813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378483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60556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9572097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09959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291255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05615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17232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FR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69494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ar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52081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838101"/>
                  </a:ext>
                </a:extLst>
              </a:tr>
              <a:tr h="1568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ME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SE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78376"/>
                  </a:ext>
                </a:extLst>
              </a:tr>
            </a:tbl>
          </a:graphicData>
        </a:graphic>
      </p:graphicFrame>
      <p:sp>
        <p:nvSpPr>
          <p:cNvPr id="76" name="TextBox 75">
            <a:extLst>
              <a:ext uri="{FF2B5EF4-FFF2-40B4-BE49-F238E27FC236}">
                <a16:creationId xmlns:a16="http://schemas.microsoft.com/office/drawing/2014/main" id="{8C8F7A8D-BBAB-4BB0-9EDA-9F294587DBFB}"/>
              </a:ext>
            </a:extLst>
          </p:cNvPr>
          <p:cNvSpPr txBox="1"/>
          <p:nvPr/>
        </p:nvSpPr>
        <p:spPr>
          <a:xfrm>
            <a:off x="4804234" y="825309"/>
            <a:ext cx="1774696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EU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기업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F803F6B-67C8-4885-9369-4B9EF9F72A6E}"/>
              </a:ext>
            </a:extLst>
          </p:cNvPr>
          <p:cNvSpPr txBox="1"/>
          <p:nvPr/>
        </p:nvSpPr>
        <p:spPr>
          <a:xfrm>
            <a:off x="7486972" y="825309"/>
            <a:ext cx="2543099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역내 종속기업을 보유한 모기업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C451522-DAD5-4D97-83AD-75876C12467C}"/>
              </a:ext>
            </a:extLst>
          </p:cNvPr>
          <p:cNvSpPr txBox="1"/>
          <p:nvPr/>
        </p:nvSpPr>
        <p:spPr>
          <a:xfrm>
            <a:off x="456568" y="825309"/>
            <a:ext cx="3047143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결과에 따른 공시 대상 구분</a:t>
            </a:r>
          </a:p>
        </p:txBody>
      </p:sp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7DF865E0-B212-467A-9D42-8E18960112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888540"/>
              </p:ext>
            </p:extLst>
          </p:nvPr>
        </p:nvGraphicFramePr>
        <p:xfrm>
          <a:off x="478084" y="1248646"/>
          <a:ext cx="3528392" cy="367698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721372">
                  <a:extLst>
                    <a:ext uri="{9D8B030D-6E8A-4147-A177-3AD203B41FA5}">
                      <a16:colId xmlns:a16="http://schemas.microsoft.com/office/drawing/2014/main" val="3723568771"/>
                    </a:ext>
                  </a:extLst>
                </a:gridCol>
                <a:gridCol w="2807020">
                  <a:extLst>
                    <a:ext uri="{9D8B030D-6E8A-4147-A177-3AD203B41FA5}">
                      <a16:colId xmlns:a16="http://schemas.microsoft.com/office/drawing/2014/main" val="3034640258"/>
                    </a:ext>
                  </a:extLst>
                </a:gridCol>
              </a:tblGrid>
              <a:tr h="2209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결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대상 여부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36119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FRD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상 기업으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5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4)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공시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상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509464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대기업으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6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5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19146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on-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기업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9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8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결공시 대상</a:t>
                      </a:r>
                      <a:endParaRPr 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96899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발적 공시 대상</a:t>
                      </a:r>
                      <a:endParaRPr lang="ko-KR" altLang="en-US" sz="800" b="1" dirty="0">
                        <a:solidFill>
                          <a:srgbClr val="000000"/>
                        </a:solidFill>
                        <a:latin typeface="+mn-ea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25826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on-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기업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9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8)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결공시 대상</a:t>
                      </a:r>
                      <a:endParaRPr 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89345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FRD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상 기업으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5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4)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공시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상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on-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기업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9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8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결공시 대상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75978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대기업으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6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5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on-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기업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9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8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결공시 대상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00527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SE 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대기업으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6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4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예적용 가능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on-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기업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9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FY28)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결공시 대상</a:t>
                      </a:r>
                      <a:endParaRPr lang="ko-KR" altLang="en-US" sz="800" b="1" dirty="0">
                        <a:solidFill>
                          <a:srgbClr val="000000"/>
                        </a:solidFill>
                        <a:latin typeface="+mn-ea"/>
                        <a:cs typeface="Segoe UI" panose="020B0502040204020203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64922"/>
                  </a:ext>
                </a:extLst>
              </a:tr>
            </a:tbl>
          </a:graphicData>
        </a:graphic>
      </p:graphicFrame>
      <p:sp>
        <p:nvSpPr>
          <p:cNvPr id="85" name="TextBox 84">
            <a:extLst>
              <a:ext uri="{FF2B5EF4-FFF2-40B4-BE49-F238E27FC236}">
                <a16:creationId xmlns:a16="http://schemas.microsoft.com/office/drawing/2014/main" id="{5FA24C0C-86A6-4BA2-8025-3B3AAFCFFEE1}"/>
              </a:ext>
            </a:extLst>
          </p:cNvPr>
          <p:cNvSpPr txBox="1"/>
          <p:nvPr/>
        </p:nvSpPr>
        <p:spPr>
          <a:xfrm>
            <a:off x="4804234" y="3876165"/>
            <a:ext cx="1774696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EU 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래기업 포함 기타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9BB4D75-AA98-43B6-8F1B-CFF3476C8D2C}"/>
              </a:ext>
            </a:extLst>
          </p:cNvPr>
          <p:cNvSpPr txBox="1"/>
          <p:nvPr/>
        </p:nvSpPr>
        <p:spPr>
          <a:xfrm>
            <a:off x="4800578" y="4239034"/>
            <a:ext cx="1462258" cy="32316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742950" fontAlgn="ctr" latinLnBrk="1">
              <a:lnSpc>
                <a:spcPct val="15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CASE 4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 출력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E5D5E866-1C16-4E95-A678-A1603EE7F837}"/>
              </a:ext>
            </a:extLst>
          </p:cNvPr>
          <p:cNvSpPr/>
          <p:nvPr/>
        </p:nvSpPr>
        <p:spPr>
          <a:xfrm>
            <a:off x="332232" y="700193"/>
            <a:ext cx="11377264" cy="5916059"/>
          </a:xfrm>
          <a:prstGeom prst="rect">
            <a:avLst/>
          </a:prstGeom>
          <a:solidFill>
            <a:srgbClr val="F2F2F2">
              <a:alpha val="80000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_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대상 진단 로직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230825.xlsx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참고</a:t>
            </a:r>
          </a:p>
        </p:txBody>
      </p:sp>
    </p:spTree>
    <p:extLst>
      <p:ext uri="{BB962C8B-B14F-4D97-AF65-F5344CB8AC3E}">
        <p14:creationId xmlns:p14="http://schemas.microsoft.com/office/powerpoint/2010/main" val="16901498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그림 109">
            <a:extLst>
              <a:ext uri="{FF2B5EF4-FFF2-40B4-BE49-F238E27FC236}">
                <a16:creationId xmlns:a16="http://schemas.microsoft.com/office/drawing/2014/main" id="{442F1034-019F-42F0-A2C7-B53038CE5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648" y="1289969"/>
            <a:ext cx="8651302" cy="1744096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979833"/>
              </p:ext>
            </p:extLst>
          </p:nvPr>
        </p:nvGraphicFramePr>
        <p:xfrm>
          <a:off x="9267391" y="759200"/>
          <a:ext cx="2922885" cy="6098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0549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lobal menu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About Us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아웃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&amp;A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About Us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아이콘 영역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①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3]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② 로그인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③ 마이페이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5]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④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&amp;A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Q002]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④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bout U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소개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7]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아웃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아웃 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359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 Menu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이어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787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버튼</a:t>
                      </a:r>
                      <a:r>
                        <a:rPr lang="ko-KR" altLang="en-US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검색 레이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※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분 전달 예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4359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빌보드배너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 영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  <a:tr h="12454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바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전 지정한 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레이어 출력되면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좌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시간 인기 검색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과 시 자동 변환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1447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가기 아이콘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아이콘 영역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랫폼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랫폼 소개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7]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P001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③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설 및 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R002]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④ 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미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amp;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5]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</a:tbl>
          </a:graphicData>
        </a:graphic>
      </p:graphicFrame>
      <p:pic>
        <p:nvPicPr>
          <p:cNvPr id="20" name="그림 19">
            <a:extLst>
              <a:ext uri="{FF2B5EF4-FFF2-40B4-BE49-F238E27FC236}">
                <a16:creationId xmlns:a16="http://schemas.microsoft.com/office/drawing/2014/main" id="{52F139EE-7752-4B38-8745-7B32574927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8733"/>
          <a:stretch/>
        </p:blipFill>
        <p:spPr>
          <a:xfrm>
            <a:off x="344648" y="693623"/>
            <a:ext cx="1839227" cy="575137"/>
          </a:xfrm>
          <a:prstGeom prst="rect">
            <a:avLst/>
          </a:prstGeom>
        </p:spPr>
      </p:pic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DCB4292-7FC2-47FC-817D-1C9B716A6AC7}"/>
              </a:ext>
            </a:extLst>
          </p:cNvPr>
          <p:cNvSpPr/>
          <p:nvPr/>
        </p:nvSpPr>
        <p:spPr>
          <a:xfrm>
            <a:off x="677855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C656BEAF-CB09-4C72-94CA-9B64EBE1D006}"/>
              </a:ext>
            </a:extLst>
          </p:cNvPr>
          <p:cNvSpPr/>
          <p:nvPr/>
        </p:nvSpPr>
        <p:spPr>
          <a:xfrm>
            <a:off x="2730718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FCDA55C0-AEF9-4254-921A-FB0E38FCF8B2}"/>
              </a:ext>
            </a:extLst>
          </p:cNvPr>
          <p:cNvSpPr/>
          <p:nvPr/>
        </p:nvSpPr>
        <p:spPr>
          <a:xfrm>
            <a:off x="4783581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BA3EDD3-A301-416F-8EB1-F0002950414B}"/>
              </a:ext>
            </a:extLst>
          </p:cNvPr>
          <p:cNvSpPr/>
          <p:nvPr/>
        </p:nvSpPr>
        <p:spPr>
          <a:xfrm>
            <a:off x="6845870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3D684A01-450E-4E3B-9FC4-0A53F872CE5B}"/>
              </a:ext>
            </a:extLst>
          </p:cNvPr>
          <p:cNvSpPr/>
          <p:nvPr/>
        </p:nvSpPr>
        <p:spPr>
          <a:xfrm>
            <a:off x="742463" y="4260335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B93FFDD3-5B85-4FCB-B952-4767C3A27E9F}"/>
              </a:ext>
            </a:extLst>
          </p:cNvPr>
          <p:cNvSpPr/>
          <p:nvPr/>
        </p:nvSpPr>
        <p:spPr>
          <a:xfrm>
            <a:off x="4862871" y="4261885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3495C0B1-6354-496C-9BFE-154AB63FC4D3}"/>
              </a:ext>
            </a:extLst>
          </p:cNvPr>
          <p:cNvSpPr/>
          <p:nvPr/>
        </p:nvSpPr>
        <p:spPr>
          <a:xfrm>
            <a:off x="6925508" y="4258508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6E39F4E0-816D-49C4-AAAA-FF7391F2FDB2}"/>
              </a:ext>
            </a:extLst>
          </p:cNvPr>
          <p:cNvSpPr/>
          <p:nvPr/>
        </p:nvSpPr>
        <p:spPr>
          <a:xfrm>
            <a:off x="3464603" y="4249532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93C329FB-893A-4951-BA23-F9E4FB1CA8CF}"/>
              </a:ext>
            </a:extLst>
          </p:cNvPr>
          <p:cNvSpPr/>
          <p:nvPr/>
        </p:nvSpPr>
        <p:spPr>
          <a:xfrm>
            <a:off x="2800062" y="4260335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2C3A8507-CCBD-4A08-B0A3-6B598F5FC6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1650" y="4352061"/>
            <a:ext cx="418299" cy="377420"/>
          </a:xfrm>
          <a:prstGeom prst="rect">
            <a:avLst/>
          </a:prstGeom>
        </p:spPr>
      </p:pic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93D5EF4-8FA9-4FA6-98CD-0B48B31FD114}"/>
              </a:ext>
            </a:extLst>
          </p:cNvPr>
          <p:cNvSpPr/>
          <p:nvPr/>
        </p:nvSpPr>
        <p:spPr>
          <a:xfrm>
            <a:off x="5430984" y="4242947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 및 사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AB4C6524-0C64-4549-8E87-3D0ECA6D6CB0}"/>
              </a:ext>
            </a:extLst>
          </p:cNvPr>
          <p:cNvSpPr/>
          <p:nvPr/>
        </p:nvSpPr>
        <p:spPr>
          <a:xfrm>
            <a:off x="1362322" y="4242946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소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4" name="그림 103">
            <a:extLst>
              <a:ext uri="{FF2B5EF4-FFF2-40B4-BE49-F238E27FC236}">
                <a16:creationId xmlns:a16="http://schemas.microsoft.com/office/drawing/2014/main" id="{C35D9E61-3F5A-478D-99B6-C38C3B0CBE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5113" y="4346563"/>
            <a:ext cx="322214" cy="322214"/>
          </a:xfrm>
          <a:prstGeom prst="rect">
            <a:avLst/>
          </a:prstGeom>
        </p:spPr>
      </p:pic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3BC74F2C-C20C-40C8-8695-5082575B0583}"/>
              </a:ext>
            </a:extLst>
          </p:cNvPr>
          <p:cNvSpPr/>
          <p:nvPr/>
        </p:nvSpPr>
        <p:spPr>
          <a:xfrm>
            <a:off x="7431536" y="4255027"/>
            <a:ext cx="1248924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amp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4EA2090-F406-4411-80CF-5F040F56FED6}"/>
              </a:ext>
            </a:extLst>
          </p:cNvPr>
          <p:cNvSpPr/>
          <p:nvPr/>
        </p:nvSpPr>
        <p:spPr>
          <a:xfrm>
            <a:off x="332993" y="3036702"/>
            <a:ext cx="8647314" cy="8782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7A7E0999-0BD7-4AFA-B372-9CE07EEA3322}"/>
              </a:ext>
            </a:extLst>
          </p:cNvPr>
          <p:cNvGrpSpPr/>
          <p:nvPr/>
        </p:nvGrpSpPr>
        <p:grpSpPr>
          <a:xfrm>
            <a:off x="1128892" y="3301029"/>
            <a:ext cx="5809660" cy="393370"/>
            <a:chOff x="2091746" y="3232315"/>
            <a:chExt cx="5714339" cy="393370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D192F6ED-59BC-40E2-89ED-15692CEB68D0}"/>
                </a:ext>
              </a:extLst>
            </p:cNvPr>
            <p:cNvSpPr/>
            <p:nvPr/>
          </p:nvSpPr>
          <p:spPr>
            <a:xfrm>
              <a:off x="2155750" y="3232315"/>
              <a:ext cx="5650335" cy="39337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96A26026-3286-42D6-A7D2-E2F207DF4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20826" y="3329622"/>
              <a:ext cx="216024" cy="216024"/>
            </a:xfrm>
            <a:prstGeom prst="rect">
              <a:avLst/>
            </a:prstGeom>
          </p:spPr>
        </p:pic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B1AA6429-E40E-4DBA-9DC8-13C5FB0457D3}"/>
                </a:ext>
              </a:extLst>
            </p:cNvPr>
            <p:cNvCxnSpPr>
              <a:cxnSpLocks/>
            </p:cNvCxnSpPr>
            <p:nvPr/>
          </p:nvCxnSpPr>
          <p:spPr>
            <a:xfrm>
              <a:off x="2961556" y="3301408"/>
              <a:ext cx="0" cy="232818"/>
            </a:xfrm>
            <a:prstGeom prst="line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1FD87F00-A2BE-48C0-910A-71AE8505704A}"/>
                </a:ext>
              </a:extLst>
            </p:cNvPr>
            <p:cNvSpPr/>
            <p:nvPr/>
          </p:nvSpPr>
          <p:spPr>
            <a:xfrm>
              <a:off x="2091746" y="3319765"/>
              <a:ext cx="723956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통합검색</a:t>
              </a:r>
            </a:p>
          </p:txBody>
        </p:sp>
        <p:sp>
          <p:nvSpPr>
            <p:cNvPr id="48" name="이등변 삼각형 47">
              <a:extLst>
                <a:ext uri="{FF2B5EF4-FFF2-40B4-BE49-F238E27FC236}">
                  <a16:creationId xmlns:a16="http://schemas.microsoft.com/office/drawing/2014/main" id="{B8C97647-CF67-488D-90DA-307ABCDC4244}"/>
                </a:ext>
              </a:extLst>
            </p:cNvPr>
            <p:cNvSpPr/>
            <p:nvPr/>
          </p:nvSpPr>
          <p:spPr>
            <a:xfrm flipH="1" flipV="1">
              <a:off x="2773692" y="3404235"/>
              <a:ext cx="64800" cy="45719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92" name="그림 91">
            <a:extLst>
              <a:ext uri="{FF2B5EF4-FFF2-40B4-BE49-F238E27FC236}">
                <a16:creationId xmlns:a16="http://schemas.microsoft.com/office/drawing/2014/main" id="{796B737D-E0F8-4EA6-A3F1-5A7D260819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00983" y="4308812"/>
            <a:ext cx="549652" cy="370979"/>
          </a:xfrm>
          <a:prstGeom prst="rect">
            <a:avLst/>
          </a:prstGeom>
        </p:spPr>
      </p:pic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9AEA79AB-8F33-44C8-8235-34EB88839B5D}"/>
              </a:ext>
            </a:extLst>
          </p:cNvPr>
          <p:cNvSpPr/>
          <p:nvPr/>
        </p:nvSpPr>
        <p:spPr>
          <a:xfrm>
            <a:off x="2264737" y="3754102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8" name="그림 107">
            <a:extLst>
              <a:ext uri="{FF2B5EF4-FFF2-40B4-BE49-F238E27FC236}">
                <a16:creationId xmlns:a16="http://schemas.microsoft.com/office/drawing/2014/main" id="{35991832-2275-432E-9D3D-7AC4C44CB4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1319" y="4282026"/>
            <a:ext cx="409968" cy="409968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E9BB857A-E984-4588-A4E8-DE09A7F670EE}"/>
              </a:ext>
            </a:extLst>
          </p:cNvPr>
          <p:cNvSpPr/>
          <p:nvPr/>
        </p:nvSpPr>
        <p:spPr>
          <a:xfrm>
            <a:off x="2413653" y="1049803"/>
            <a:ext cx="5359944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〮계획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〮인증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〮동향</a:t>
            </a:r>
            <a:endParaRPr lang="ko-KR" altLang="en-US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36368BE3-AE4C-4357-BFEF-6647F0F1CDA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5BF00D27-053B-4A03-8630-C1C9F2D10A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650" t="49932"/>
          <a:stretch/>
        </p:blipFill>
        <p:spPr>
          <a:xfrm>
            <a:off x="7978084" y="958332"/>
            <a:ext cx="1068038" cy="287959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8259E6D9-9EE7-4158-84E6-8F21B2CD8C1F}"/>
              </a:ext>
            </a:extLst>
          </p:cNvPr>
          <p:cNvSpPr/>
          <p:nvPr/>
        </p:nvSpPr>
        <p:spPr>
          <a:xfrm>
            <a:off x="6232974" y="7404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515AF80F-A3D3-42A7-A938-69B89B7924A1}"/>
              </a:ext>
            </a:extLst>
          </p:cNvPr>
          <p:cNvSpPr/>
          <p:nvPr/>
        </p:nvSpPr>
        <p:spPr>
          <a:xfrm>
            <a:off x="6410387" y="693623"/>
            <a:ext cx="2433721" cy="206190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6ABC0E81-C123-4789-9FB4-213A9FC4432C}"/>
              </a:ext>
            </a:extLst>
          </p:cNvPr>
          <p:cNvSpPr/>
          <p:nvPr/>
        </p:nvSpPr>
        <p:spPr>
          <a:xfrm>
            <a:off x="1003955" y="3190280"/>
            <a:ext cx="7476561" cy="613655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0125648A-92BB-4BD3-9184-CD415B49A32E}"/>
              </a:ext>
            </a:extLst>
          </p:cNvPr>
          <p:cNvSpPr/>
          <p:nvPr/>
        </p:nvSpPr>
        <p:spPr>
          <a:xfrm>
            <a:off x="2201019" y="9851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ADBAE8D1-EF53-49F8-AC57-D5A40E7EE6E5}"/>
              </a:ext>
            </a:extLst>
          </p:cNvPr>
          <p:cNvSpPr/>
          <p:nvPr/>
        </p:nvSpPr>
        <p:spPr>
          <a:xfrm>
            <a:off x="7905603" y="9766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73C24B44-D68E-4319-B2FD-F2C3AB6DEC99}"/>
              </a:ext>
            </a:extLst>
          </p:cNvPr>
          <p:cNvSpPr/>
          <p:nvPr/>
        </p:nvSpPr>
        <p:spPr>
          <a:xfrm>
            <a:off x="956362" y="31171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8DB630B1-C3DA-4416-806F-F66126D13B31}"/>
              </a:ext>
            </a:extLst>
          </p:cNvPr>
          <p:cNvSpPr/>
          <p:nvPr/>
        </p:nvSpPr>
        <p:spPr>
          <a:xfrm>
            <a:off x="2607710" y="3378499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B870351A-512C-4821-BD66-658AD4FDFEAD}"/>
              </a:ext>
            </a:extLst>
          </p:cNvPr>
          <p:cNvSpPr/>
          <p:nvPr/>
        </p:nvSpPr>
        <p:spPr>
          <a:xfrm>
            <a:off x="585519" y="4071327"/>
            <a:ext cx="8218847" cy="835491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CF358EE5-68A1-4E62-8F62-5E1FC6A0ED3A}"/>
              </a:ext>
            </a:extLst>
          </p:cNvPr>
          <p:cNvSpPr/>
          <p:nvPr/>
        </p:nvSpPr>
        <p:spPr>
          <a:xfrm>
            <a:off x="503222" y="40194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21B234D2-FE16-41BE-A4EC-62B3B2FDC4A7}"/>
              </a:ext>
            </a:extLst>
          </p:cNvPr>
          <p:cNvSpPr/>
          <p:nvPr/>
        </p:nvSpPr>
        <p:spPr>
          <a:xfrm>
            <a:off x="446743" y="14262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0262EDEB-D30C-44BA-AAEA-302FC2F1CE78}"/>
              </a:ext>
            </a:extLst>
          </p:cNvPr>
          <p:cNvSpPr/>
          <p:nvPr/>
        </p:nvSpPr>
        <p:spPr>
          <a:xfrm>
            <a:off x="2060119" y="3378519"/>
            <a:ext cx="3509543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어를 입력하세요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94FD0EBF-10BD-4CCF-BAAC-03B886554B8F}"/>
              </a:ext>
            </a:extLst>
          </p:cNvPr>
          <p:cNvSpPr/>
          <p:nvPr/>
        </p:nvSpPr>
        <p:spPr>
          <a:xfrm>
            <a:off x="591705" y="4991226"/>
            <a:ext cx="8189358" cy="127138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2EB5C22-B06D-4247-A01C-1F8FEE67ACDA}"/>
              </a:ext>
            </a:extLst>
          </p:cNvPr>
          <p:cNvSpPr txBox="1"/>
          <p:nvPr/>
        </p:nvSpPr>
        <p:spPr>
          <a:xfrm>
            <a:off x="414692" y="5011765"/>
            <a:ext cx="227341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키워드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 기준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&gt;  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AF70F499-3B0A-42B3-A888-7BA2365B9363}"/>
              </a:ext>
            </a:extLst>
          </p:cNvPr>
          <p:cNvGrpSpPr/>
          <p:nvPr/>
        </p:nvGrpSpPr>
        <p:grpSpPr>
          <a:xfrm>
            <a:off x="8164874" y="5485134"/>
            <a:ext cx="303141" cy="400110"/>
            <a:chOff x="8169123" y="5496769"/>
            <a:chExt cx="303141" cy="400110"/>
          </a:xfrm>
        </p:grpSpPr>
        <p:sp>
          <p:nvSpPr>
            <p:cNvPr id="6" name="타원 5">
              <a:extLst>
                <a:ext uri="{FF2B5EF4-FFF2-40B4-BE49-F238E27FC236}">
                  <a16:creationId xmlns:a16="http://schemas.microsoft.com/office/drawing/2014/main" id="{BB55787A-981F-41F2-85FC-2D53994025F2}"/>
                </a:ext>
              </a:extLst>
            </p:cNvPr>
            <p:cNvSpPr/>
            <p:nvPr/>
          </p:nvSpPr>
          <p:spPr>
            <a:xfrm>
              <a:off x="8184232" y="5568032"/>
              <a:ext cx="288032" cy="28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04CEF0-D001-4A97-9140-D2E716A75D75}"/>
                </a:ext>
              </a:extLst>
            </p:cNvPr>
            <p:cNvSpPr txBox="1"/>
            <p:nvPr/>
          </p:nvSpPr>
          <p:spPr>
            <a:xfrm>
              <a:off x="8169123" y="5496769"/>
              <a:ext cx="2939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>
                  <a:solidFill>
                    <a:schemeClr val="bg1"/>
                  </a:solidFill>
                  <a:latin typeface="+mj-ea"/>
                  <a:ea typeface="+mj-ea"/>
                </a:rPr>
                <a:t>&gt;</a:t>
              </a:r>
              <a:endParaRPr lang="ko-KR" altLang="en-US" sz="20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149" name="그룹 148">
            <a:extLst>
              <a:ext uri="{FF2B5EF4-FFF2-40B4-BE49-F238E27FC236}">
                <a16:creationId xmlns:a16="http://schemas.microsoft.com/office/drawing/2014/main" id="{12A8C0B6-F237-4D0D-AF71-B201435868C6}"/>
              </a:ext>
            </a:extLst>
          </p:cNvPr>
          <p:cNvGrpSpPr/>
          <p:nvPr/>
        </p:nvGrpSpPr>
        <p:grpSpPr>
          <a:xfrm rot="10800000">
            <a:off x="864475" y="5555069"/>
            <a:ext cx="303141" cy="400110"/>
            <a:chOff x="8169123" y="5496769"/>
            <a:chExt cx="303141" cy="400110"/>
          </a:xfrm>
        </p:grpSpPr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411C020D-ABA8-49C2-9FF4-B2FCB3B0B006}"/>
                </a:ext>
              </a:extLst>
            </p:cNvPr>
            <p:cNvSpPr/>
            <p:nvPr/>
          </p:nvSpPr>
          <p:spPr>
            <a:xfrm>
              <a:off x="8184232" y="5568032"/>
              <a:ext cx="288032" cy="28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90D144AA-104C-4597-9E1D-DD0F46BF74F7}"/>
                </a:ext>
              </a:extLst>
            </p:cNvPr>
            <p:cNvSpPr txBox="1"/>
            <p:nvPr/>
          </p:nvSpPr>
          <p:spPr>
            <a:xfrm>
              <a:off x="8169123" y="5496769"/>
              <a:ext cx="2939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>
                  <a:solidFill>
                    <a:schemeClr val="bg1"/>
                  </a:solidFill>
                  <a:latin typeface="+mj-ea"/>
                  <a:ea typeface="+mj-ea"/>
                </a:rPr>
                <a:t>&gt;</a:t>
              </a:r>
              <a:endParaRPr lang="ko-KR" altLang="en-US" sz="20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BAEB582-2519-4E4F-B057-108E160D586F}"/>
              </a:ext>
            </a:extLst>
          </p:cNvPr>
          <p:cNvSpPr/>
          <p:nvPr/>
        </p:nvSpPr>
        <p:spPr>
          <a:xfrm>
            <a:off x="9236401" y="-1011"/>
            <a:ext cx="2950181" cy="10027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뉴스 키워드 기능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기획서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5]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기검색어출력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영역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검색바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좌측으로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이동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  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일정 시간 초과 시 자동 변환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7BC5E79-A753-4BFB-BB27-3447D732A8F1}"/>
              </a:ext>
            </a:extLst>
          </p:cNvPr>
          <p:cNvSpPr/>
          <p:nvPr/>
        </p:nvSpPr>
        <p:spPr>
          <a:xfrm>
            <a:off x="7004367" y="3301029"/>
            <a:ext cx="1341277" cy="39462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F7480275-26B6-4EC9-8700-B3293EE2E17F}"/>
              </a:ext>
            </a:extLst>
          </p:cNvPr>
          <p:cNvGrpSpPr/>
          <p:nvPr/>
        </p:nvGrpSpPr>
        <p:grpSpPr>
          <a:xfrm>
            <a:off x="7120311" y="3420926"/>
            <a:ext cx="670682" cy="147963"/>
            <a:chOff x="2523202" y="3699767"/>
            <a:chExt cx="670682" cy="147963"/>
          </a:xfrm>
        </p:grpSpPr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723DB607-3A9E-4350-AD51-1C45CC3D733B}"/>
                </a:ext>
              </a:extLst>
            </p:cNvPr>
            <p:cNvSpPr/>
            <p:nvPr/>
          </p:nvSpPr>
          <p:spPr>
            <a:xfrm>
              <a:off x="2523202" y="3699767"/>
              <a:ext cx="144962" cy="14796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2ACD9A16-8544-42B7-BEF4-2300050C68BA}"/>
                </a:ext>
              </a:extLst>
            </p:cNvPr>
            <p:cNvSpPr/>
            <p:nvPr/>
          </p:nvSpPr>
          <p:spPr>
            <a:xfrm>
              <a:off x="2658146" y="3699767"/>
              <a:ext cx="535738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9BDC84FD-AF5F-4CCF-B270-608AE3F40DF1}"/>
              </a:ext>
            </a:extLst>
          </p:cNvPr>
          <p:cNvGrpSpPr/>
          <p:nvPr/>
        </p:nvGrpSpPr>
        <p:grpSpPr>
          <a:xfrm>
            <a:off x="1233375" y="5355163"/>
            <a:ext cx="6873847" cy="766780"/>
            <a:chOff x="1474705" y="5376238"/>
            <a:chExt cx="6873847" cy="733638"/>
          </a:xfrm>
        </p:grpSpPr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535B935D-4765-430B-A489-9D6633803676}"/>
                </a:ext>
              </a:extLst>
            </p:cNvPr>
            <p:cNvGrpSpPr/>
            <p:nvPr/>
          </p:nvGrpSpPr>
          <p:grpSpPr>
            <a:xfrm>
              <a:off x="1474705" y="5376238"/>
              <a:ext cx="6873847" cy="733638"/>
              <a:chOff x="806329" y="5458896"/>
              <a:chExt cx="5892948" cy="576003"/>
            </a:xfrm>
          </p:grpSpPr>
          <p:sp>
            <p:nvSpPr>
              <p:cNvPr id="125" name="사각형: 둥근 모서리 124">
                <a:extLst>
                  <a:ext uri="{FF2B5EF4-FFF2-40B4-BE49-F238E27FC236}">
                    <a16:creationId xmlns:a16="http://schemas.microsoft.com/office/drawing/2014/main" id="{4E335EA5-5872-4FB6-BDBD-69D17832A6E6}"/>
                  </a:ext>
                </a:extLst>
              </p:cNvPr>
              <p:cNvSpPr/>
              <p:nvPr/>
            </p:nvSpPr>
            <p:spPr>
              <a:xfrm>
                <a:off x="912423" y="5458899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지속가능보고서</a:t>
                </a:r>
              </a:p>
            </p:txBody>
          </p:sp>
          <p:sp>
            <p:nvSpPr>
              <p:cNvPr id="126" name="사각형: 둥근 모서리 125">
                <a:extLst>
                  <a:ext uri="{FF2B5EF4-FFF2-40B4-BE49-F238E27FC236}">
                    <a16:creationId xmlns:a16="http://schemas.microsoft.com/office/drawing/2014/main" id="{C2259DAF-B215-4B89-9A45-FC92A4BA66C2}"/>
                  </a:ext>
                </a:extLst>
              </p:cNvPr>
              <p:cNvSpPr/>
              <p:nvPr/>
            </p:nvSpPr>
            <p:spPr>
              <a:xfrm>
                <a:off x="2856425" y="5458896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</a:t>
                </a:r>
              </a:p>
            </p:txBody>
          </p:sp>
          <p:sp>
            <p:nvSpPr>
              <p:cNvPr id="127" name="사각형: 둥근 모서리 126">
                <a:extLst>
                  <a:ext uri="{FF2B5EF4-FFF2-40B4-BE49-F238E27FC236}">
                    <a16:creationId xmlns:a16="http://schemas.microsoft.com/office/drawing/2014/main" id="{B05B9C90-27B1-4CB3-A8DC-B92191DD410C}"/>
                  </a:ext>
                </a:extLst>
              </p:cNvPr>
              <p:cNvSpPr/>
              <p:nvPr/>
            </p:nvSpPr>
            <p:spPr>
              <a:xfrm>
                <a:off x="4800427" y="5458899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 성과</a:t>
                </a: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96C5EBC-2304-49D4-B642-FAE8D2B34A89}"/>
                  </a:ext>
                </a:extLst>
              </p:cNvPr>
              <p:cNvSpPr txBox="1"/>
              <p:nvPr/>
            </p:nvSpPr>
            <p:spPr>
              <a:xfrm>
                <a:off x="806329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시총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0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대 기업 지속가능보고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endParaRPr lang="ko-KR" altLang="en-US" sz="800" b="1" dirty="0">
                  <a:solidFill>
                    <a:srgbClr val="D04A02"/>
                  </a:solidFill>
                  <a:latin typeface="Arial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9E5FA1B-5AE2-4EC0-82B3-70F15C6CB747}"/>
                  </a:ext>
                </a:extLst>
              </p:cNvPr>
              <p:cNvSpPr txBox="1"/>
              <p:nvPr/>
            </p:nvSpPr>
            <p:spPr>
              <a:xfrm>
                <a:off x="2795950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 선언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…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각 국가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…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C6CD721A-C4D5-440A-81E3-16447546CFC6}"/>
                  </a:ext>
                </a:extLst>
              </p:cNvPr>
              <p:cNvSpPr txBox="1"/>
              <p:nvPr/>
            </p:nvSpPr>
            <p:spPr>
              <a:xfrm>
                <a:off x="4694943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>
                    <a:solidFill>
                      <a:srgbClr val="000000"/>
                    </a:solidFill>
                    <a:latin typeface="Arial"/>
                  </a:rPr>
                  <a:t>탄소중립 선언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r>
                  <a:rPr lang="ko-KR" altLang="en-US" sz="800" dirty="0">
                    <a:solidFill>
                      <a:srgbClr val="000000"/>
                    </a:solidFill>
                    <a:latin typeface="Arial"/>
                  </a:rPr>
                  <a:t>각 국가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endParaRPr lang="ko-KR" altLang="en-US" sz="800" b="1" dirty="0">
                  <a:solidFill>
                    <a:srgbClr val="D04A02"/>
                  </a:solidFill>
                  <a:latin typeface="Arial"/>
                </a:endParaRPr>
              </a:p>
            </p:txBody>
          </p:sp>
          <p:grpSp>
            <p:nvGrpSpPr>
              <p:cNvPr id="133" name="그룹 132">
                <a:extLst>
                  <a:ext uri="{FF2B5EF4-FFF2-40B4-BE49-F238E27FC236}">
                    <a16:creationId xmlns:a16="http://schemas.microsoft.com/office/drawing/2014/main" id="{AB0B3237-969D-4D42-9CC8-1C7C5A0AF227}"/>
                  </a:ext>
                </a:extLst>
              </p:cNvPr>
              <p:cNvGrpSpPr/>
              <p:nvPr/>
            </p:nvGrpSpPr>
            <p:grpSpPr>
              <a:xfrm>
                <a:off x="1024922" y="5680374"/>
                <a:ext cx="1531077" cy="139996"/>
                <a:chOff x="1562696" y="2493823"/>
                <a:chExt cx="1417820" cy="139996"/>
              </a:xfrm>
            </p:grpSpPr>
            <p:sp>
              <p:nvSpPr>
                <p:cNvPr id="134" name="직사각형 133">
                  <a:extLst>
                    <a:ext uri="{FF2B5EF4-FFF2-40B4-BE49-F238E27FC236}">
                      <a16:creationId xmlns:a16="http://schemas.microsoft.com/office/drawing/2014/main" id="{0089CB91-9E42-43E6-8E48-D4438C0B9398}"/>
                    </a:ext>
                  </a:extLst>
                </p:cNvPr>
                <p:cNvSpPr/>
                <p:nvPr/>
              </p:nvSpPr>
              <p:spPr>
                <a:xfrm>
                  <a:off x="1562696" y="2493823"/>
                  <a:ext cx="432000" cy="13999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D04A02"/>
                  </a:solidFill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ko-KR" altLang="en-US" sz="8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rgbClr val="CF4C09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중요도</a:t>
                  </a:r>
                </a:p>
              </p:txBody>
            </p:sp>
            <p:cxnSp>
              <p:nvCxnSpPr>
                <p:cNvPr id="135" name="직선 연결선 134">
                  <a:extLst>
                    <a:ext uri="{FF2B5EF4-FFF2-40B4-BE49-F238E27FC236}">
                      <a16:creationId xmlns:a16="http://schemas.microsoft.com/office/drawing/2014/main" id="{795FA5DB-40AC-430F-95D1-DEA30C11E471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36" name="직선 연결선 135">
                  <a:extLst>
                    <a:ext uri="{FF2B5EF4-FFF2-40B4-BE49-F238E27FC236}">
                      <a16:creationId xmlns:a16="http://schemas.microsoft.com/office/drawing/2014/main" id="{1122B311-FFA7-41E0-A340-9979DFBB46CA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396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그룹 136">
                <a:extLst>
                  <a:ext uri="{FF2B5EF4-FFF2-40B4-BE49-F238E27FC236}">
                    <a16:creationId xmlns:a16="http://schemas.microsoft.com/office/drawing/2014/main" id="{847E825F-FD8F-4D0D-832D-F5925C92A34D}"/>
                  </a:ext>
                </a:extLst>
              </p:cNvPr>
              <p:cNvGrpSpPr/>
              <p:nvPr/>
            </p:nvGrpSpPr>
            <p:grpSpPr>
              <a:xfrm>
                <a:off x="3475339" y="5750997"/>
                <a:ext cx="1049644" cy="28"/>
                <a:chOff x="2008516" y="2564446"/>
                <a:chExt cx="972000" cy="28"/>
              </a:xfrm>
            </p:grpSpPr>
            <p:cxnSp>
              <p:nvCxnSpPr>
                <p:cNvPr id="139" name="직선 연결선 138">
                  <a:extLst>
                    <a:ext uri="{FF2B5EF4-FFF2-40B4-BE49-F238E27FC236}">
                      <a16:creationId xmlns:a16="http://schemas.microsoft.com/office/drawing/2014/main" id="{CE26EF3F-F091-4021-A521-ABCFBBAD26B2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40" name="직선 연결선 139">
                  <a:extLst>
                    <a:ext uri="{FF2B5EF4-FFF2-40B4-BE49-F238E27FC236}">
                      <a16:creationId xmlns:a16="http://schemas.microsoft.com/office/drawing/2014/main" id="{5A0867C1-D1E1-48A3-B7DA-7EC022F8A3F8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180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  <p:grpSp>
            <p:nvGrpSpPr>
              <p:cNvPr id="141" name="그룹 140">
                <a:extLst>
                  <a:ext uri="{FF2B5EF4-FFF2-40B4-BE49-F238E27FC236}">
                    <a16:creationId xmlns:a16="http://schemas.microsoft.com/office/drawing/2014/main" id="{8A5768F7-81D2-4B9B-A8ED-7576C78CB95C}"/>
                  </a:ext>
                </a:extLst>
              </p:cNvPr>
              <p:cNvGrpSpPr/>
              <p:nvPr/>
            </p:nvGrpSpPr>
            <p:grpSpPr>
              <a:xfrm>
                <a:off x="5369994" y="5750997"/>
                <a:ext cx="1049644" cy="28"/>
                <a:chOff x="2008516" y="2564446"/>
                <a:chExt cx="972000" cy="28"/>
              </a:xfrm>
            </p:grpSpPr>
            <p:cxnSp>
              <p:nvCxnSpPr>
                <p:cNvPr id="143" name="직선 연결선 142">
                  <a:extLst>
                    <a:ext uri="{FF2B5EF4-FFF2-40B4-BE49-F238E27FC236}">
                      <a16:creationId xmlns:a16="http://schemas.microsoft.com/office/drawing/2014/main" id="{9596347F-1AEE-4CA5-87CE-DC06398D0C81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44" name="직선 연결선 143">
                  <a:extLst>
                    <a:ext uri="{FF2B5EF4-FFF2-40B4-BE49-F238E27FC236}">
                      <a16:creationId xmlns:a16="http://schemas.microsoft.com/office/drawing/2014/main" id="{4DA3D55C-60BD-44A8-8113-695687202CE1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144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4E1519F0-3BB6-48EC-BA83-E3E46CA0D3EB}"/>
                </a:ext>
              </a:extLst>
            </p:cNvPr>
            <p:cNvSpPr/>
            <p:nvPr/>
          </p:nvSpPr>
          <p:spPr>
            <a:xfrm>
              <a:off x="4071073" y="5659159"/>
              <a:ext cx="544160" cy="17830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D04A02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중요도</a:t>
              </a: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4959FAD9-ECBE-4130-B175-C35232579320}"/>
                </a:ext>
              </a:extLst>
            </p:cNvPr>
            <p:cNvSpPr/>
            <p:nvPr/>
          </p:nvSpPr>
          <p:spPr>
            <a:xfrm>
              <a:off x="6299442" y="5658327"/>
              <a:ext cx="544160" cy="17830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D04A02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중요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1687025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67883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lf-Check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통질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cxnSpLocks/>
          </p:cNvCxnSpPr>
          <p:nvPr/>
        </p:nvCxnSpPr>
        <p:spPr>
          <a:xfrm>
            <a:off x="5997128" y="4121467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942677" y="2220005"/>
            <a:ext cx="7604124" cy="3494786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DD5228B-B0BD-4241-96B4-0C5FF7706AF6}"/>
              </a:ext>
            </a:extLst>
          </p:cNvPr>
          <p:cNvSpPr/>
          <p:nvPr/>
        </p:nvSpPr>
        <p:spPr>
          <a:xfrm>
            <a:off x="1055368" y="2424521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1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귀하의 회사에 대한 기본 정보를 입력해주십시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. 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7A66E791-78E0-47C0-814B-698357D7AEDB}"/>
              </a:ext>
            </a:extLst>
          </p:cNvPr>
          <p:cNvSpPr/>
          <p:nvPr/>
        </p:nvSpPr>
        <p:spPr>
          <a:xfrm>
            <a:off x="1271464" y="2969932"/>
            <a:ext cx="769107" cy="29449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업종 분류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99D3D064-BA17-436C-A5FD-D086B4463F98}"/>
              </a:ext>
            </a:extLst>
          </p:cNvPr>
          <p:cNvSpPr/>
          <p:nvPr/>
        </p:nvSpPr>
        <p:spPr>
          <a:xfrm>
            <a:off x="2122634" y="2990256"/>
            <a:ext cx="1507681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선택          ▼</a:t>
            </a: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CE9E16F6-A0F7-4774-8F9B-2B657CEF7674}"/>
              </a:ext>
            </a:extLst>
          </p:cNvPr>
          <p:cNvSpPr/>
          <p:nvPr/>
        </p:nvSpPr>
        <p:spPr>
          <a:xfrm>
            <a:off x="1274808" y="3469663"/>
            <a:ext cx="769107" cy="29449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기업규모</a:t>
            </a: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47EDBB0C-3A4B-4189-9477-6D4C7FE89473}"/>
              </a:ext>
            </a:extLst>
          </p:cNvPr>
          <p:cNvSpPr/>
          <p:nvPr/>
        </p:nvSpPr>
        <p:spPr>
          <a:xfrm>
            <a:off x="2118063" y="3461048"/>
            <a:ext cx="1518727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직원 수       ▼</a:t>
            </a: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F6FDDFFD-65E4-4EFE-8CF1-E7D5CAF291F0}"/>
              </a:ext>
            </a:extLst>
          </p:cNvPr>
          <p:cNvSpPr/>
          <p:nvPr/>
        </p:nvSpPr>
        <p:spPr>
          <a:xfrm>
            <a:off x="3802792" y="3455212"/>
            <a:ext cx="1816365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총 자산 규모       ▼</a:t>
            </a: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FFFD8119-248D-4E6C-BF56-80332741DAC8}"/>
              </a:ext>
            </a:extLst>
          </p:cNvPr>
          <p:cNvSpPr/>
          <p:nvPr/>
        </p:nvSpPr>
        <p:spPr>
          <a:xfrm>
            <a:off x="5785964" y="3455212"/>
            <a:ext cx="1816365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 순 매출액         ▼</a:t>
            </a: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DF241131-F9A7-479D-8102-18E52651F413}"/>
              </a:ext>
            </a:extLst>
          </p:cNvPr>
          <p:cNvSpPr/>
          <p:nvPr/>
        </p:nvSpPr>
        <p:spPr>
          <a:xfrm>
            <a:off x="2111588" y="3815693"/>
            <a:ext cx="1518727" cy="1535577"/>
          </a:xfrm>
          <a:prstGeom prst="roundRect">
            <a:avLst>
              <a:gd name="adj" fmla="val 328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</a:t>
            </a:r>
          </a:p>
        </p:txBody>
      </p:sp>
      <p:graphicFrame>
        <p:nvGraphicFramePr>
          <p:cNvPr id="13" name="표 13">
            <a:extLst>
              <a:ext uri="{FF2B5EF4-FFF2-40B4-BE49-F238E27FC236}">
                <a16:creationId xmlns:a16="http://schemas.microsoft.com/office/drawing/2014/main" id="{F916310D-13C3-414F-882F-B25F2FD67A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695350"/>
              </p:ext>
            </p:extLst>
          </p:nvPr>
        </p:nvGraphicFramePr>
        <p:xfrm>
          <a:off x="2144027" y="3848306"/>
          <a:ext cx="146203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2034">
                  <a:extLst>
                    <a:ext uri="{9D8B030D-6E8A-4147-A177-3AD203B41FA5}">
                      <a16:colId xmlns:a16="http://schemas.microsoft.com/office/drawing/2014/main" val="40720579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이하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4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초과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25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미만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753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1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250</a:t>
                      </a:r>
                      <a:r>
                        <a:rPr lang="ko-KR" altLang="en-US" sz="1000" b="1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이상 </a:t>
                      </a:r>
                      <a:r>
                        <a:rPr lang="en-US" altLang="ko-KR" sz="1000" b="1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500</a:t>
                      </a:r>
                      <a:r>
                        <a:rPr lang="ko-KR" altLang="en-US" sz="1000" b="1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미만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387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50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highlight>
                            <a:srgbClr val="FFFFFF"/>
                          </a:highlight>
                          <a:latin typeface="+mn-ea"/>
                          <a:ea typeface="+mn-ea"/>
                          <a:cs typeface="Arial"/>
                        </a:rPr>
                        <a:t>명 이상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940005"/>
                  </a:ext>
                </a:extLst>
              </a:tr>
            </a:tbl>
          </a:graphicData>
        </a:graphic>
      </p:graphicFrame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3467B30E-6093-422A-A4A8-312676F8C143}"/>
              </a:ext>
            </a:extLst>
          </p:cNvPr>
          <p:cNvSpPr/>
          <p:nvPr/>
        </p:nvSpPr>
        <p:spPr>
          <a:xfrm>
            <a:off x="3802792" y="3826427"/>
            <a:ext cx="1816365" cy="1535577"/>
          </a:xfrm>
          <a:prstGeom prst="roundRect">
            <a:avLst>
              <a:gd name="adj" fmla="val 328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</a:t>
            </a:r>
          </a:p>
        </p:txBody>
      </p:sp>
      <p:graphicFrame>
        <p:nvGraphicFramePr>
          <p:cNvPr id="102" name="표 13">
            <a:extLst>
              <a:ext uri="{FF2B5EF4-FFF2-40B4-BE49-F238E27FC236}">
                <a16:creationId xmlns:a16="http://schemas.microsoft.com/office/drawing/2014/main" id="{17FC9079-F248-4B70-9C0A-ED119884A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5784330"/>
              </p:ext>
            </p:extLst>
          </p:nvPr>
        </p:nvGraphicFramePr>
        <p:xfrm>
          <a:off x="3847071" y="3869004"/>
          <a:ext cx="1778613" cy="1462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8613">
                  <a:extLst>
                    <a:ext uri="{9D8B030D-6E8A-4147-A177-3AD203B41FA5}">
                      <a16:colId xmlns:a16="http://schemas.microsoft.com/office/drawing/2014/main" val="4072057916"/>
                    </a:ext>
                  </a:extLst>
                </a:gridCol>
              </a:tblGrid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350,000 €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미만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 미만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4370"/>
                  </a:ext>
                </a:extLst>
              </a:tr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350,000 - 20,000,000 € 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미만</a:t>
                      </a:r>
                      <a:endParaRPr lang="en-US" altLang="ko-KR" sz="10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-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67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753553"/>
                  </a:ext>
                </a:extLst>
              </a:tr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0,000,000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€ 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이상</a:t>
                      </a:r>
                      <a:endParaRPr lang="en-US" altLang="ko-KR" sz="10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67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 이상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940005"/>
                  </a:ext>
                </a:extLst>
              </a:tr>
            </a:tbl>
          </a:graphicData>
        </a:graphic>
      </p:graphicFrame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2499B119-EAAB-4890-95BF-EE9CCFBC0AC8}"/>
              </a:ext>
            </a:extLst>
          </p:cNvPr>
          <p:cNvSpPr/>
          <p:nvPr/>
        </p:nvSpPr>
        <p:spPr>
          <a:xfrm>
            <a:off x="5787392" y="3827807"/>
            <a:ext cx="1816365" cy="1535577"/>
          </a:xfrm>
          <a:prstGeom prst="roundRect">
            <a:avLst>
              <a:gd name="adj" fmla="val 328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       </a:t>
            </a:r>
          </a:p>
        </p:txBody>
      </p:sp>
      <p:graphicFrame>
        <p:nvGraphicFramePr>
          <p:cNvPr id="106" name="표 13">
            <a:extLst>
              <a:ext uri="{FF2B5EF4-FFF2-40B4-BE49-F238E27FC236}">
                <a16:creationId xmlns:a16="http://schemas.microsoft.com/office/drawing/2014/main" id="{4FDCCFB1-4A93-42D1-9AF6-8868C679DE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151474"/>
              </p:ext>
            </p:extLst>
          </p:nvPr>
        </p:nvGraphicFramePr>
        <p:xfrm>
          <a:off x="5816409" y="3866401"/>
          <a:ext cx="1778613" cy="1462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8613">
                  <a:extLst>
                    <a:ext uri="{9D8B030D-6E8A-4147-A177-3AD203B41FA5}">
                      <a16:colId xmlns:a16="http://schemas.microsoft.com/office/drawing/2014/main" val="4072057916"/>
                    </a:ext>
                  </a:extLst>
                </a:gridCol>
              </a:tblGrid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700,000 €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미만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 미만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4370"/>
                  </a:ext>
                </a:extLst>
              </a:tr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700,000 – 40,000,000 € 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미만</a:t>
                      </a:r>
                      <a:endParaRPr lang="en-US" altLang="ko-KR" sz="10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-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5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753553"/>
                  </a:ext>
                </a:extLst>
              </a:tr>
              <a:tr h="487554"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40,000,000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€ 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이상</a:t>
                      </a:r>
                      <a:endParaRPr lang="en-US" altLang="ko-KR" sz="10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한화 약 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534</a:t>
                      </a:r>
                      <a:r>
                        <a:rPr lang="ko-KR" altLang="en-US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억원 이상</a:t>
                      </a:r>
                      <a:r>
                        <a:rPr lang="en-US" altLang="ko-KR" sz="10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940005"/>
                  </a:ext>
                </a:extLst>
              </a:tr>
            </a:tbl>
          </a:graphicData>
        </a:graphic>
      </p:graphicFrame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84A45DF9-6D18-4E08-8668-E00F9E825613}"/>
              </a:ext>
            </a:extLst>
          </p:cNvPr>
          <p:cNvSpPr/>
          <p:nvPr/>
        </p:nvSpPr>
        <p:spPr>
          <a:xfrm>
            <a:off x="4099588" y="5789064"/>
            <a:ext cx="1080000" cy="28800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EXT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8E157D3C-C876-4C8E-B5F1-D2E40B039BA6}"/>
              </a:ext>
            </a:extLst>
          </p:cNvPr>
          <p:cNvSpPr/>
          <p:nvPr/>
        </p:nvSpPr>
        <p:spPr>
          <a:xfrm>
            <a:off x="9303999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보고대상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통 질문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0" name="표 10">
            <a:extLst>
              <a:ext uri="{FF2B5EF4-FFF2-40B4-BE49-F238E27FC236}">
                <a16:creationId xmlns:a16="http://schemas.microsoft.com/office/drawing/2014/main" id="{1D39650C-EAFF-40E5-925E-ECCA08226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098372"/>
              </p:ext>
            </p:extLst>
          </p:nvPr>
        </p:nvGraphicFramePr>
        <p:xfrm>
          <a:off x="9267391" y="1136782"/>
          <a:ext cx="2922885" cy="28808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59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업종분류코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SICS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추후 전달 예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원 수를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총 자산 규모를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 매출액을 리스트에서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은 모든 항목을 선택한 후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기 화면에서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EX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없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650EE577-4A01-4CF2-8D29-97330C21B5B2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7A21026F-9528-48AB-8B1C-2FD9E046CBCD}"/>
              </a:ext>
            </a:extLst>
          </p:cNvPr>
          <p:cNvSpPr/>
          <p:nvPr/>
        </p:nvSpPr>
        <p:spPr>
          <a:xfrm>
            <a:off x="2087315" y="29499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A105A826-2AE3-4379-9195-ED00B9802DCB}"/>
              </a:ext>
            </a:extLst>
          </p:cNvPr>
          <p:cNvSpPr/>
          <p:nvPr/>
        </p:nvSpPr>
        <p:spPr>
          <a:xfrm>
            <a:off x="2087315" y="34312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657DF6CD-CE75-48A5-A325-A13268588652}"/>
              </a:ext>
            </a:extLst>
          </p:cNvPr>
          <p:cNvSpPr/>
          <p:nvPr/>
        </p:nvSpPr>
        <p:spPr>
          <a:xfrm>
            <a:off x="3751361" y="34312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BC325A33-BF44-4987-A8B5-40364321BD7F}"/>
              </a:ext>
            </a:extLst>
          </p:cNvPr>
          <p:cNvSpPr/>
          <p:nvPr/>
        </p:nvSpPr>
        <p:spPr>
          <a:xfrm>
            <a:off x="5736956" y="34068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F28A2092-A7FF-4A21-AF5D-C08025A9C54F}"/>
              </a:ext>
            </a:extLst>
          </p:cNvPr>
          <p:cNvSpPr/>
          <p:nvPr/>
        </p:nvSpPr>
        <p:spPr>
          <a:xfrm>
            <a:off x="4056059" y="57558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E3D3680E-9814-4B11-A8B7-BF4E50B80776}"/>
              </a:ext>
            </a:extLst>
          </p:cNvPr>
          <p:cNvSpPr/>
          <p:nvPr/>
        </p:nvSpPr>
        <p:spPr>
          <a:xfrm>
            <a:off x="3751361" y="2982923"/>
            <a:ext cx="1507681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선택          ▼</a:t>
            </a: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592ECAD-BBBC-45C2-A97F-4469C797597A}"/>
              </a:ext>
            </a:extLst>
          </p:cNvPr>
          <p:cNvSpPr/>
          <p:nvPr/>
        </p:nvSpPr>
        <p:spPr>
          <a:xfrm>
            <a:off x="5424572" y="2975625"/>
            <a:ext cx="1507681" cy="28957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 선택          ▼</a:t>
            </a:r>
          </a:p>
        </p:txBody>
      </p:sp>
      <p:sp>
        <p:nvSpPr>
          <p:cNvPr id="79" name="Google Shape;611;p50">
            <a:extLst>
              <a:ext uri="{FF2B5EF4-FFF2-40B4-BE49-F238E27FC236}">
                <a16:creationId xmlns:a16="http://schemas.microsoft.com/office/drawing/2014/main" id="{CBEFB3E6-A42F-42FA-95C5-C00E6BCB57DB}"/>
              </a:ext>
            </a:extLst>
          </p:cNvPr>
          <p:cNvSpPr txBox="1"/>
          <p:nvPr/>
        </p:nvSpPr>
        <p:spPr>
          <a:xfrm>
            <a:off x="5789313" y="5395301"/>
            <a:ext cx="2768467" cy="33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38"/>
              <a:buFont typeface="Arial"/>
              <a:buNone/>
            </a:pP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  <a:sym typeface="Arial"/>
              </a:rPr>
              <a:t>*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‘1 EUR = 1,400 KRW’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으로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환산된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금액입니다</a:t>
            </a:r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   </a:t>
            </a:r>
            <a:endParaRPr sz="1050" b="1" i="0" u="none" strike="noStrike" cap="none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98E9B172-F275-4547-B97F-3CFE189F383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707799120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04287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lf-Check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통질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cxnSpLocks/>
          </p:cNvCxnSpPr>
          <p:nvPr/>
        </p:nvCxnSpPr>
        <p:spPr>
          <a:xfrm>
            <a:off x="5997128" y="4121467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Check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82161" y="2261474"/>
            <a:ext cx="7604124" cy="3446430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DD5228B-B0BD-4241-96B4-0C5FF7706AF6}"/>
              </a:ext>
            </a:extLst>
          </p:cNvPr>
          <p:cNvSpPr/>
          <p:nvPr/>
        </p:nvSpPr>
        <p:spPr>
          <a:xfrm>
            <a:off x="1055368" y="2424521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2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귀하의 회사는 다음 중 어느 유형에 해당됩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? 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DF0C63D-2B95-47E2-AC33-317D5D2915B0}"/>
              </a:ext>
            </a:extLst>
          </p:cNvPr>
          <p:cNvSpPr/>
          <p:nvPr/>
        </p:nvSpPr>
        <p:spPr>
          <a:xfrm>
            <a:off x="4099588" y="5805296"/>
            <a:ext cx="1080000" cy="28800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ext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타원 78">
            <a:extLst>
              <a:ext uri="{FF2B5EF4-FFF2-40B4-BE49-F238E27FC236}">
                <a16:creationId xmlns:a16="http://schemas.microsoft.com/office/drawing/2014/main" id="{A3F7297A-9074-47EE-8BFB-8AA554BFBEFC}"/>
              </a:ext>
            </a:extLst>
          </p:cNvPr>
          <p:cNvSpPr/>
          <p:nvPr/>
        </p:nvSpPr>
        <p:spPr>
          <a:xfrm>
            <a:off x="1484618" y="3107819"/>
            <a:ext cx="172396" cy="1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>
              <a:latin typeface="+mn-ea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857A06C-D58E-4914-8333-CE689557BA88}"/>
              </a:ext>
            </a:extLst>
          </p:cNvPr>
          <p:cNvSpPr/>
          <p:nvPr/>
        </p:nvSpPr>
        <p:spPr>
          <a:xfrm>
            <a:off x="1804663" y="2996952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역내 법인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67F07986-E7AB-4EE5-A070-38D1D5776955}"/>
              </a:ext>
            </a:extLst>
          </p:cNvPr>
          <p:cNvSpPr/>
          <p:nvPr/>
        </p:nvSpPr>
        <p:spPr>
          <a:xfrm>
            <a:off x="1804663" y="3365622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역내 종속기업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(Subsidiary, Branch)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을 보유한 모기업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(parent company)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</a:t>
            </a:r>
          </a:p>
        </p:txBody>
      </p:sp>
      <p:sp>
        <p:nvSpPr>
          <p:cNvPr id="111" name="타원 110">
            <a:extLst>
              <a:ext uri="{FF2B5EF4-FFF2-40B4-BE49-F238E27FC236}">
                <a16:creationId xmlns:a16="http://schemas.microsoft.com/office/drawing/2014/main" id="{63D1631A-E3BF-4207-9536-16DEE586C4D7}"/>
              </a:ext>
            </a:extLst>
          </p:cNvPr>
          <p:cNvSpPr/>
          <p:nvPr/>
        </p:nvSpPr>
        <p:spPr>
          <a:xfrm>
            <a:off x="1480862" y="3442559"/>
            <a:ext cx="172396" cy="1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>
              <a:latin typeface="+mn-ea"/>
            </a:endParaRPr>
          </a:p>
        </p:txBody>
      </p:sp>
      <p:sp>
        <p:nvSpPr>
          <p:cNvPr id="110" name="타원 109">
            <a:extLst>
              <a:ext uri="{FF2B5EF4-FFF2-40B4-BE49-F238E27FC236}">
                <a16:creationId xmlns:a16="http://schemas.microsoft.com/office/drawing/2014/main" id="{6C848D43-BD93-4334-BE5A-488E52D7C83B}"/>
              </a:ext>
            </a:extLst>
          </p:cNvPr>
          <p:cNvSpPr/>
          <p:nvPr/>
        </p:nvSpPr>
        <p:spPr>
          <a:xfrm>
            <a:off x="1510492" y="3477554"/>
            <a:ext cx="108000" cy="108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905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+mn-ea"/>
            </a:endParaRPr>
          </a:p>
        </p:txBody>
      </p:sp>
      <p:sp>
        <p:nvSpPr>
          <p:cNvPr id="113" name="타원 112">
            <a:extLst>
              <a:ext uri="{FF2B5EF4-FFF2-40B4-BE49-F238E27FC236}">
                <a16:creationId xmlns:a16="http://schemas.microsoft.com/office/drawing/2014/main" id="{640C369A-A8A7-4FB1-97AD-EDE13ECF488F}"/>
              </a:ext>
            </a:extLst>
          </p:cNvPr>
          <p:cNvSpPr/>
          <p:nvPr/>
        </p:nvSpPr>
        <p:spPr>
          <a:xfrm>
            <a:off x="1487488" y="4164004"/>
            <a:ext cx="172396" cy="1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>
              <a:latin typeface="+mn-ea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F21AD84D-5335-4684-A40A-96F10303EE92}"/>
              </a:ext>
            </a:extLst>
          </p:cNvPr>
          <p:cNvSpPr/>
          <p:nvPr/>
        </p:nvSpPr>
        <p:spPr>
          <a:xfrm>
            <a:off x="1807533" y="4053137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해당 사항 없음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79C86601-2B67-4937-96FD-9F8A8964CE3A}"/>
              </a:ext>
            </a:extLst>
          </p:cNvPr>
          <p:cNvSpPr/>
          <p:nvPr/>
        </p:nvSpPr>
        <p:spPr>
          <a:xfrm>
            <a:off x="4977881" y="5735904"/>
            <a:ext cx="1080000" cy="28800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1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52EDF5FA-DAB7-480E-B57F-283B9AA0AF77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B60E535B-B148-4E5C-87FB-388B15D2F777}"/>
              </a:ext>
            </a:extLst>
          </p:cNvPr>
          <p:cNvSpPr/>
          <p:nvPr/>
        </p:nvSpPr>
        <p:spPr>
          <a:xfrm>
            <a:off x="9303999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보고대상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통 질문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21" name="표 10">
            <a:extLst>
              <a:ext uri="{FF2B5EF4-FFF2-40B4-BE49-F238E27FC236}">
                <a16:creationId xmlns:a16="http://schemas.microsoft.com/office/drawing/2014/main" id="{502082A6-1435-4E21-9AC3-473A336E8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26810"/>
              </p:ext>
            </p:extLst>
          </p:nvPr>
        </p:nvGraphicFramePr>
        <p:xfrm>
          <a:off x="9267391" y="1136782"/>
          <a:ext cx="2922885" cy="16126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59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0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을 선택한 후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[0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의 답변에 따라 출력되는 버튼 상이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와 거래하는 기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사항 없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버튼 출력 → 클릭 시 진단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R007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법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EU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종속기업을 보유한 모기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NEX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출력 → 추가 질의항목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렴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EA5DDDC7-BAA0-4C77-B38E-CADE1FD88C6F}"/>
              </a:ext>
            </a:extLst>
          </p:cNvPr>
          <p:cNvSpPr/>
          <p:nvPr/>
        </p:nvSpPr>
        <p:spPr>
          <a:xfrm>
            <a:off x="4045542" y="57659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Google Shape;669;p51">
            <a:extLst>
              <a:ext uri="{FF2B5EF4-FFF2-40B4-BE49-F238E27FC236}">
                <a16:creationId xmlns:a16="http://schemas.microsoft.com/office/drawing/2014/main" id="{A4C25517-0F47-4858-ABC3-AD003960B215}"/>
              </a:ext>
            </a:extLst>
          </p:cNvPr>
          <p:cNvSpPr txBox="1"/>
          <p:nvPr/>
        </p:nvSpPr>
        <p:spPr>
          <a:xfrm>
            <a:off x="1736889" y="3677552"/>
            <a:ext cx="4258173" cy="33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38"/>
              <a:buFont typeface="Arial"/>
              <a:buNone/>
            </a:pP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 *  EU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역내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법인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중 EU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역내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종속기업을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보유한다면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해당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유형을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선택하세요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endParaRPr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F4C09"/>
              </a:solidFill>
              <a:latin typeface="+mn-ea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228F145E-48B6-401A-8DDB-3D60A58618C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78999421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85710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대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lf-Check (EU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역내기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cxnSpLocks/>
          </p:cNvCxnSpPr>
          <p:nvPr/>
        </p:nvCxnSpPr>
        <p:spPr>
          <a:xfrm>
            <a:off x="5997128" y="4121467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82161" y="2261474"/>
            <a:ext cx="7604124" cy="3446430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DD5228B-B0BD-4241-96B4-0C5FF7706AF6}"/>
              </a:ext>
            </a:extLst>
          </p:cNvPr>
          <p:cNvSpPr/>
          <p:nvPr/>
        </p:nvSpPr>
        <p:spPr>
          <a:xfrm>
            <a:off x="1055368" y="2424521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3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귀하의 회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규제시장에 채권 또는 주식을 상장하였습니까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? 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9" name="타원 78">
            <a:extLst>
              <a:ext uri="{FF2B5EF4-FFF2-40B4-BE49-F238E27FC236}">
                <a16:creationId xmlns:a16="http://schemas.microsoft.com/office/drawing/2014/main" id="{A3F7297A-9074-47EE-8BFB-8AA554BFBEFC}"/>
              </a:ext>
            </a:extLst>
          </p:cNvPr>
          <p:cNvSpPr/>
          <p:nvPr/>
        </p:nvSpPr>
        <p:spPr>
          <a:xfrm>
            <a:off x="1484618" y="3107819"/>
            <a:ext cx="172396" cy="1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>
              <a:latin typeface="+mn-ea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857A06C-D58E-4914-8333-CE689557BA88}"/>
              </a:ext>
            </a:extLst>
          </p:cNvPr>
          <p:cNvSpPr/>
          <p:nvPr/>
        </p:nvSpPr>
        <p:spPr>
          <a:xfrm>
            <a:off x="1804663" y="2996952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67F07986-E7AB-4EE5-A070-38D1D5776955}"/>
              </a:ext>
            </a:extLst>
          </p:cNvPr>
          <p:cNvSpPr/>
          <p:nvPr/>
        </p:nvSpPr>
        <p:spPr>
          <a:xfrm>
            <a:off x="1804663" y="3365622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0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111" name="타원 110">
            <a:extLst>
              <a:ext uri="{FF2B5EF4-FFF2-40B4-BE49-F238E27FC236}">
                <a16:creationId xmlns:a16="http://schemas.microsoft.com/office/drawing/2014/main" id="{63D1631A-E3BF-4207-9536-16DEE586C4D7}"/>
              </a:ext>
            </a:extLst>
          </p:cNvPr>
          <p:cNvSpPr/>
          <p:nvPr/>
        </p:nvSpPr>
        <p:spPr>
          <a:xfrm>
            <a:off x="1480862" y="3442559"/>
            <a:ext cx="172396" cy="1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>
              <a:latin typeface="+mn-ea"/>
            </a:endParaRPr>
          </a:p>
        </p:txBody>
      </p:sp>
      <p:sp>
        <p:nvSpPr>
          <p:cNvPr id="110" name="타원 109">
            <a:extLst>
              <a:ext uri="{FF2B5EF4-FFF2-40B4-BE49-F238E27FC236}">
                <a16:creationId xmlns:a16="http://schemas.microsoft.com/office/drawing/2014/main" id="{6C848D43-BD93-4334-BE5A-488E52D7C83B}"/>
              </a:ext>
            </a:extLst>
          </p:cNvPr>
          <p:cNvSpPr/>
          <p:nvPr/>
        </p:nvSpPr>
        <p:spPr>
          <a:xfrm>
            <a:off x="1510492" y="3477554"/>
            <a:ext cx="108000" cy="108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905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+mn-ea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74754476-6338-4F53-9682-024F12A6D87F}"/>
              </a:ext>
            </a:extLst>
          </p:cNvPr>
          <p:cNvGrpSpPr/>
          <p:nvPr/>
        </p:nvGrpSpPr>
        <p:grpSpPr>
          <a:xfrm>
            <a:off x="4050169" y="2935415"/>
            <a:ext cx="4466273" cy="677072"/>
            <a:chOff x="2967709" y="4733796"/>
            <a:chExt cx="4466273" cy="677072"/>
          </a:xfrm>
        </p:grpSpPr>
        <p:sp>
          <p:nvSpPr>
            <p:cNvPr id="75" name="사각형: 둥근 모서리 74">
              <a:extLst>
                <a:ext uri="{FF2B5EF4-FFF2-40B4-BE49-F238E27FC236}">
                  <a16:creationId xmlns:a16="http://schemas.microsoft.com/office/drawing/2014/main" id="{533D8847-B7C0-4813-9E9B-AE30ECF07C00}"/>
                </a:ext>
              </a:extLst>
            </p:cNvPr>
            <p:cNvSpPr/>
            <p:nvPr/>
          </p:nvSpPr>
          <p:spPr>
            <a:xfrm>
              <a:off x="2967709" y="4733796"/>
              <a:ext cx="4216608" cy="677072"/>
            </a:xfrm>
            <a:prstGeom prst="roundRect">
              <a:avLst>
                <a:gd name="adj" fmla="val 5029"/>
              </a:avLst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6" name="Freeform 10">
              <a:extLst>
                <a:ext uri="{FF2B5EF4-FFF2-40B4-BE49-F238E27FC236}">
                  <a16:creationId xmlns:a16="http://schemas.microsoft.com/office/drawing/2014/main" id="{A5543684-9D9A-4A22-9A92-1D16717E19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70711" y="4812560"/>
              <a:ext cx="130759" cy="144386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87 h 200"/>
                <a:gd name="T12" fmla="*/ 13 w 200"/>
                <a:gd name="T13" fmla="*/ 100 h 200"/>
                <a:gd name="T14" fmla="*/ 100 w 200"/>
                <a:gd name="T15" fmla="*/ 12 h 200"/>
                <a:gd name="T16" fmla="*/ 188 w 200"/>
                <a:gd name="T17" fmla="*/ 100 h 200"/>
                <a:gd name="T18" fmla="*/ 100 w 200"/>
                <a:gd name="T19" fmla="*/ 187 h 200"/>
                <a:gd name="T20" fmla="*/ 99 w 200"/>
                <a:gd name="T21" fmla="*/ 143 h 200"/>
                <a:gd name="T22" fmla="*/ 111 w 200"/>
                <a:gd name="T23" fmla="*/ 143 h 200"/>
                <a:gd name="T24" fmla="*/ 111 w 200"/>
                <a:gd name="T25" fmla="*/ 129 h 200"/>
                <a:gd name="T26" fmla="*/ 99 w 200"/>
                <a:gd name="T27" fmla="*/ 129 h 200"/>
                <a:gd name="T28" fmla="*/ 99 w 200"/>
                <a:gd name="T29" fmla="*/ 143 h 200"/>
                <a:gd name="T30" fmla="*/ 122 w 200"/>
                <a:gd name="T31" fmla="*/ 57 h 200"/>
                <a:gd name="T32" fmla="*/ 113 w 200"/>
                <a:gd name="T33" fmla="*/ 51 h 200"/>
                <a:gd name="T34" fmla="*/ 88 w 200"/>
                <a:gd name="T35" fmla="*/ 52 h 200"/>
                <a:gd name="T36" fmla="*/ 78 w 200"/>
                <a:gd name="T37" fmla="*/ 59 h 200"/>
                <a:gd name="T38" fmla="*/ 72 w 200"/>
                <a:gd name="T39" fmla="*/ 70 h 200"/>
                <a:gd name="T40" fmla="*/ 70 w 200"/>
                <a:gd name="T41" fmla="*/ 83 h 200"/>
                <a:gd name="T42" fmla="*/ 82 w 200"/>
                <a:gd name="T43" fmla="*/ 83 h 200"/>
                <a:gd name="T44" fmla="*/ 84 w 200"/>
                <a:gd name="T45" fmla="*/ 74 h 200"/>
                <a:gd name="T46" fmla="*/ 87 w 200"/>
                <a:gd name="T47" fmla="*/ 68 h 200"/>
                <a:gd name="T48" fmla="*/ 93 w 200"/>
                <a:gd name="T49" fmla="*/ 64 h 200"/>
                <a:gd name="T50" fmla="*/ 109 w 200"/>
                <a:gd name="T51" fmla="*/ 63 h 200"/>
                <a:gd name="T52" fmla="*/ 114 w 200"/>
                <a:gd name="T53" fmla="*/ 66 h 200"/>
                <a:gd name="T54" fmla="*/ 117 w 200"/>
                <a:gd name="T55" fmla="*/ 71 h 200"/>
                <a:gd name="T56" fmla="*/ 118 w 200"/>
                <a:gd name="T57" fmla="*/ 77 h 200"/>
                <a:gd name="T58" fmla="*/ 117 w 200"/>
                <a:gd name="T59" fmla="*/ 84 h 200"/>
                <a:gd name="T60" fmla="*/ 110 w 200"/>
                <a:gd name="T61" fmla="*/ 92 h 200"/>
                <a:gd name="T62" fmla="*/ 105 w 200"/>
                <a:gd name="T63" fmla="*/ 97 h 200"/>
                <a:gd name="T64" fmla="*/ 101 w 200"/>
                <a:gd name="T65" fmla="*/ 103 h 200"/>
                <a:gd name="T66" fmla="*/ 99 w 200"/>
                <a:gd name="T67" fmla="*/ 109 h 200"/>
                <a:gd name="T68" fmla="*/ 98 w 200"/>
                <a:gd name="T69" fmla="*/ 118 h 200"/>
                <a:gd name="T70" fmla="*/ 111 w 200"/>
                <a:gd name="T71" fmla="*/ 118 h 200"/>
                <a:gd name="T72" fmla="*/ 111 w 200"/>
                <a:gd name="T73" fmla="*/ 111 h 200"/>
                <a:gd name="T74" fmla="*/ 112 w 200"/>
                <a:gd name="T75" fmla="*/ 108 h 200"/>
                <a:gd name="T76" fmla="*/ 114 w 200"/>
                <a:gd name="T77" fmla="*/ 106 h 200"/>
                <a:gd name="T78" fmla="*/ 119 w 200"/>
                <a:gd name="T79" fmla="*/ 101 h 200"/>
                <a:gd name="T80" fmla="*/ 127 w 200"/>
                <a:gd name="T81" fmla="*/ 91 h 200"/>
                <a:gd name="T82" fmla="*/ 131 w 200"/>
                <a:gd name="T83" fmla="*/ 77 h 200"/>
                <a:gd name="T84" fmla="*/ 129 w 200"/>
                <a:gd name="T85" fmla="*/ 65 h 200"/>
                <a:gd name="T86" fmla="*/ 122 w 200"/>
                <a:gd name="T87" fmla="*/ 5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4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6" y="200"/>
                    <a:pt x="200" y="155"/>
                    <a:pt x="200" y="100"/>
                  </a:cubicBezTo>
                  <a:cubicBezTo>
                    <a:pt x="200" y="44"/>
                    <a:pt x="156" y="0"/>
                    <a:pt x="100" y="0"/>
                  </a:cubicBezTo>
                  <a:close/>
                  <a:moveTo>
                    <a:pt x="100" y="187"/>
                  </a:moveTo>
                  <a:cubicBezTo>
                    <a:pt x="52" y="187"/>
                    <a:pt x="13" y="148"/>
                    <a:pt x="13" y="100"/>
                  </a:cubicBezTo>
                  <a:cubicBezTo>
                    <a:pt x="13" y="51"/>
                    <a:pt x="52" y="12"/>
                    <a:pt x="100" y="12"/>
                  </a:cubicBezTo>
                  <a:cubicBezTo>
                    <a:pt x="149" y="12"/>
                    <a:pt x="188" y="51"/>
                    <a:pt x="188" y="100"/>
                  </a:cubicBezTo>
                  <a:cubicBezTo>
                    <a:pt x="188" y="148"/>
                    <a:pt x="149" y="187"/>
                    <a:pt x="100" y="187"/>
                  </a:cubicBezTo>
                  <a:close/>
                  <a:moveTo>
                    <a:pt x="99" y="143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99" y="129"/>
                    <a:pt x="99" y="129"/>
                    <a:pt x="99" y="129"/>
                  </a:cubicBezTo>
                  <a:lnTo>
                    <a:pt x="99" y="143"/>
                  </a:lnTo>
                  <a:close/>
                  <a:moveTo>
                    <a:pt x="122" y="57"/>
                  </a:moveTo>
                  <a:cubicBezTo>
                    <a:pt x="119" y="54"/>
                    <a:pt x="116" y="53"/>
                    <a:pt x="113" y="51"/>
                  </a:cubicBezTo>
                  <a:cubicBezTo>
                    <a:pt x="105" y="49"/>
                    <a:pt x="95" y="49"/>
                    <a:pt x="88" y="52"/>
                  </a:cubicBezTo>
                  <a:cubicBezTo>
                    <a:pt x="85" y="54"/>
                    <a:pt x="81" y="56"/>
                    <a:pt x="78" y="59"/>
                  </a:cubicBezTo>
                  <a:cubicBezTo>
                    <a:pt x="75" y="62"/>
                    <a:pt x="73" y="65"/>
                    <a:pt x="72" y="70"/>
                  </a:cubicBezTo>
                  <a:cubicBezTo>
                    <a:pt x="70" y="74"/>
                    <a:pt x="70" y="78"/>
                    <a:pt x="70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2" y="79"/>
                    <a:pt x="83" y="76"/>
                    <a:pt x="84" y="74"/>
                  </a:cubicBezTo>
                  <a:cubicBezTo>
                    <a:pt x="84" y="71"/>
                    <a:pt x="86" y="69"/>
                    <a:pt x="87" y="68"/>
                  </a:cubicBezTo>
                  <a:cubicBezTo>
                    <a:pt x="89" y="66"/>
                    <a:pt x="91" y="65"/>
                    <a:pt x="93" y="64"/>
                  </a:cubicBezTo>
                  <a:cubicBezTo>
                    <a:pt x="97" y="62"/>
                    <a:pt x="104" y="62"/>
                    <a:pt x="109" y="63"/>
                  </a:cubicBezTo>
                  <a:cubicBezTo>
                    <a:pt x="111" y="64"/>
                    <a:pt x="112" y="65"/>
                    <a:pt x="114" y="66"/>
                  </a:cubicBezTo>
                  <a:cubicBezTo>
                    <a:pt x="115" y="67"/>
                    <a:pt x="116" y="69"/>
                    <a:pt x="117" y="71"/>
                  </a:cubicBezTo>
                  <a:cubicBezTo>
                    <a:pt x="118" y="72"/>
                    <a:pt x="118" y="74"/>
                    <a:pt x="118" y="77"/>
                  </a:cubicBezTo>
                  <a:cubicBezTo>
                    <a:pt x="118" y="80"/>
                    <a:pt x="118" y="82"/>
                    <a:pt x="117" y="84"/>
                  </a:cubicBezTo>
                  <a:cubicBezTo>
                    <a:pt x="115" y="87"/>
                    <a:pt x="113" y="89"/>
                    <a:pt x="110" y="92"/>
                  </a:cubicBezTo>
                  <a:cubicBezTo>
                    <a:pt x="108" y="94"/>
                    <a:pt x="106" y="96"/>
                    <a:pt x="105" y="97"/>
                  </a:cubicBezTo>
                  <a:cubicBezTo>
                    <a:pt x="103" y="99"/>
                    <a:pt x="102" y="101"/>
                    <a:pt x="101" y="103"/>
                  </a:cubicBezTo>
                  <a:cubicBezTo>
                    <a:pt x="100" y="105"/>
                    <a:pt x="99" y="107"/>
                    <a:pt x="99" y="109"/>
                  </a:cubicBezTo>
                  <a:cubicBezTo>
                    <a:pt x="98" y="111"/>
                    <a:pt x="98" y="114"/>
                    <a:pt x="98" y="118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1" y="115"/>
                    <a:pt x="111" y="113"/>
                    <a:pt x="111" y="111"/>
                  </a:cubicBezTo>
                  <a:cubicBezTo>
                    <a:pt x="111" y="110"/>
                    <a:pt x="111" y="109"/>
                    <a:pt x="112" y="108"/>
                  </a:cubicBezTo>
                  <a:cubicBezTo>
                    <a:pt x="112" y="108"/>
                    <a:pt x="112" y="107"/>
                    <a:pt x="114" y="106"/>
                  </a:cubicBezTo>
                  <a:cubicBezTo>
                    <a:pt x="115" y="105"/>
                    <a:pt x="117" y="103"/>
                    <a:pt x="119" y="101"/>
                  </a:cubicBezTo>
                  <a:cubicBezTo>
                    <a:pt x="122" y="98"/>
                    <a:pt x="125" y="94"/>
                    <a:pt x="127" y="91"/>
                  </a:cubicBezTo>
                  <a:cubicBezTo>
                    <a:pt x="130" y="87"/>
                    <a:pt x="131" y="82"/>
                    <a:pt x="131" y="77"/>
                  </a:cubicBezTo>
                  <a:cubicBezTo>
                    <a:pt x="131" y="73"/>
                    <a:pt x="130" y="69"/>
                    <a:pt x="129" y="65"/>
                  </a:cubicBezTo>
                  <a:cubicBezTo>
                    <a:pt x="127" y="62"/>
                    <a:pt x="125" y="59"/>
                    <a:pt x="122" y="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36978CE-D566-4527-98B6-20BA6275BED2}"/>
                </a:ext>
              </a:extLst>
            </p:cNvPr>
            <p:cNvSpPr txBox="1"/>
            <p:nvPr/>
          </p:nvSpPr>
          <p:spPr>
            <a:xfrm>
              <a:off x="3257690" y="4805499"/>
              <a:ext cx="10956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9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U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규제시장이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?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DE0E0AE-5921-4FD2-9EF3-AD3E5E06DCB8}"/>
                </a:ext>
              </a:extLst>
            </p:cNvPr>
            <p:cNvSpPr txBox="1"/>
            <p:nvPr/>
          </p:nvSpPr>
          <p:spPr>
            <a:xfrm>
              <a:off x="3068680" y="5011944"/>
              <a:ext cx="4365302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SMA (European Securities and Markets authority)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에 유가 증권이 상장된 기업을 의미합니다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. 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* ESMA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웹사이트에서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U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규제 시장에 상장되었는지 확인해볼 수 있습니다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:  [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바로가기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]</a:t>
              </a:r>
              <a:endPara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</p:grp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45F7AEDC-748B-40D1-A294-FD69D165ED21}"/>
              </a:ext>
            </a:extLst>
          </p:cNvPr>
          <p:cNvSpPr/>
          <p:nvPr/>
        </p:nvSpPr>
        <p:spPr>
          <a:xfrm>
            <a:off x="4099588" y="5789064"/>
            <a:ext cx="1080000" cy="28800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</a:t>
            </a: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92912278-E3B8-4531-A663-00B3F4612E10}"/>
              </a:ext>
            </a:extLst>
          </p:cNvPr>
          <p:cNvSpPr/>
          <p:nvPr/>
        </p:nvSpPr>
        <p:spPr>
          <a:xfrm>
            <a:off x="9303999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보고대상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기업 추가 질문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8" name="표 10">
            <a:extLst>
              <a:ext uri="{FF2B5EF4-FFF2-40B4-BE49-F238E27FC236}">
                <a16:creationId xmlns:a16="http://schemas.microsoft.com/office/drawing/2014/main" id="{7C049CE7-2003-4203-83B0-9ED98BAC0B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679866"/>
              </p:ext>
            </p:extLst>
          </p:nvPr>
        </p:nvGraphicFramePr>
        <p:xfrm>
          <a:off x="9267391" y="1384346"/>
          <a:ext cx="2922885" cy="13636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4993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63789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03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을 선택한 후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버튼 클릭 시 진단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R007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가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https://registers.esma.europa.eu/publication/searchRegister?core=esma_registers_upreg]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00878"/>
                  </a:ext>
                </a:extLst>
              </a:tr>
            </a:tbl>
          </a:graphicData>
        </a:graphic>
      </p:graphicFrame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C3436714-18AA-4EB9-B3FD-BEFE711B86AE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FF97525C-C970-4872-9F61-1A3466DEFDF8}"/>
              </a:ext>
            </a:extLst>
          </p:cNvPr>
          <p:cNvSpPr/>
          <p:nvPr/>
        </p:nvSpPr>
        <p:spPr>
          <a:xfrm>
            <a:off x="4057439" y="57596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D3B5654E-E56E-40A8-BCBD-27FA153947A5}"/>
              </a:ext>
            </a:extLst>
          </p:cNvPr>
          <p:cNvSpPr/>
          <p:nvPr/>
        </p:nvSpPr>
        <p:spPr>
          <a:xfrm>
            <a:off x="7371620" y="32937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6EBFEA7A-AC72-4101-9CB4-D8EFA9B00E2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834910781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16585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대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lf-Check (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cs typeface="Arial"/>
                        </a:rPr>
                        <a:t>EU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cs typeface="Arial"/>
                        </a:rPr>
                        <a:t>역내 종속기업을 보유한 모기업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319374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57540" y="3164437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57540" y="3752073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96532" y="375207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96532" y="3982520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57540" y="3407757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cxnSpLocks/>
          </p:cNvCxnSpPr>
          <p:nvPr/>
        </p:nvCxnSpPr>
        <p:spPr>
          <a:xfrm>
            <a:off x="6007295" y="3808350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220689"/>
            <a:ext cx="7914363" cy="499281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0018" y="1311540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910181" y="1712967"/>
            <a:ext cx="7604124" cy="4061609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DD5228B-B0BD-4241-96B4-0C5FF7706AF6}"/>
              </a:ext>
            </a:extLst>
          </p:cNvPr>
          <p:cNvSpPr/>
          <p:nvPr/>
        </p:nvSpPr>
        <p:spPr>
          <a:xfrm>
            <a:off x="1039860" y="1763882"/>
            <a:ext cx="6336776" cy="3938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3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귀하의 회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규제시장에 채권 또는 주식을 상장하였습니까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? 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DF0C63D-2B95-47E2-AC33-317D5D2915B0}"/>
              </a:ext>
            </a:extLst>
          </p:cNvPr>
          <p:cNvSpPr/>
          <p:nvPr/>
        </p:nvSpPr>
        <p:spPr>
          <a:xfrm>
            <a:off x="4099588" y="5789064"/>
            <a:ext cx="1080000" cy="28800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</a:t>
            </a: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D6DCDDA0-60EB-4731-A2BF-6D78DE4B573A}"/>
              </a:ext>
            </a:extLst>
          </p:cNvPr>
          <p:cNvGrpSpPr/>
          <p:nvPr/>
        </p:nvGrpSpPr>
        <p:grpSpPr>
          <a:xfrm>
            <a:off x="1549757" y="2188063"/>
            <a:ext cx="6660577" cy="743214"/>
            <a:chOff x="1480862" y="2852936"/>
            <a:chExt cx="6660577" cy="743214"/>
          </a:xfrm>
        </p:grpSpPr>
        <p:sp>
          <p:nvSpPr>
            <p:cNvPr id="79" name="타원 78">
              <a:extLst>
                <a:ext uri="{FF2B5EF4-FFF2-40B4-BE49-F238E27FC236}">
                  <a16:creationId xmlns:a16="http://schemas.microsoft.com/office/drawing/2014/main" id="{A3F7297A-9074-47EE-8BFB-8AA554BFBEFC}"/>
                </a:ext>
              </a:extLst>
            </p:cNvPr>
            <p:cNvSpPr/>
            <p:nvPr/>
          </p:nvSpPr>
          <p:spPr>
            <a:xfrm>
              <a:off x="1484618" y="2963803"/>
              <a:ext cx="172396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>
                <a:latin typeface="+mn-ea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B857A06C-D58E-4914-8333-CE689557BA88}"/>
                </a:ext>
              </a:extLst>
            </p:cNvPr>
            <p:cNvSpPr/>
            <p:nvPr/>
          </p:nvSpPr>
          <p:spPr>
            <a:xfrm>
              <a:off x="1804663" y="2852936"/>
              <a:ext cx="6336776" cy="39380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예</a:t>
              </a:r>
            </a:p>
          </p:txBody>
        </p:sp>
        <p:sp>
          <p:nvSpPr>
            <p:cNvPr id="105" name="사각형: 둥근 모서리 104">
              <a:extLst>
                <a:ext uri="{FF2B5EF4-FFF2-40B4-BE49-F238E27FC236}">
                  <a16:creationId xmlns:a16="http://schemas.microsoft.com/office/drawing/2014/main" id="{67F07986-E7AB-4EE5-A070-38D1D5776955}"/>
                </a:ext>
              </a:extLst>
            </p:cNvPr>
            <p:cNvSpPr/>
            <p:nvPr/>
          </p:nvSpPr>
          <p:spPr>
            <a:xfrm>
              <a:off x="1787401" y="3202343"/>
              <a:ext cx="6336776" cy="39380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아니오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111" name="타원 110">
              <a:extLst>
                <a:ext uri="{FF2B5EF4-FFF2-40B4-BE49-F238E27FC236}">
                  <a16:creationId xmlns:a16="http://schemas.microsoft.com/office/drawing/2014/main" id="{63D1631A-E3BF-4207-9536-16DEE586C4D7}"/>
                </a:ext>
              </a:extLst>
            </p:cNvPr>
            <p:cNvSpPr/>
            <p:nvPr/>
          </p:nvSpPr>
          <p:spPr>
            <a:xfrm>
              <a:off x="1480862" y="3294816"/>
              <a:ext cx="172396" cy="1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>
                <a:latin typeface="+mn-ea"/>
              </a:endParaRPr>
            </a:p>
          </p:txBody>
        </p:sp>
        <p:sp>
          <p:nvSpPr>
            <p:cNvPr id="110" name="타원 109">
              <a:extLst>
                <a:ext uri="{FF2B5EF4-FFF2-40B4-BE49-F238E27FC236}">
                  <a16:creationId xmlns:a16="http://schemas.microsoft.com/office/drawing/2014/main" id="{6C848D43-BD93-4334-BE5A-488E52D7C83B}"/>
                </a:ext>
              </a:extLst>
            </p:cNvPr>
            <p:cNvSpPr/>
            <p:nvPr/>
          </p:nvSpPr>
          <p:spPr>
            <a:xfrm>
              <a:off x="1510492" y="3333538"/>
              <a:ext cx="108000" cy="108000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1905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>
                <a:latin typeface="+mn-ea"/>
              </a:endParaRPr>
            </a:p>
          </p:txBody>
        </p: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99BA7C34-8420-4FFF-A2C4-6EFEF6793EFC}"/>
              </a:ext>
            </a:extLst>
          </p:cNvPr>
          <p:cNvGrpSpPr/>
          <p:nvPr/>
        </p:nvGrpSpPr>
        <p:grpSpPr>
          <a:xfrm>
            <a:off x="1075667" y="3055610"/>
            <a:ext cx="7155521" cy="1123812"/>
            <a:chOff x="1065500" y="4359619"/>
            <a:chExt cx="7155521" cy="1123812"/>
          </a:xfrm>
        </p:grpSpPr>
        <p:sp>
          <p:nvSpPr>
            <p:cNvPr id="116" name="사각형: 둥근 모서리 115">
              <a:extLst>
                <a:ext uri="{FF2B5EF4-FFF2-40B4-BE49-F238E27FC236}">
                  <a16:creationId xmlns:a16="http://schemas.microsoft.com/office/drawing/2014/main" id="{A7555D95-C556-40BC-ABF6-743AD8EC6849}"/>
                </a:ext>
              </a:extLst>
            </p:cNvPr>
            <p:cNvSpPr/>
            <p:nvPr/>
          </p:nvSpPr>
          <p:spPr>
            <a:xfrm>
              <a:off x="1065500" y="4359619"/>
              <a:ext cx="6336776" cy="39380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4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04.</a:t>
              </a:r>
              <a:r>
                <a:rPr lang="en-US" altLang="ko-KR" sz="14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rPr>
                <a:t>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(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지난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2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개년 회계연도 연속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) EU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역내 연결 매출액이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150,000,000€ (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한화 약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2000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억원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)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이상입니까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? 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  <p:grpSp>
          <p:nvGrpSpPr>
            <p:cNvPr id="117" name="그룹 116">
              <a:extLst>
                <a:ext uri="{FF2B5EF4-FFF2-40B4-BE49-F238E27FC236}">
                  <a16:creationId xmlns:a16="http://schemas.microsoft.com/office/drawing/2014/main" id="{7B67CF91-F395-4078-B1DA-A10887D0C576}"/>
                </a:ext>
              </a:extLst>
            </p:cNvPr>
            <p:cNvGrpSpPr/>
            <p:nvPr/>
          </p:nvGrpSpPr>
          <p:grpSpPr>
            <a:xfrm>
              <a:off x="1552959" y="4746967"/>
              <a:ext cx="6668062" cy="736464"/>
              <a:chOff x="1499155" y="2674313"/>
              <a:chExt cx="6668062" cy="736464"/>
            </a:xfrm>
          </p:grpSpPr>
          <p:sp>
            <p:nvSpPr>
              <p:cNvPr id="118" name="타원 117">
                <a:extLst>
                  <a:ext uri="{FF2B5EF4-FFF2-40B4-BE49-F238E27FC236}">
                    <a16:creationId xmlns:a16="http://schemas.microsoft.com/office/drawing/2014/main" id="{AE440927-7C97-4F9A-A541-EE5F2F823E2B}"/>
                  </a:ext>
                </a:extLst>
              </p:cNvPr>
              <p:cNvSpPr/>
              <p:nvPr/>
            </p:nvSpPr>
            <p:spPr>
              <a:xfrm>
                <a:off x="1510396" y="2785180"/>
                <a:ext cx="172396" cy="18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>
                  <a:latin typeface="+mn-ea"/>
                </a:endParaRPr>
              </a:p>
            </p:txBody>
          </p:sp>
          <p:sp>
            <p:nvSpPr>
              <p:cNvPr id="119" name="사각형: 둥근 모서리 118">
                <a:extLst>
                  <a:ext uri="{FF2B5EF4-FFF2-40B4-BE49-F238E27FC236}">
                    <a16:creationId xmlns:a16="http://schemas.microsoft.com/office/drawing/2014/main" id="{F2947C3E-45BF-4E1D-BB19-3C58A414FF12}"/>
                  </a:ext>
                </a:extLst>
              </p:cNvPr>
              <p:cNvSpPr/>
              <p:nvPr/>
            </p:nvSpPr>
            <p:spPr>
              <a:xfrm>
                <a:off x="1830441" y="2674313"/>
                <a:ext cx="6336776" cy="393807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예</a:t>
                </a:r>
              </a:p>
            </p:txBody>
          </p:sp>
          <p:sp>
            <p:nvSpPr>
              <p:cNvPr id="121" name="사각형: 둥근 모서리 120">
                <a:extLst>
                  <a:ext uri="{FF2B5EF4-FFF2-40B4-BE49-F238E27FC236}">
                    <a16:creationId xmlns:a16="http://schemas.microsoft.com/office/drawing/2014/main" id="{8C3F5CCA-45E2-4710-ADA3-5087191DCD69}"/>
                  </a:ext>
                </a:extLst>
              </p:cNvPr>
              <p:cNvSpPr/>
              <p:nvPr/>
            </p:nvSpPr>
            <p:spPr>
              <a:xfrm>
                <a:off x="1805694" y="3016970"/>
                <a:ext cx="6336776" cy="393807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아니오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endParaRPr>
              </a:p>
            </p:txBody>
          </p:sp>
          <p:sp>
            <p:nvSpPr>
              <p:cNvPr id="122" name="타원 121">
                <a:extLst>
                  <a:ext uri="{FF2B5EF4-FFF2-40B4-BE49-F238E27FC236}">
                    <a16:creationId xmlns:a16="http://schemas.microsoft.com/office/drawing/2014/main" id="{CB2E9487-9DFB-4391-A540-C073DD52916B}"/>
                  </a:ext>
                </a:extLst>
              </p:cNvPr>
              <p:cNvSpPr/>
              <p:nvPr/>
            </p:nvSpPr>
            <p:spPr>
              <a:xfrm>
                <a:off x="1499155" y="3109443"/>
                <a:ext cx="172396" cy="18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>
                  <a:latin typeface="+mn-ea"/>
                </a:endParaRPr>
              </a:p>
            </p:txBody>
          </p:sp>
          <p:sp>
            <p:nvSpPr>
              <p:cNvPr id="123" name="타원 122">
                <a:extLst>
                  <a:ext uri="{FF2B5EF4-FFF2-40B4-BE49-F238E27FC236}">
                    <a16:creationId xmlns:a16="http://schemas.microsoft.com/office/drawing/2014/main" id="{199845DA-910A-4C11-985B-9142E409B484}"/>
                  </a:ext>
                </a:extLst>
              </p:cNvPr>
              <p:cNvSpPr/>
              <p:nvPr/>
            </p:nvSpPr>
            <p:spPr>
              <a:xfrm>
                <a:off x="1527332" y="3139072"/>
                <a:ext cx="108000" cy="10800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19050"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 dirty="0">
                  <a:latin typeface="+mn-ea"/>
                </a:endParaRPr>
              </a:p>
            </p:txBody>
          </p:sp>
        </p:grpSp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A7670A88-03A8-46FA-A022-7539B1DDC2A3}"/>
              </a:ext>
            </a:extLst>
          </p:cNvPr>
          <p:cNvGrpSpPr/>
          <p:nvPr/>
        </p:nvGrpSpPr>
        <p:grpSpPr>
          <a:xfrm>
            <a:off x="4156448" y="2201700"/>
            <a:ext cx="4466273" cy="677072"/>
            <a:chOff x="2967709" y="4733796"/>
            <a:chExt cx="4466273" cy="677072"/>
          </a:xfrm>
        </p:grpSpPr>
        <p:sp>
          <p:nvSpPr>
            <p:cNvPr id="125" name="사각형: 둥근 모서리 124">
              <a:extLst>
                <a:ext uri="{FF2B5EF4-FFF2-40B4-BE49-F238E27FC236}">
                  <a16:creationId xmlns:a16="http://schemas.microsoft.com/office/drawing/2014/main" id="{EB65A0B1-0C64-469A-BE48-F4DB3CEDE5CB}"/>
                </a:ext>
              </a:extLst>
            </p:cNvPr>
            <p:cNvSpPr/>
            <p:nvPr/>
          </p:nvSpPr>
          <p:spPr>
            <a:xfrm>
              <a:off x="2967709" y="4733796"/>
              <a:ext cx="4303240" cy="677072"/>
            </a:xfrm>
            <a:prstGeom prst="roundRect">
              <a:avLst>
                <a:gd name="adj" fmla="val 5029"/>
              </a:avLst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26" name="Freeform 10">
              <a:extLst>
                <a:ext uri="{FF2B5EF4-FFF2-40B4-BE49-F238E27FC236}">
                  <a16:creationId xmlns:a16="http://schemas.microsoft.com/office/drawing/2014/main" id="{3F7B7212-3CBA-480D-B348-600A625D5D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70711" y="4812560"/>
              <a:ext cx="130759" cy="144386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87 h 200"/>
                <a:gd name="T12" fmla="*/ 13 w 200"/>
                <a:gd name="T13" fmla="*/ 100 h 200"/>
                <a:gd name="T14" fmla="*/ 100 w 200"/>
                <a:gd name="T15" fmla="*/ 12 h 200"/>
                <a:gd name="T16" fmla="*/ 188 w 200"/>
                <a:gd name="T17" fmla="*/ 100 h 200"/>
                <a:gd name="T18" fmla="*/ 100 w 200"/>
                <a:gd name="T19" fmla="*/ 187 h 200"/>
                <a:gd name="T20" fmla="*/ 99 w 200"/>
                <a:gd name="T21" fmla="*/ 143 h 200"/>
                <a:gd name="T22" fmla="*/ 111 w 200"/>
                <a:gd name="T23" fmla="*/ 143 h 200"/>
                <a:gd name="T24" fmla="*/ 111 w 200"/>
                <a:gd name="T25" fmla="*/ 129 h 200"/>
                <a:gd name="T26" fmla="*/ 99 w 200"/>
                <a:gd name="T27" fmla="*/ 129 h 200"/>
                <a:gd name="T28" fmla="*/ 99 w 200"/>
                <a:gd name="T29" fmla="*/ 143 h 200"/>
                <a:gd name="T30" fmla="*/ 122 w 200"/>
                <a:gd name="T31" fmla="*/ 57 h 200"/>
                <a:gd name="T32" fmla="*/ 113 w 200"/>
                <a:gd name="T33" fmla="*/ 51 h 200"/>
                <a:gd name="T34" fmla="*/ 88 w 200"/>
                <a:gd name="T35" fmla="*/ 52 h 200"/>
                <a:gd name="T36" fmla="*/ 78 w 200"/>
                <a:gd name="T37" fmla="*/ 59 h 200"/>
                <a:gd name="T38" fmla="*/ 72 w 200"/>
                <a:gd name="T39" fmla="*/ 70 h 200"/>
                <a:gd name="T40" fmla="*/ 70 w 200"/>
                <a:gd name="T41" fmla="*/ 83 h 200"/>
                <a:gd name="T42" fmla="*/ 82 w 200"/>
                <a:gd name="T43" fmla="*/ 83 h 200"/>
                <a:gd name="T44" fmla="*/ 84 w 200"/>
                <a:gd name="T45" fmla="*/ 74 h 200"/>
                <a:gd name="T46" fmla="*/ 87 w 200"/>
                <a:gd name="T47" fmla="*/ 68 h 200"/>
                <a:gd name="T48" fmla="*/ 93 w 200"/>
                <a:gd name="T49" fmla="*/ 64 h 200"/>
                <a:gd name="T50" fmla="*/ 109 w 200"/>
                <a:gd name="T51" fmla="*/ 63 h 200"/>
                <a:gd name="T52" fmla="*/ 114 w 200"/>
                <a:gd name="T53" fmla="*/ 66 h 200"/>
                <a:gd name="T54" fmla="*/ 117 w 200"/>
                <a:gd name="T55" fmla="*/ 71 h 200"/>
                <a:gd name="T56" fmla="*/ 118 w 200"/>
                <a:gd name="T57" fmla="*/ 77 h 200"/>
                <a:gd name="T58" fmla="*/ 117 w 200"/>
                <a:gd name="T59" fmla="*/ 84 h 200"/>
                <a:gd name="T60" fmla="*/ 110 w 200"/>
                <a:gd name="T61" fmla="*/ 92 h 200"/>
                <a:gd name="T62" fmla="*/ 105 w 200"/>
                <a:gd name="T63" fmla="*/ 97 h 200"/>
                <a:gd name="T64" fmla="*/ 101 w 200"/>
                <a:gd name="T65" fmla="*/ 103 h 200"/>
                <a:gd name="T66" fmla="*/ 99 w 200"/>
                <a:gd name="T67" fmla="*/ 109 h 200"/>
                <a:gd name="T68" fmla="*/ 98 w 200"/>
                <a:gd name="T69" fmla="*/ 118 h 200"/>
                <a:gd name="T70" fmla="*/ 111 w 200"/>
                <a:gd name="T71" fmla="*/ 118 h 200"/>
                <a:gd name="T72" fmla="*/ 111 w 200"/>
                <a:gd name="T73" fmla="*/ 111 h 200"/>
                <a:gd name="T74" fmla="*/ 112 w 200"/>
                <a:gd name="T75" fmla="*/ 108 h 200"/>
                <a:gd name="T76" fmla="*/ 114 w 200"/>
                <a:gd name="T77" fmla="*/ 106 h 200"/>
                <a:gd name="T78" fmla="*/ 119 w 200"/>
                <a:gd name="T79" fmla="*/ 101 h 200"/>
                <a:gd name="T80" fmla="*/ 127 w 200"/>
                <a:gd name="T81" fmla="*/ 91 h 200"/>
                <a:gd name="T82" fmla="*/ 131 w 200"/>
                <a:gd name="T83" fmla="*/ 77 h 200"/>
                <a:gd name="T84" fmla="*/ 129 w 200"/>
                <a:gd name="T85" fmla="*/ 65 h 200"/>
                <a:gd name="T86" fmla="*/ 122 w 200"/>
                <a:gd name="T87" fmla="*/ 5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4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6" y="200"/>
                    <a:pt x="200" y="155"/>
                    <a:pt x="200" y="100"/>
                  </a:cubicBezTo>
                  <a:cubicBezTo>
                    <a:pt x="200" y="44"/>
                    <a:pt x="156" y="0"/>
                    <a:pt x="100" y="0"/>
                  </a:cubicBezTo>
                  <a:close/>
                  <a:moveTo>
                    <a:pt x="100" y="187"/>
                  </a:moveTo>
                  <a:cubicBezTo>
                    <a:pt x="52" y="187"/>
                    <a:pt x="13" y="148"/>
                    <a:pt x="13" y="100"/>
                  </a:cubicBezTo>
                  <a:cubicBezTo>
                    <a:pt x="13" y="51"/>
                    <a:pt x="52" y="12"/>
                    <a:pt x="100" y="12"/>
                  </a:cubicBezTo>
                  <a:cubicBezTo>
                    <a:pt x="149" y="12"/>
                    <a:pt x="188" y="51"/>
                    <a:pt x="188" y="100"/>
                  </a:cubicBezTo>
                  <a:cubicBezTo>
                    <a:pt x="188" y="148"/>
                    <a:pt x="149" y="187"/>
                    <a:pt x="100" y="187"/>
                  </a:cubicBezTo>
                  <a:close/>
                  <a:moveTo>
                    <a:pt x="99" y="143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99" y="129"/>
                    <a:pt x="99" y="129"/>
                    <a:pt x="99" y="129"/>
                  </a:cubicBezTo>
                  <a:lnTo>
                    <a:pt x="99" y="143"/>
                  </a:lnTo>
                  <a:close/>
                  <a:moveTo>
                    <a:pt x="122" y="57"/>
                  </a:moveTo>
                  <a:cubicBezTo>
                    <a:pt x="119" y="54"/>
                    <a:pt x="116" y="53"/>
                    <a:pt x="113" y="51"/>
                  </a:cubicBezTo>
                  <a:cubicBezTo>
                    <a:pt x="105" y="49"/>
                    <a:pt x="95" y="49"/>
                    <a:pt x="88" y="52"/>
                  </a:cubicBezTo>
                  <a:cubicBezTo>
                    <a:pt x="85" y="54"/>
                    <a:pt x="81" y="56"/>
                    <a:pt x="78" y="59"/>
                  </a:cubicBezTo>
                  <a:cubicBezTo>
                    <a:pt x="75" y="62"/>
                    <a:pt x="73" y="65"/>
                    <a:pt x="72" y="70"/>
                  </a:cubicBezTo>
                  <a:cubicBezTo>
                    <a:pt x="70" y="74"/>
                    <a:pt x="70" y="78"/>
                    <a:pt x="70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2" y="79"/>
                    <a:pt x="83" y="76"/>
                    <a:pt x="84" y="74"/>
                  </a:cubicBezTo>
                  <a:cubicBezTo>
                    <a:pt x="84" y="71"/>
                    <a:pt x="86" y="69"/>
                    <a:pt x="87" y="68"/>
                  </a:cubicBezTo>
                  <a:cubicBezTo>
                    <a:pt x="89" y="66"/>
                    <a:pt x="91" y="65"/>
                    <a:pt x="93" y="64"/>
                  </a:cubicBezTo>
                  <a:cubicBezTo>
                    <a:pt x="97" y="62"/>
                    <a:pt x="104" y="62"/>
                    <a:pt x="109" y="63"/>
                  </a:cubicBezTo>
                  <a:cubicBezTo>
                    <a:pt x="111" y="64"/>
                    <a:pt x="112" y="65"/>
                    <a:pt x="114" y="66"/>
                  </a:cubicBezTo>
                  <a:cubicBezTo>
                    <a:pt x="115" y="67"/>
                    <a:pt x="116" y="69"/>
                    <a:pt x="117" y="71"/>
                  </a:cubicBezTo>
                  <a:cubicBezTo>
                    <a:pt x="118" y="72"/>
                    <a:pt x="118" y="74"/>
                    <a:pt x="118" y="77"/>
                  </a:cubicBezTo>
                  <a:cubicBezTo>
                    <a:pt x="118" y="80"/>
                    <a:pt x="118" y="82"/>
                    <a:pt x="117" y="84"/>
                  </a:cubicBezTo>
                  <a:cubicBezTo>
                    <a:pt x="115" y="87"/>
                    <a:pt x="113" y="89"/>
                    <a:pt x="110" y="92"/>
                  </a:cubicBezTo>
                  <a:cubicBezTo>
                    <a:pt x="108" y="94"/>
                    <a:pt x="106" y="96"/>
                    <a:pt x="105" y="97"/>
                  </a:cubicBezTo>
                  <a:cubicBezTo>
                    <a:pt x="103" y="99"/>
                    <a:pt x="102" y="101"/>
                    <a:pt x="101" y="103"/>
                  </a:cubicBezTo>
                  <a:cubicBezTo>
                    <a:pt x="100" y="105"/>
                    <a:pt x="99" y="107"/>
                    <a:pt x="99" y="109"/>
                  </a:cubicBezTo>
                  <a:cubicBezTo>
                    <a:pt x="98" y="111"/>
                    <a:pt x="98" y="114"/>
                    <a:pt x="98" y="118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1" y="115"/>
                    <a:pt x="111" y="113"/>
                    <a:pt x="111" y="111"/>
                  </a:cubicBezTo>
                  <a:cubicBezTo>
                    <a:pt x="111" y="110"/>
                    <a:pt x="111" y="109"/>
                    <a:pt x="112" y="108"/>
                  </a:cubicBezTo>
                  <a:cubicBezTo>
                    <a:pt x="112" y="108"/>
                    <a:pt x="112" y="107"/>
                    <a:pt x="114" y="106"/>
                  </a:cubicBezTo>
                  <a:cubicBezTo>
                    <a:pt x="115" y="105"/>
                    <a:pt x="117" y="103"/>
                    <a:pt x="119" y="101"/>
                  </a:cubicBezTo>
                  <a:cubicBezTo>
                    <a:pt x="122" y="98"/>
                    <a:pt x="125" y="94"/>
                    <a:pt x="127" y="91"/>
                  </a:cubicBezTo>
                  <a:cubicBezTo>
                    <a:pt x="130" y="87"/>
                    <a:pt x="131" y="82"/>
                    <a:pt x="131" y="77"/>
                  </a:cubicBezTo>
                  <a:cubicBezTo>
                    <a:pt x="131" y="73"/>
                    <a:pt x="130" y="69"/>
                    <a:pt x="129" y="65"/>
                  </a:cubicBezTo>
                  <a:cubicBezTo>
                    <a:pt x="127" y="62"/>
                    <a:pt x="125" y="59"/>
                    <a:pt x="122" y="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/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397C7C1-C94D-4F63-AD9F-37F2DBD71AD3}"/>
                </a:ext>
              </a:extLst>
            </p:cNvPr>
            <p:cNvSpPr txBox="1"/>
            <p:nvPr/>
          </p:nvSpPr>
          <p:spPr>
            <a:xfrm>
              <a:off x="3257690" y="4805499"/>
              <a:ext cx="10956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U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규제시장이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?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375153E1-81A8-4CA4-9B33-52FFBC230BC1}"/>
                </a:ext>
              </a:extLst>
            </p:cNvPr>
            <p:cNvSpPr txBox="1"/>
            <p:nvPr/>
          </p:nvSpPr>
          <p:spPr>
            <a:xfrm>
              <a:off x="3068680" y="5011944"/>
              <a:ext cx="4365302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SMA (European Securities and Markets authority)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에 유가 증권이 상장된 기업을 의미합니다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. </a:t>
              </a:r>
            </a:p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* ESMA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웹사이트에서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U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규제 시장에 상장되었는지 확인해볼 수 있습니다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:  [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바로가기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]</a:t>
              </a:r>
              <a:endPara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0F408C11-E1A5-4032-9710-5F53DBCA9638}"/>
              </a:ext>
            </a:extLst>
          </p:cNvPr>
          <p:cNvGrpSpPr/>
          <p:nvPr/>
        </p:nvGrpSpPr>
        <p:grpSpPr>
          <a:xfrm>
            <a:off x="1077417" y="4505555"/>
            <a:ext cx="7489875" cy="1114728"/>
            <a:chOff x="1146330" y="7008664"/>
            <a:chExt cx="7489875" cy="1114728"/>
          </a:xfrm>
        </p:grpSpPr>
        <p:sp>
          <p:nvSpPr>
            <p:cNvPr id="104" name="사각형: 둥근 모서리 103">
              <a:extLst>
                <a:ext uri="{FF2B5EF4-FFF2-40B4-BE49-F238E27FC236}">
                  <a16:creationId xmlns:a16="http://schemas.microsoft.com/office/drawing/2014/main" id="{D0B88711-8466-4851-A811-A5FB14A08CD0}"/>
                </a:ext>
              </a:extLst>
            </p:cNvPr>
            <p:cNvSpPr/>
            <p:nvPr/>
          </p:nvSpPr>
          <p:spPr>
            <a:xfrm>
              <a:off x="1146330" y="7008664"/>
              <a:ext cx="6336776" cy="393807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4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05.</a:t>
              </a:r>
              <a:r>
                <a:rPr lang="en-US" altLang="ko-KR" sz="14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rPr>
                <a:t>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EU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역내 대기업 또는 상장된 자회사 또는 지사가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1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개 이상 있습니까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? 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A7114732-0E86-421C-B8A8-45CFBAEDE150}"/>
                </a:ext>
              </a:extLst>
            </p:cNvPr>
            <p:cNvGrpSpPr/>
            <p:nvPr/>
          </p:nvGrpSpPr>
          <p:grpSpPr>
            <a:xfrm>
              <a:off x="1587554" y="7380178"/>
              <a:ext cx="6660577" cy="743214"/>
              <a:chOff x="1480862" y="2852936"/>
              <a:chExt cx="6660577" cy="743214"/>
            </a:xfrm>
          </p:grpSpPr>
          <p:sp>
            <p:nvSpPr>
              <p:cNvPr id="108" name="타원 107">
                <a:extLst>
                  <a:ext uri="{FF2B5EF4-FFF2-40B4-BE49-F238E27FC236}">
                    <a16:creationId xmlns:a16="http://schemas.microsoft.com/office/drawing/2014/main" id="{472F43EE-277A-41A0-BD54-4EA8D71946E6}"/>
                  </a:ext>
                </a:extLst>
              </p:cNvPr>
              <p:cNvSpPr/>
              <p:nvPr/>
            </p:nvSpPr>
            <p:spPr>
              <a:xfrm>
                <a:off x="1484618" y="2963803"/>
                <a:ext cx="172396" cy="18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>
                  <a:latin typeface="+mn-ea"/>
                </a:endParaRPr>
              </a:p>
            </p:txBody>
          </p:sp>
          <p:sp>
            <p:nvSpPr>
              <p:cNvPr id="109" name="사각형: 둥근 모서리 108">
                <a:extLst>
                  <a:ext uri="{FF2B5EF4-FFF2-40B4-BE49-F238E27FC236}">
                    <a16:creationId xmlns:a16="http://schemas.microsoft.com/office/drawing/2014/main" id="{F41AF149-58F1-4B7A-A951-A3E41393886D}"/>
                  </a:ext>
                </a:extLst>
              </p:cNvPr>
              <p:cNvSpPr/>
              <p:nvPr/>
            </p:nvSpPr>
            <p:spPr>
              <a:xfrm>
                <a:off x="1804663" y="2852936"/>
                <a:ext cx="6336776" cy="393807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예</a:t>
                </a: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0F60878D-DBC5-4BCB-B6F4-BE17ED608D46}"/>
                  </a:ext>
                </a:extLst>
              </p:cNvPr>
              <p:cNvSpPr/>
              <p:nvPr/>
            </p:nvSpPr>
            <p:spPr>
              <a:xfrm>
                <a:off x="1787401" y="3202343"/>
                <a:ext cx="6336776" cy="393807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아니오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endParaRPr>
              </a:p>
            </p:txBody>
          </p:sp>
          <p:sp>
            <p:nvSpPr>
              <p:cNvPr id="114" name="타원 113">
                <a:extLst>
                  <a:ext uri="{FF2B5EF4-FFF2-40B4-BE49-F238E27FC236}">
                    <a16:creationId xmlns:a16="http://schemas.microsoft.com/office/drawing/2014/main" id="{91FBF878-CBAA-4F61-9A78-0DF7176E0CDA}"/>
                  </a:ext>
                </a:extLst>
              </p:cNvPr>
              <p:cNvSpPr/>
              <p:nvPr/>
            </p:nvSpPr>
            <p:spPr>
              <a:xfrm>
                <a:off x="1480862" y="3294816"/>
                <a:ext cx="172396" cy="18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>
                  <a:latin typeface="+mn-ea"/>
                </a:endParaRPr>
              </a:p>
            </p:txBody>
          </p:sp>
          <p:sp>
            <p:nvSpPr>
              <p:cNvPr id="115" name="타원 114">
                <a:extLst>
                  <a:ext uri="{FF2B5EF4-FFF2-40B4-BE49-F238E27FC236}">
                    <a16:creationId xmlns:a16="http://schemas.microsoft.com/office/drawing/2014/main" id="{1B483BE7-406E-4FC7-8A2E-05F37DCA6A8C}"/>
                  </a:ext>
                </a:extLst>
              </p:cNvPr>
              <p:cNvSpPr/>
              <p:nvPr/>
            </p:nvSpPr>
            <p:spPr>
              <a:xfrm>
                <a:off x="1510492" y="3333538"/>
                <a:ext cx="108000" cy="10800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19050"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 dirty="0">
                  <a:latin typeface="+mn-ea"/>
                </a:endParaRPr>
              </a:p>
            </p:txBody>
          </p:sp>
        </p:grp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0A058F10-2B14-4CB9-8B56-D0FC3C05E3ED}"/>
                </a:ext>
              </a:extLst>
            </p:cNvPr>
            <p:cNvGrpSpPr/>
            <p:nvPr/>
          </p:nvGrpSpPr>
          <p:grpSpPr>
            <a:xfrm>
              <a:off x="4169932" y="7438620"/>
              <a:ext cx="4466273" cy="498423"/>
              <a:chOff x="2967709" y="4733796"/>
              <a:chExt cx="4466273" cy="498423"/>
            </a:xfrm>
          </p:grpSpPr>
          <p:sp>
            <p:nvSpPr>
              <p:cNvPr id="130" name="사각형: 둥근 모서리 129">
                <a:extLst>
                  <a:ext uri="{FF2B5EF4-FFF2-40B4-BE49-F238E27FC236}">
                    <a16:creationId xmlns:a16="http://schemas.microsoft.com/office/drawing/2014/main" id="{67CCAE36-C028-4D14-AD2B-58C707BDC788}"/>
                  </a:ext>
                </a:extLst>
              </p:cNvPr>
              <p:cNvSpPr/>
              <p:nvPr/>
            </p:nvSpPr>
            <p:spPr>
              <a:xfrm>
                <a:off x="2967709" y="4733796"/>
                <a:ext cx="4303240" cy="498423"/>
              </a:xfrm>
              <a:prstGeom prst="roundRect">
                <a:avLst>
                  <a:gd name="adj" fmla="val 5029"/>
                </a:avLst>
              </a:prstGeom>
              <a:solidFill>
                <a:schemeClr val="bg1"/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1" name="Freeform 10">
                <a:extLst>
                  <a:ext uri="{FF2B5EF4-FFF2-40B4-BE49-F238E27FC236}">
                    <a16:creationId xmlns:a16="http://schemas.microsoft.com/office/drawing/2014/main" id="{41BDD069-6E02-4F18-8B4E-92AD78784E0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070711" y="4812560"/>
                <a:ext cx="130759" cy="144386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200 w 200"/>
                  <a:gd name="T7" fmla="*/ 100 h 200"/>
                  <a:gd name="T8" fmla="*/ 100 w 200"/>
                  <a:gd name="T9" fmla="*/ 0 h 200"/>
                  <a:gd name="T10" fmla="*/ 100 w 200"/>
                  <a:gd name="T11" fmla="*/ 187 h 200"/>
                  <a:gd name="T12" fmla="*/ 13 w 200"/>
                  <a:gd name="T13" fmla="*/ 100 h 200"/>
                  <a:gd name="T14" fmla="*/ 100 w 200"/>
                  <a:gd name="T15" fmla="*/ 12 h 200"/>
                  <a:gd name="T16" fmla="*/ 188 w 200"/>
                  <a:gd name="T17" fmla="*/ 100 h 200"/>
                  <a:gd name="T18" fmla="*/ 100 w 200"/>
                  <a:gd name="T19" fmla="*/ 187 h 200"/>
                  <a:gd name="T20" fmla="*/ 99 w 200"/>
                  <a:gd name="T21" fmla="*/ 143 h 200"/>
                  <a:gd name="T22" fmla="*/ 111 w 200"/>
                  <a:gd name="T23" fmla="*/ 143 h 200"/>
                  <a:gd name="T24" fmla="*/ 111 w 200"/>
                  <a:gd name="T25" fmla="*/ 129 h 200"/>
                  <a:gd name="T26" fmla="*/ 99 w 200"/>
                  <a:gd name="T27" fmla="*/ 129 h 200"/>
                  <a:gd name="T28" fmla="*/ 99 w 200"/>
                  <a:gd name="T29" fmla="*/ 143 h 200"/>
                  <a:gd name="T30" fmla="*/ 122 w 200"/>
                  <a:gd name="T31" fmla="*/ 57 h 200"/>
                  <a:gd name="T32" fmla="*/ 113 w 200"/>
                  <a:gd name="T33" fmla="*/ 51 h 200"/>
                  <a:gd name="T34" fmla="*/ 88 w 200"/>
                  <a:gd name="T35" fmla="*/ 52 h 200"/>
                  <a:gd name="T36" fmla="*/ 78 w 200"/>
                  <a:gd name="T37" fmla="*/ 59 h 200"/>
                  <a:gd name="T38" fmla="*/ 72 w 200"/>
                  <a:gd name="T39" fmla="*/ 70 h 200"/>
                  <a:gd name="T40" fmla="*/ 70 w 200"/>
                  <a:gd name="T41" fmla="*/ 83 h 200"/>
                  <a:gd name="T42" fmla="*/ 82 w 200"/>
                  <a:gd name="T43" fmla="*/ 83 h 200"/>
                  <a:gd name="T44" fmla="*/ 84 w 200"/>
                  <a:gd name="T45" fmla="*/ 74 h 200"/>
                  <a:gd name="T46" fmla="*/ 87 w 200"/>
                  <a:gd name="T47" fmla="*/ 68 h 200"/>
                  <a:gd name="T48" fmla="*/ 93 w 200"/>
                  <a:gd name="T49" fmla="*/ 64 h 200"/>
                  <a:gd name="T50" fmla="*/ 109 w 200"/>
                  <a:gd name="T51" fmla="*/ 63 h 200"/>
                  <a:gd name="T52" fmla="*/ 114 w 200"/>
                  <a:gd name="T53" fmla="*/ 66 h 200"/>
                  <a:gd name="T54" fmla="*/ 117 w 200"/>
                  <a:gd name="T55" fmla="*/ 71 h 200"/>
                  <a:gd name="T56" fmla="*/ 118 w 200"/>
                  <a:gd name="T57" fmla="*/ 77 h 200"/>
                  <a:gd name="T58" fmla="*/ 117 w 200"/>
                  <a:gd name="T59" fmla="*/ 84 h 200"/>
                  <a:gd name="T60" fmla="*/ 110 w 200"/>
                  <a:gd name="T61" fmla="*/ 92 h 200"/>
                  <a:gd name="T62" fmla="*/ 105 w 200"/>
                  <a:gd name="T63" fmla="*/ 97 h 200"/>
                  <a:gd name="T64" fmla="*/ 101 w 200"/>
                  <a:gd name="T65" fmla="*/ 103 h 200"/>
                  <a:gd name="T66" fmla="*/ 99 w 200"/>
                  <a:gd name="T67" fmla="*/ 109 h 200"/>
                  <a:gd name="T68" fmla="*/ 98 w 200"/>
                  <a:gd name="T69" fmla="*/ 118 h 200"/>
                  <a:gd name="T70" fmla="*/ 111 w 200"/>
                  <a:gd name="T71" fmla="*/ 118 h 200"/>
                  <a:gd name="T72" fmla="*/ 111 w 200"/>
                  <a:gd name="T73" fmla="*/ 111 h 200"/>
                  <a:gd name="T74" fmla="*/ 112 w 200"/>
                  <a:gd name="T75" fmla="*/ 108 h 200"/>
                  <a:gd name="T76" fmla="*/ 114 w 200"/>
                  <a:gd name="T77" fmla="*/ 106 h 200"/>
                  <a:gd name="T78" fmla="*/ 119 w 200"/>
                  <a:gd name="T79" fmla="*/ 101 h 200"/>
                  <a:gd name="T80" fmla="*/ 127 w 200"/>
                  <a:gd name="T81" fmla="*/ 91 h 200"/>
                  <a:gd name="T82" fmla="*/ 131 w 200"/>
                  <a:gd name="T83" fmla="*/ 77 h 200"/>
                  <a:gd name="T84" fmla="*/ 129 w 200"/>
                  <a:gd name="T85" fmla="*/ 65 h 200"/>
                  <a:gd name="T86" fmla="*/ 122 w 200"/>
                  <a:gd name="T87" fmla="*/ 57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4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56" y="200"/>
                      <a:pt x="200" y="155"/>
                      <a:pt x="200" y="100"/>
                    </a:cubicBezTo>
                    <a:cubicBezTo>
                      <a:pt x="200" y="44"/>
                      <a:pt x="156" y="0"/>
                      <a:pt x="100" y="0"/>
                    </a:cubicBezTo>
                    <a:close/>
                    <a:moveTo>
                      <a:pt x="100" y="187"/>
                    </a:moveTo>
                    <a:cubicBezTo>
                      <a:pt x="52" y="187"/>
                      <a:pt x="13" y="148"/>
                      <a:pt x="13" y="100"/>
                    </a:cubicBezTo>
                    <a:cubicBezTo>
                      <a:pt x="13" y="51"/>
                      <a:pt x="52" y="12"/>
                      <a:pt x="100" y="12"/>
                    </a:cubicBezTo>
                    <a:cubicBezTo>
                      <a:pt x="149" y="12"/>
                      <a:pt x="188" y="51"/>
                      <a:pt x="188" y="100"/>
                    </a:cubicBezTo>
                    <a:cubicBezTo>
                      <a:pt x="188" y="148"/>
                      <a:pt x="149" y="187"/>
                      <a:pt x="100" y="187"/>
                    </a:cubicBezTo>
                    <a:close/>
                    <a:moveTo>
                      <a:pt x="99" y="143"/>
                    </a:move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11" y="129"/>
                      <a:pt x="111" y="129"/>
                      <a:pt x="111" y="129"/>
                    </a:cubicBezTo>
                    <a:cubicBezTo>
                      <a:pt x="99" y="129"/>
                      <a:pt x="99" y="129"/>
                      <a:pt x="99" y="129"/>
                    </a:cubicBezTo>
                    <a:lnTo>
                      <a:pt x="99" y="143"/>
                    </a:lnTo>
                    <a:close/>
                    <a:moveTo>
                      <a:pt x="122" y="57"/>
                    </a:moveTo>
                    <a:cubicBezTo>
                      <a:pt x="119" y="54"/>
                      <a:pt x="116" y="53"/>
                      <a:pt x="113" y="51"/>
                    </a:cubicBezTo>
                    <a:cubicBezTo>
                      <a:pt x="105" y="49"/>
                      <a:pt x="95" y="49"/>
                      <a:pt x="88" y="52"/>
                    </a:cubicBezTo>
                    <a:cubicBezTo>
                      <a:pt x="85" y="54"/>
                      <a:pt x="81" y="56"/>
                      <a:pt x="78" y="59"/>
                    </a:cubicBezTo>
                    <a:cubicBezTo>
                      <a:pt x="75" y="62"/>
                      <a:pt x="73" y="65"/>
                      <a:pt x="72" y="70"/>
                    </a:cubicBezTo>
                    <a:cubicBezTo>
                      <a:pt x="70" y="74"/>
                      <a:pt x="70" y="78"/>
                      <a:pt x="70" y="83"/>
                    </a:cubicBezTo>
                    <a:cubicBezTo>
                      <a:pt x="82" y="83"/>
                      <a:pt x="82" y="83"/>
                      <a:pt x="82" y="83"/>
                    </a:cubicBezTo>
                    <a:cubicBezTo>
                      <a:pt x="82" y="79"/>
                      <a:pt x="83" y="76"/>
                      <a:pt x="84" y="74"/>
                    </a:cubicBezTo>
                    <a:cubicBezTo>
                      <a:pt x="84" y="71"/>
                      <a:pt x="86" y="69"/>
                      <a:pt x="87" y="68"/>
                    </a:cubicBezTo>
                    <a:cubicBezTo>
                      <a:pt x="89" y="66"/>
                      <a:pt x="91" y="65"/>
                      <a:pt x="93" y="64"/>
                    </a:cubicBezTo>
                    <a:cubicBezTo>
                      <a:pt x="97" y="62"/>
                      <a:pt x="104" y="62"/>
                      <a:pt x="109" y="63"/>
                    </a:cubicBezTo>
                    <a:cubicBezTo>
                      <a:pt x="111" y="64"/>
                      <a:pt x="112" y="65"/>
                      <a:pt x="114" y="66"/>
                    </a:cubicBezTo>
                    <a:cubicBezTo>
                      <a:pt x="115" y="67"/>
                      <a:pt x="116" y="69"/>
                      <a:pt x="117" y="71"/>
                    </a:cubicBezTo>
                    <a:cubicBezTo>
                      <a:pt x="118" y="72"/>
                      <a:pt x="118" y="74"/>
                      <a:pt x="118" y="77"/>
                    </a:cubicBezTo>
                    <a:cubicBezTo>
                      <a:pt x="118" y="80"/>
                      <a:pt x="118" y="82"/>
                      <a:pt x="117" y="84"/>
                    </a:cubicBezTo>
                    <a:cubicBezTo>
                      <a:pt x="115" y="87"/>
                      <a:pt x="113" y="89"/>
                      <a:pt x="110" y="92"/>
                    </a:cubicBezTo>
                    <a:cubicBezTo>
                      <a:pt x="108" y="94"/>
                      <a:pt x="106" y="96"/>
                      <a:pt x="105" y="97"/>
                    </a:cubicBezTo>
                    <a:cubicBezTo>
                      <a:pt x="103" y="99"/>
                      <a:pt x="102" y="101"/>
                      <a:pt x="101" y="103"/>
                    </a:cubicBezTo>
                    <a:cubicBezTo>
                      <a:pt x="100" y="105"/>
                      <a:pt x="99" y="107"/>
                      <a:pt x="99" y="109"/>
                    </a:cubicBezTo>
                    <a:cubicBezTo>
                      <a:pt x="98" y="111"/>
                      <a:pt x="98" y="114"/>
                      <a:pt x="98" y="118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111" y="115"/>
                      <a:pt x="111" y="113"/>
                      <a:pt x="111" y="111"/>
                    </a:cubicBezTo>
                    <a:cubicBezTo>
                      <a:pt x="111" y="110"/>
                      <a:pt x="111" y="109"/>
                      <a:pt x="112" y="108"/>
                    </a:cubicBezTo>
                    <a:cubicBezTo>
                      <a:pt x="112" y="108"/>
                      <a:pt x="112" y="107"/>
                      <a:pt x="114" y="106"/>
                    </a:cubicBezTo>
                    <a:cubicBezTo>
                      <a:pt x="115" y="105"/>
                      <a:pt x="117" y="103"/>
                      <a:pt x="119" y="101"/>
                    </a:cubicBezTo>
                    <a:cubicBezTo>
                      <a:pt x="122" y="98"/>
                      <a:pt x="125" y="94"/>
                      <a:pt x="127" y="91"/>
                    </a:cubicBezTo>
                    <a:cubicBezTo>
                      <a:pt x="130" y="87"/>
                      <a:pt x="131" y="82"/>
                      <a:pt x="131" y="77"/>
                    </a:cubicBezTo>
                    <a:cubicBezTo>
                      <a:pt x="131" y="73"/>
                      <a:pt x="130" y="69"/>
                      <a:pt x="129" y="65"/>
                    </a:cubicBezTo>
                    <a:cubicBezTo>
                      <a:pt x="127" y="62"/>
                      <a:pt x="125" y="59"/>
                      <a:pt x="122" y="5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48C9B1FE-AEE2-40AF-9118-20860B87E7C1}"/>
                  </a:ext>
                </a:extLst>
              </p:cNvPr>
              <p:cNvSpPr txBox="1"/>
              <p:nvPr/>
            </p:nvSpPr>
            <p:spPr>
              <a:xfrm>
                <a:off x="3257690" y="4805499"/>
                <a:ext cx="383205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EU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역내 대기업은 다음 중 두 가지 조건을 충족합니다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. 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A728A30-15BB-4348-934D-46BBC099164E}"/>
                  </a:ext>
                </a:extLst>
              </p:cNvPr>
              <p:cNvSpPr txBox="1"/>
              <p:nvPr/>
            </p:nvSpPr>
            <p:spPr>
              <a:xfrm>
                <a:off x="3068680" y="5011944"/>
                <a:ext cx="4365302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Aft>
                    <a:spcPts val="600"/>
                  </a:spcAft>
                  <a:buSzPct val="100000"/>
                </a:pP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1) 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평균 직원 수 </a:t>
                </a: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250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면 이상   </a:t>
                </a: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2] 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총 사잔 규모 </a:t>
                </a: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20,000,000€ 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이상   </a:t>
                </a: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3) 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순 매출액 </a:t>
                </a:r>
                <a:r>
                  <a:rPr lang="en-US" altLang="ko-KR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40,000,000 € </a:t>
                </a:r>
                <a:r>
                  <a:rPr lang="ko-KR" altLang="en-US" sz="8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cs typeface="Arial"/>
                  </a:rPr>
                  <a:t>이상</a:t>
                </a:r>
              </a:p>
            </p:txBody>
          </p:sp>
        </p:grpSp>
      </p:grp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A548CB9E-386F-481B-857F-2C934FB8AC6D}"/>
              </a:ext>
            </a:extLst>
          </p:cNvPr>
          <p:cNvSpPr/>
          <p:nvPr/>
        </p:nvSpPr>
        <p:spPr>
          <a:xfrm>
            <a:off x="9303999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보고대상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역내 종속기업을 보유한 모기업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가 질문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35" name="표 10">
            <a:extLst>
              <a:ext uri="{FF2B5EF4-FFF2-40B4-BE49-F238E27FC236}">
                <a16:creationId xmlns:a16="http://schemas.microsoft.com/office/drawing/2014/main" id="{296BB3F3-ABE0-4F36-9817-D486756FD6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927064"/>
              </p:ext>
            </p:extLst>
          </p:nvPr>
        </p:nvGraphicFramePr>
        <p:xfrm>
          <a:off x="9267391" y="1384346"/>
          <a:ext cx="2922885" cy="13636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03], [04], [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을 선택한 후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버튼 클릭 시 진단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R007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가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https://registers.esma.europa.eu/publication/searchRegister?core=esma_registers_upreg]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309124"/>
                  </a:ext>
                </a:extLst>
              </a:tr>
            </a:tbl>
          </a:graphicData>
        </a:graphic>
      </p:graphicFrame>
      <p:sp>
        <p:nvSpPr>
          <p:cNvPr id="96" name="Google Shape;611;p50">
            <a:extLst>
              <a:ext uri="{FF2B5EF4-FFF2-40B4-BE49-F238E27FC236}">
                <a16:creationId xmlns:a16="http://schemas.microsoft.com/office/drawing/2014/main" id="{F9EA5A12-1030-43EE-893B-6526A1E64671}"/>
              </a:ext>
            </a:extLst>
          </p:cNvPr>
          <p:cNvSpPr txBox="1"/>
          <p:nvPr/>
        </p:nvSpPr>
        <p:spPr>
          <a:xfrm>
            <a:off x="5760041" y="5485467"/>
            <a:ext cx="2768467" cy="332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38"/>
              <a:buFont typeface="Arial"/>
              <a:buNone/>
            </a:pP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  <a:sym typeface="Arial"/>
              </a:rPr>
              <a:t>*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‘1 EUR = 1,400 KRW’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으로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환산된</a:t>
            </a:r>
            <a:r>
              <a:rPr 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 </a:t>
            </a:r>
            <a:r>
              <a:rPr 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Arial"/>
              </a:rPr>
              <a:t>금액입니다</a:t>
            </a:r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   </a:t>
            </a:r>
            <a:endParaRPr sz="1050" b="1" i="0" u="none" strike="noStrike" cap="none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8" name="Google Shape;843;p54">
            <a:extLst>
              <a:ext uri="{FF2B5EF4-FFF2-40B4-BE49-F238E27FC236}">
                <a16:creationId xmlns:a16="http://schemas.microsoft.com/office/drawing/2014/main" id="{8DCED7A4-5519-4ADC-9307-C8B93D4025FE}"/>
              </a:ext>
            </a:extLst>
          </p:cNvPr>
          <p:cNvCxnSpPr/>
          <p:nvPr/>
        </p:nvCxnSpPr>
        <p:spPr>
          <a:xfrm>
            <a:off x="5707191" y="3655421"/>
            <a:ext cx="0" cy="147143"/>
          </a:xfrm>
          <a:prstGeom prst="straightConnector1">
            <a:avLst/>
          </a:prstGeom>
          <a:noFill/>
          <a:ln w="12700" cap="sq" cmpd="sng">
            <a:solidFill>
              <a:srgbClr val="7F7F7F"/>
            </a:solidFill>
            <a:prstDash val="solid"/>
            <a:round/>
            <a:headEnd type="none" w="sm" len="sm"/>
            <a:tailEnd type="triangle" w="med" len="med"/>
          </a:ln>
        </p:spPr>
      </p:cxnSp>
      <p:grpSp>
        <p:nvGrpSpPr>
          <p:cNvPr id="99" name="Google Shape;897;p54">
            <a:extLst>
              <a:ext uri="{FF2B5EF4-FFF2-40B4-BE49-F238E27FC236}">
                <a16:creationId xmlns:a16="http://schemas.microsoft.com/office/drawing/2014/main" id="{D67D8811-1A48-4464-B81E-FC3BDDD3926A}"/>
              </a:ext>
            </a:extLst>
          </p:cNvPr>
          <p:cNvGrpSpPr/>
          <p:nvPr/>
        </p:nvGrpSpPr>
        <p:grpSpPr>
          <a:xfrm>
            <a:off x="4142865" y="3443193"/>
            <a:ext cx="4259000" cy="608450"/>
            <a:chOff x="2967711" y="4640000"/>
            <a:chExt cx="5241847" cy="575099"/>
          </a:xfrm>
        </p:grpSpPr>
        <p:sp>
          <p:nvSpPr>
            <p:cNvPr id="100" name="Google Shape;898;p54">
              <a:extLst>
                <a:ext uri="{FF2B5EF4-FFF2-40B4-BE49-F238E27FC236}">
                  <a16:creationId xmlns:a16="http://schemas.microsoft.com/office/drawing/2014/main" id="{C99FB079-D749-4795-A608-20FB2816B3F3}"/>
                </a:ext>
              </a:extLst>
            </p:cNvPr>
            <p:cNvSpPr/>
            <p:nvPr/>
          </p:nvSpPr>
          <p:spPr>
            <a:xfrm>
              <a:off x="2967711" y="4640000"/>
              <a:ext cx="5241847" cy="575099"/>
            </a:xfrm>
            <a:prstGeom prst="roundRect">
              <a:avLst>
                <a:gd name="adj" fmla="val 5029"/>
              </a:avLst>
            </a:prstGeom>
            <a:solidFill>
              <a:schemeClr val="lt1"/>
            </a:solidFill>
            <a:ln w="9525" cap="flat" cmpd="sng">
              <a:solidFill>
                <a:srgbClr val="0C0C0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4575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"/>
                <a:buFont typeface="Arial"/>
                <a:buNone/>
              </a:pPr>
              <a:endParaRPr sz="6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899;p54">
              <a:extLst>
                <a:ext uri="{FF2B5EF4-FFF2-40B4-BE49-F238E27FC236}">
                  <a16:creationId xmlns:a16="http://schemas.microsoft.com/office/drawing/2014/main" id="{3A8AD0A3-688B-4FD1-B70E-3B9B8C7C8D01}"/>
                </a:ext>
              </a:extLst>
            </p:cNvPr>
            <p:cNvSpPr/>
            <p:nvPr/>
          </p:nvSpPr>
          <p:spPr>
            <a:xfrm>
              <a:off x="3070711" y="4718775"/>
              <a:ext cx="130759" cy="144386"/>
            </a:xfrm>
            <a:custGeom>
              <a:avLst/>
              <a:gdLst/>
              <a:ahLst/>
              <a:cxnLst/>
              <a:rect l="l" t="t" r="r" b="b"/>
              <a:pathLst>
                <a:path w="200" h="200" extrusionOk="0">
                  <a:moveTo>
                    <a:pt x="100" y="0"/>
                  </a:moveTo>
                  <a:cubicBezTo>
                    <a:pt x="45" y="0"/>
                    <a:pt x="0" y="44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6" y="200"/>
                    <a:pt x="200" y="155"/>
                    <a:pt x="200" y="100"/>
                  </a:cubicBezTo>
                  <a:cubicBezTo>
                    <a:pt x="200" y="44"/>
                    <a:pt x="156" y="0"/>
                    <a:pt x="100" y="0"/>
                  </a:cubicBezTo>
                  <a:close/>
                  <a:moveTo>
                    <a:pt x="100" y="187"/>
                  </a:moveTo>
                  <a:cubicBezTo>
                    <a:pt x="52" y="187"/>
                    <a:pt x="13" y="148"/>
                    <a:pt x="13" y="100"/>
                  </a:cubicBezTo>
                  <a:cubicBezTo>
                    <a:pt x="13" y="51"/>
                    <a:pt x="52" y="12"/>
                    <a:pt x="100" y="12"/>
                  </a:cubicBezTo>
                  <a:cubicBezTo>
                    <a:pt x="149" y="12"/>
                    <a:pt x="188" y="51"/>
                    <a:pt x="188" y="100"/>
                  </a:cubicBezTo>
                  <a:cubicBezTo>
                    <a:pt x="188" y="148"/>
                    <a:pt x="149" y="187"/>
                    <a:pt x="100" y="187"/>
                  </a:cubicBezTo>
                  <a:close/>
                  <a:moveTo>
                    <a:pt x="99" y="143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99" y="129"/>
                    <a:pt x="99" y="129"/>
                    <a:pt x="99" y="129"/>
                  </a:cubicBezTo>
                  <a:lnTo>
                    <a:pt x="99" y="143"/>
                  </a:lnTo>
                  <a:close/>
                  <a:moveTo>
                    <a:pt x="122" y="57"/>
                  </a:moveTo>
                  <a:cubicBezTo>
                    <a:pt x="119" y="54"/>
                    <a:pt x="116" y="53"/>
                    <a:pt x="113" y="51"/>
                  </a:cubicBezTo>
                  <a:cubicBezTo>
                    <a:pt x="105" y="49"/>
                    <a:pt x="95" y="49"/>
                    <a:pt x="88" y="52"/>
                  </a:cubicBezTo>
                  <a:cubicBezTo>
                    <a:pt x="85" y="54"/>
                    <a:pt x="81" y="56"/>
                    <a:pt x="78" y="59"/>
                  </a:cubicBezTo>
                  <a:cubicBezTo>
                    <a:pt x="75" y="62"/>
                    <a:pt x="73" y="65"/>
                    <a:pt x="72" y="70"/>
                  </a:cubicBezTo>
                  <a:cubicBezTo>
                    <a:pt x="70" y="74"/>
                    <a:pt x="70" y="78"/>
                    <a:pt x="70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2" y="79"/>
                    <a:pt x="83" y="76"/>
                    <a:pt x="84" y="74"/>
                  </a:cubicBezTo>
                  <a:cubicBezTo>
                    <a:pt x="84" y="71"/>
                    <a:pt x="86" y="69"/>
                    <a:pt x="87" y="68"/>
                  </a:cubicBezTo>
                  <a:cubicBezTo>
                    <a:pt x="89" y="66"/>
                    <a:pt x="91" y="65"/>
                    <a:pt x="93" y="64"/>
                  </a:cubicBezTo>
                  <a:cubicBezTo>
                    <a:pt x="97" y="62"/>
                    <a:pt x="104" y="62"/>
                    <a:pt x="109" y="63"/>
                  </a:cubicBezTo>
                  <a:cubicBezTo>
                    <a:pt x="111" y="64"/>
                    <a:pt x="112" y="65"/>
                    <a:pt x="114" y="66"/>
                  </a:cubicBezTo>
                  <a:cubicBezTo>
                    <a:pt x="115" y="67"/>
                    <a:pt x="116" y="69"/>
                    <a:pt x="117" y="71"/>
                  </a:cubicBezTo>
                  <a:cubicBezTo>
                    <a:pt x="118" y="72"/>
                    <a:pt x="118" y="74"/>
                    <a:pt x="118" y="77"/>
                  </a:cubicBezTo>
                  <a:cubicBezTo>
                    <a:pt x="118" y="80"/>
                    <a:pt x="118" y="82"/>
                    <a:pt x="117" y="84"/>
                  </a:cubicBezTo>
                  <a:cubicBezTo>
                    <a:pt x="115" y="87"/>
                    <a:pt x="113" y="89"/>
                    <a:pt x="110" y="92"/>
                  </a:cubicBezTo>
                  <a:cubicBezTo>
                    <a:pt x="108" y="94"/>
                    <a:pt x="106" y="96"/>
                    <a:pt x="105" y="97"/>
                  </a:cubicBezTo>
                  <a:cubicBezTo>
                    <a:pt x="103" y="99"/>
                    <a:pt x="102" y="101"/>
                    <a:pt x="101" y="103"/>
                  </a:cubicBezTo>
                  <a:cubicBezTo>
                    <a:pt x="100" y="105"/>
                    <a:pt x="99" y="107"/>
                    <a:pt x="99" y="109"/>
                  </a:cubicBezTo>
                  <a:cubicBezTo>
                    <a:pt x="98" y="111"/>
                    <a:pt x="98" y="114"/>
                    <a:pt x="98" y="118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1" y="115"/>
                    <a:pt x="111" y="113"/>
                    <a:pt x="111" y="111"/>
                  </a:cubicBezTo>
                  <a:cubicBezTo>
                    <a:pt x="111" y="110"/>
                    <a:pt x="111" y="109"/>
                    <a:pt x="112" y="108"/>
                  </a:cubicBezTo>
                  <a:cubicBezTo>
                    <a:pt x="112" y="108"/>
                    <a:pt x="112" y="107"/>
                    <a:pt x="114" y="106"/>
                  </a:cubicBezTo>
                  <a:cubicBezTo>
                    <a:pt x="115" y="105"/>
                    <a:pt x="117" y="103"/>
                    <a:pt x="119" y="101"/>
                  </a:cubicBezTo>
                  <a:cubicBezTo>
                    <a:pt x="122" y="98"/>
                    <a:pt x="125" y="94"/>
                    <a:pt x="127" y="91"/>
                  </a:cubicBezTo>
                  <a:cubicBezTo>
                    <a:pt x="130" y="87"/>
                    <a:pt x="131" y="82"/>
                    <a:pt x="131" y="77"/>
                  </a:cubicBezTo>
                  <a:cubicBezTo>
                    <a:pt x="131" y="73"/>
                    <a:pt x="130" y="69"/>
                    <a:pt x="129" y="65"/>
                  </a:cubicBezTo>
                  <a:cubicBezTo>
                    <a:pt x="127" y="62"/>
                    <a:pt x="125" y="59"/>
                    <a:pt x="122" y="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60350" tIns="30175" rIns="60350" bIns="301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3"/>
                <a:buFont typeface="Arial"/>
                <a:buNone/>
              </a:pPr>
              <a:endParaRPr sz="85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900;p54">
              <a:extLst>
                <a:ext uri="{FF2B5EF4-FFF2-40B4-BE49-F238E27FC236}">
                  <a16:creationId xmlns:a16="http://schemas.microsoft.com/office/drawing/2014/main" id="{AD2911D5-E293-4841-A6DA-AF22599DF91B}"/>
                </a:ext>
              </a:extLst>
            </p:cNvPr>
            <p:cNvSpPr txBox="1"/>
            <p:nvPr/>
          </p:nvSpPr>
          <p:spPr>
            <a:xfrm>
              <a:off x="3257691" y="4711714"/>
              <a:ext cx="3832200" cy="1704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31"/>
                <a:buFont typeface="Arial"/>
                <a:buNone/>
              </a:pP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EU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역내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대기업은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다음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중 두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가지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조건을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충족합니다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. </a:t>
              </a:r>
              <a:endParaRPr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  <a:sym typeface="Arial"/>
              </a:endParaRPr>
            </a:p>
          </p:txBody>
        </p:sp>
        <p:sp>
          <p:nvSpPr>
            <p:cNvPr id="136" name="Google Shape;901;p54">
              <a:extLst>
                <a:ext uri="{FF2B5EF4-FFF2-40B4-BE49-F238E27FC236}">
                  <a16:creationId xmlns:a16="http://schemas.microsoft.com/office/drawing/2014/main" id="{FC17B681-5E79-46AD-A910-54CA087B0B54}"/>
                </a:ext>
              </a:extLst>
            </p:cNvPr>
            <p:cNvSpPr txBox="1"/>
            <p:nvPr/>
          </p:nvSpPr>
          <p:spPr>
            <a:xfrm>
              <a:off x="3068693" y="4918153"/>
              <a:ext cx="5050259" cy="2327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"/>
                <a:buFont typeface="Arial"/>
                <a:buNone/>
              </a:pP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1)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평균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직원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수 250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명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이상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  2] 총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시장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규모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20,000,000€ (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한화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약 267억원)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이상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  3) 순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매출액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 40,000,000 € (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한화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약 535억원)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  <a:sym typeface="Arial"/>
                </a:rPr>
                <a:t>이상</a:t>
              </a:r>
              <a:endParaRPr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  <a:sym typeface="Arial"/>
              </a:endParaRPr>
            </a:p>
          </p:txBody>
        </p:sp>
      </p:grpSp>
      <p:grpSp>
        <p:nvGrpSpPr>
          <p:cNvPr id="137" name="Google Shape;903;p54">
            <a:extLst>
              <a:ext uri="{FF2B5EF4-FFF2-40B4-BE49-F238E27FC236}">
                <a16:creationId xmlns:a16="http://schemas.microsoft.com/office/drawing/2014/main" id="{0142C2DD-8A49-44EA-9140-8C67C3BE44BE}"/>
              </a:ext>
            </a:extLst>
          </p:cNvPr>
          <p:cNvGrpSpPr/>
          <p:nvPr/>
        </p:nvGrpSpPr>
        <p:grpSpPr>
          <a:xfrm>
            <a:off x="4148484" y="4133682"/>
            <a:ext cx="4262788" cy="410386"/>
            <a:chOff x="2967713" y="4733803"/>
            <a:chExt cx="5246509" cy="678549"/>
          </a:xfrm>
        </p:grpSpPr>
        <p:sp>
          <p:nvSpPr>
            <p:cNvPr id="138" name="Google Shape;904;p54">
              <a:extLst>
                <a:ext uri="{FF2B5EF4-FFF2-40B4-BE49-F238E27FC236}">
                  <a16:creationId xmlns:a16="http://schemas.microsoft.com/office/drawing/2014/main" id="{A3B870F8-D131-4F5E-B73E-DF763FBFB5BB}"/>
                </a:ext>
              </a:extLst>
            </p:cNvPr>
            <p:cNvSpPr/>
            <p:nvPr/>
          </p:nvSpPr>
          <p:spPr>
            <a:xfrm>
              <a:off x="2967713" y="4733803"/>
              <a:ext cx="5246509" cy="678549"/>
            </a:xfrm>
            <a:prstGeom prst="roundRect">
              <a:avLst>
                <a:gd name="adj" fmla="val 5029"/>
              </a:avLst>
            </a:prstGeom>
            <a:solidFill>
              <a:schemeClr val="lt1"/>
            </a:solidFill>
            <a:ln w="9525" cap="flat" cmpd="sng">
              <a:solidFill>
                <a:srgbClr val="0C0C0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4575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"/>
                <a:buFont typeface="Arial"/>
                <a:buNone/>
              </a:pPr>
              <a:endParaRPr sz="6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905;p54">
              <a:extLst>
                <a:ext uri="{FF2B5EF4-FFF2-40B4-BE49-F238E27FC236}">
                  <a16:creationId xmlns:a16="http://schemas.microsoft.com/office/drawing/2014/main" id="{8D68C984-C576-4746-A642-B93159061ABC}"/>
                </a:ext>
              </a:extLst>
            </p:cNvPr>
            <p:cNvSpPr/>
            <p:nvPr/>
          </p:nvSpPr>
          <p:spPr>
            <a:xfrm>
              <a:off x="3070711" y="4812560"/>
              <a:ext cx="130759" cy="144386"/>
            </a:xfrm>
            <a:custGeom>
              <a:avLst/>
              <a:gdLst/>
              <a:ahLst/>
              <a:cxnLst/>
              <a:rect l="l" t="t" r="r" b="b"/>
              <a:pathLst>
                <a:path w="200" h="200" extrusionOk="0">
                  <a:moveTo>
                    <a:pt x="100" y="0"/>
                  </a:moveTo>
                  <a:cubicBezTo>
                    <a:pt x="45" y="0"/>
                    <a:pt x="0" y="44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6" y="200"/>
                    <a:pt x="200" y="155"/>
                    <a:pt x="200" y="100"/>
                  </a:cubicBezTo>
                  <a:cubicBezTo>
                    <a:pt x="200" y="44"/>
                    <a:pt x="156" y="0"/>
                    <a:pt x="100" y="0"/>
                  </a:cubicBezTo>
                  <a:close/>
                  <a:moveTo>
                    <a:pt x="100" y="187"/>
                  </a:moveTo>
                  <a:cubicBezTo>
                    <a:pt x="52" y="187"/>
                    <a:pt x="13" y="148"/>
                    <a:pt x="13" y="100"/>
                  </a:cubicBezTo>
                  <a:cubicBezTo>
                    <a:pt x="13" y="51"/>
                    <a:pt x="52" y="12"/>
                    <a:pt x="100" y="12"/>
                  </a:cubicBezTo>
                  <a:cubicBezTo>
                    <a:pt x="149" y="12"/>
                    <a:pt x="188" y="51"/>
                    <a:pt x="188" y="100"/>
                  </a:cubicBezTo>
                  <a:cubicBezTo>
                    <a:pt x="188" y="148"/>
                    <a:pt x="149" y="187"/>
                    <a:pt x="100" y="187"/>
                  </a:cubicBezTo>
                  <a:close/>
                  <a:moveTo>
                    <a:pt x="99" y="143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99" y="129"/>
                    <a:pt x="99" y="129"/>
                    <a:pt x="99" y="129"/>
                  </a:cubicBezTo>
                  <a:lnTo>
                    <a:pt x="99" y="143"/>
                  </a:lnTo>
                  <a:close/>
                  <a:moveTo>
                    <a:pt x="122" y="57"/>
                  </a:moveTo>
                  <a:cubicBezTo>
                    <a:pt x="119" y="54"/>
                    <a:pt x="116" y="53"/>
                    <a:pt x="113" y="51"/>
                  </a:cubicBezTo>
                  <a:cubicBezTo>
                    <a:pt x="105" y="49"/>
                    <a:pt x="95" y="49"/>
                    <a:pt x="88" y="52"/>
                  </a:cubicBezTo>
                  <a:cubicBezTo>
                    <a:pt x="85" y="54"/>
                    <a:pt x="81" y="56"/>
                    <a:pt x="78" y="59"/>
                  </a:cubicBezTo>
                  <a:cubicBezTo>
                    <a:pt x="75" y="62"/>
                    <a:pt x="73" y="65"/>
                    <a:pt x="72" y="70"/>
                  </a:cubicBezTo>
                  <a:cubicBezTo>
                    <a:pt x="70" y="74"/>
                    <a:pt x="70" y="78"/>
                    <a:pt x="70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2" y="79"/>
                    <a:pt x="83" y="76"/>
                    <a:pt x="84" y="74"/>
                  </a:cubicBezTo>
                  <a:cubicBezTo>
                    <a:pt x="84" y="71"/>
                    <a:pt x="86" y="69"/>
                    <a:pt x="87" y="68"/>
                  </a:cubicBezTo>
                  <a:cubicBezTo>
                    <a:pt x="89" y="66"/>
                    <a:pt x="91" y="65"/>
                    <a:pt x="93" y="64"/>
                  </a:cubicBezTo>
                  <a:cubicBezTo>
                    <a:pt x="97" y="62"/>
                    <a:pt x="104" y="62"/>
                    <a:pt x="109" y="63"/>
                  </a:cubicBezTo>
                  <a:cubicBezTo>
                    <a:pt x="111" y="64"/>
                    <a:pt x="112" y="65"/>
                    <a:pt x="114" y="66"/>
                  </a:cubicBezTo>
                  <a:cubicBezTo>
                    <a:pt x="115" y="67"/>
                    <a:pt x="116" y="69"/>
                    <a:pt x="117" y="71"/>
                  </a:cubicBezTo>
                  <a:cubicBezTo>
                    <a:pt x="118" y="72"/>
                    <a:pt x="118" y="74"/>
                    <a:pt x="118" y="77"/>
                  </a:cubicBezTo>
                  <a:cubicBezTo>
                    <a:pt x="118" y="80"/>
                    <a:pt x="118" y="82"/>
                    <a:pt x="117" y="84"/>
                  </a:cubicBezTo>
                  <a:cubicBezTo>
                    <a:pt x="115" y="87"/>
                    <a:pt x="113" y="89"/>
                    <a:pt x="110" y="92"/>
                  </a:cubicBezTo>
                  <a:cubicBezTo>
                    <a:pt x="108" y="94"/>
                    <a:pt x="106" y="96"/>
                    <a:pt x="105" y="97"/>
                  </a:cubicBezTo>
                  <a:cubicBezTo>
                    <a:pt x="103" y="99"/>
                    <a:pt x="102" y="101"/>
                    <a:pt x="101" y="103"/>
                  </a:cubicBezTo>
                  <a:cubicBezTo>
                    <a:pt x="100" y="105"/>
                    <a:pt x="99" y="107"/>
                    <a:pt x="99" y="109"/>
                  </a:cubicBezTo>
                  <a:cubicBezTo>
                    <a:pt x="98" y="111"/>
                    <a:pt x="98" y="114"/>
                    <a:pt x="98" y="118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1" y="115"/>
                    <a:pt x="111" y="113"/>
                    <a:pt x="111" y="111"/>
                  </a:cubicBezTo>
                  <a:cubicBezTo>
                    <a:pt x="111" y="110"/>
                    <a:pt x="111" y="109"/>
                    <a:pt x="112" y="108"/>
                  </a:cubicBezTo>
                  <a:cubicBezTo>
                    <a:pt x="112" y="108"/>
                    <a:pt x="112" y="107"/>
                    <a:pt x="114" y="106"/>
                  </a:cubicBezTo>
                  <a:cubicBezTo>
                    <a:pt x="115" y="105"/>
                    <a:pt x="117" y="103"/>
                    <a:pt x="119" y="101"/>
                  </a:cubicBezTo>
                  <a:cubicBezTo>
                    <a:pt x="122" y="98"/>
                    <a:pt x="125" y="94"/>
                    <a:pt x="127" y="91"/>
                  </a:cubicBezTo>
                  <a:cubicBezTo>
                    <a:pt x="130" y="87"/>
                    <a:pt x="131" y="82"/>
                    <a:pt x="131" y="77"/>
                  </a:cubicBezTo>
                  <a:cubicBezTo>
                    <a:pt x="131" y="73"/>
                    <a:pt x="130" y="69"/>
                    <a:pt x="129" y="65"/>
                  </a:cubicBezTo>
                  <a:cubicBezTo>
                    <a:pt x="127" y="62"/>
                    <a:pt x="125" y="59"/>
                    <a:pt x="122" y="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60350" tIns="30175" rIns="60350" bIns="301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3"/>
                <a:buFont typeface="Arial"/>
                <a:buNone/>
              </a:pPr>
              <a:endParaRPr sz="85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906;p54">
              <a:extLst>
                <a:ext uri="{FF2B5EF4-FFF2-40B4-BE49-F238E27FC236}">
                  <a16:creationId xmlns:a16="http://schemas.microsoft.com/office/drawing/2014/main" id="{00E4A32C-EFBA-4ABD-8693-0FAC644E3D0A}"/>
                </a:ext>
              </a:extLst>
            </p:cNvPr>
            <p:cNvSpPr txBox="1"/>
            <p:nvPr/>
          </p:nvSpPr>
          <p:spPr>
            <a:xfrm>
              <a:off x="3257738" y="4805493"/>
              <a:ext cx="3881400" cy="229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31"/>
                <a:buFont typeface="Arial"/>
                <a:buNone/>
              </a:pP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지사는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다음의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조건을</a:t>
              </a:r>
              <a:r>
                <a:rPr 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</a:t>
              </a:r>
              <a:r>
                <a:rPr 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충족합니다</a:t>
              </a:r>
              <a:r>
                <a:rPr lang="en-US" sz="731" b="1" dirty="0">
                  <a:solidFill>
                    <a:srgbClr val="3F3F3F"/>
                  </a:solidFill>
                </a:rPr>
                <a:t>.  </a:t>
              </a:r>
              <a:endParaRPr sz="731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907;p54">
              <a:extLst>
                <a:ext uri="{FF2B5EF4-FFF2-40B4-BE49-F238E27FC236}">
                  <a16:creationId xmlns:a16="http://schemas.microsoft.com/office/drawing/2014/main" id="{88248A6D-951A-4F8C-8812-AAD45C64DF58}"/>
                </a:ext>
              </a:extLst>
            </p:cNvPr>
            <p:cNvSpPr txBox="1"/>
            <p:nvPr/>
          </p:nvSpPr>
          <p:spPr>
            <a:xfrm>
              <a:off x="3072831" y="5099250"/>
              <a:ext cx="4365300" cy="2035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"/>
                <a:buFont typeface="Arial"/>
                <a:buNone/>
              </a:pP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순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매출액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40,000,000€ (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한화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약 535억원) </a:t>
              </a:r>
              <a:r>
                <a:rPr lang="en-US" sz="8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이상</a:t>
              </a:r>
              <a:r>
                <a:rPr 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 </a:t>
              </a:r>
              <a:endParaRPr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endParaRP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3B66A922-BB95-4C3E-9BE6-6AB52BC55A65}"/>
              </a:ext>
            </a:extLst>
          </p:cNvPr>
          <p:cNvSpPr/>
          <p:nvPr/>
        </p:nvSpPr>
        <p:spPr>
          <a:xfrm>
            <a:off x="910181" y="3068960"/>
            <a:ext cx="7618327" cy="2474054"/>
          </a:xfrm>
          <a:prstGeom prst="rect">
            <a:avLst/>
          </a:prstGeom>
          <a:noFill/>
          <a:ln w="19050">
            <a:solidFill>
              <a:srgbClr val="CF4C0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566DB0E8-1CC5-4211-9B14-51C6C6E7F47E}"/>
              </a:ext>
            </a:extLst>
          </p:cNvPr>
          <p:cNvSpPr/>
          <p:nvPr/>
        </p:nvSpPr>
        <p:spPr>
          <a:xfrm>
            <a:off x="8631371" y="3062573"/>
            <a:ext cx="2073141" cy="549914"/>
          </a:xfrm>
          <a:prstGeom prst="rect">
            <a:avLst/>
          </a:prstGeom>
          <a:solidFill>
            <a:srgbClr val="CF4C09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>
              <a:lnSpc>
                <a:spcPct val="150000"/>
              </a:lnSpc>
            </a:pPr>
            <a:r>
              <a:rPr lang="en-US" altLang="ko-KR" sz="9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4,5</a:t>
            </a:r>
            <a:r>
              <a:rPr lang="ko-KR" altLang="en-US" sz="9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번 질문은 진단 문항 로직에 따라</a:t>
            </a:r>
            <a:endParaRPr lang="en-US" altLang="ko-KR" sz="900" b="1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ko-KR" sz="9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 </a:t>
            </a:r>
            <a:r>
              <a:rPr lang="ko-KR" altLang="en-US" sz="9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출력 여부 달라짐</a:t>
            </a:r>
          </a:p>
        </p:txBody>
      </p: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24687A2E-B128-48A0-9D88-A25A1EEAE9C0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9BE7A25D-2E31-436A-9F43-AB5112E15F92}"/>
              </a:ext>
            </a:extLst>
          </p:cNvPr>
          <p:cNvSpPr/>
          <p:nvPr/>
        </p:nvSpPr>
        <p:spPr>
          <a:xfrm>
            <a:off x="4049083" y="57630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사각형: 둥근 모서리 145">
            <a:extLst>
              <a:ext uri="{FF2B5EF4-FFF2-40B4-BE49-F238E27FC236}">
                <a16:creationId xmlns:a16="http://schemas.microsoft.com/office/drawing/2014/main" id="{64309AC2-9208-4BB0-AA80-A1DA03643471}"/>
              </a:ext>
            </a:extLst>
          </p:cNvPr>
          <p:cNvSpPr/>
          <p:nvPr/>
        </p:nvSpPr>
        <p:spPr>
          <a:xfrm>
            <a:off x="7499837" y="25865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8964106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109046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1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676116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807417"/>
              </p:ext>
            </p:extLst>
          </p:nvPr>
        </p:nvGraphicFramePr>
        <p:xfrm>
          <a:off x="9277359" y="1128184"/>
          <a:ext cx="2922885" cy="13377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25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524795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FRD 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5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4)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공시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260417" y="4446363"/>
            <a:ext cx="6857476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3213;p402">
            <a:extLst>
              <a:ext uri="{FF2B5EF4-FFF2-40B4-BE49-F238E27FC236}">
                <a16:creationId xmlns:a16="http://schemas.microsoft.com/office/drawing/2014/main" id="{F2BC988D-08D0-4C9C-A3F6-25E0478F946A}"/>
              </a:ext>
            </a:extLst>
          </p:cNvPr>
          <p:cNvSpPr txBox="1"/>
          <p:nvPr/>
        </p:nvSpPr>
        <p:spPr>
          <a:xfrm>
            <a:off x="5317333" y="4674976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8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7" name="Google Shape;3217;p402">
            <a:extLst>
              <a:ext uri="{FF2B5EF4-FFF2-40B4-BE49-F238E27FC236}">
                <a16:creationId xmlns:a16="http://schemas.microsoft.com/office/drawing/2014/main" id="{F755668E-E061-4CAE-9B8F-998964137C74}"/>
              </a:ext>
            </a:extLst>
          </p:cNvPr>
          <p:cNvSpPr txBox="1"/>
          <p:nvPr/>
        </p:nvSpPr>
        <p:spPr>
          <a:xfrm>
            <a:off x="3170127" y="4674977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6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8" name="Google Shape;3220;p402">
            <a:extLst>
              <a:ext uri="{FF2B5EF4-FFF2-40B4-BE49-F238E27FC236}">
                <a16:creationId xmlns:a16="http://schemas.microsoft.com/office/drawing/2014/main" id="{175A397B-F1FD-4893-919E-BB7199D9F4EA}"/>
              </a:ext>
            </a:extLst>
          </p:cNvPr>
          <p:cNvSpPr txBox="1"/>
          <p:nvPr/>
        </p:nvSpPr>
        <p:spPr>
          <a:xfrm>
            <a:off x="6390937" y="4674976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9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9" name="Google Shape;3223;p402">
            <a:extLst>
              <a:ext uri="{FF2B5EF4-FFF2-40B4-BE49-F238E27FC236}">
                <a16:creationId xmlns:a16="http://schemas.microsoft.com/office/drawing/2014/main" id="{558F9AEE-A81C-46C0-8C18-ED32BBD3B985}"/>
              </a:ext>
            </a:extLst>
          </p:cNvPr>
          <p:cNvSpPr txBox="1"/>
          <p:nvPr/>
        </p:nvSpPr>
        <p:spPr>
          <a:xfrm>
            <a:off x="2096524" y="4674977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35100" tIns="74283" rIns="35100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5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3217;p402">
            <a:extLst>
              <a:ext uri="{FF2B5EF4-FFF2-40B4-BE49-F238E27FC236}">
                <a16:creationId xmlns:a16="http://schemas.microsoft.com/office/drawing/2014/main" id="{76550150-93DE-4449-9557-AA63583E3141}"/>
              </a:ext>
            </a:extLst>
          </p:cNvPr>
          <p:cNvSpPr txBox="1"/>
          <p:nvPr/>
        </p:nvSpPr>
        <p:spPr>
          <a:xfrm>
            <a:off x="4243730" y="4674969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7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671DAA11-5DD4-40DD-8690-7000346708AC}"/>
              </a:ext>
            </a:extLst>
          </p:cNvPr>
          <p:cNvGrpSpPr/>
          <p:nvPr/>
        </p:nvGrpSpPr>
        <p:grpSpPr>
          <a:xfrm>
            <a:off x="2183875" y="3886260"/>
            <a:ext cx="988870" cy="778595"/>
            <a:chOff x="2183875" y="3758664"/>
            <a:chExt cx="988870" cy="778595"/>
          </a:xfrm>
        </p:grpSpPr>
        <p:cxnSp>
          <p:nvCxnSpPr>
            <p:cNvPr id="111" name="Google Shape;1462;p3">
              <a:extLst>
                <a:ext uri="{FF2B5EF4-FFF2-40B4-BE49-F238E27FC236}">
                  <a16:creationId xmlns:a16="http://schemas.microsoft.com/office/drawing/2014/main" id="{4023925E-F027-4D30-988C-B5C56D3D3B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3875" y="3758664"/>
              <a:ext cx="0" cy="778595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2" name="Google Shape;1464;p3">
              <a:extLst>
                <a:ext uri="{FF2B5EF4-FFF2-40B4-BE49-F238E27FC236}">
                  <a16:creationId xmlns:a16="http://schemas.microsoft.com/office/drawing/2014/main" id="{8427ECBA-39C5-49D8-AE44-6DE806AC7FE1}"/>
                </a:ext>
              </a:extLst>
            </p:cNvPr>
            <p:cNvSpPr/>
            <p:nvPr/>
          </p:nvSpPr>
          <p:spPr>
            <a:xfrm>
              <a:off x="2286756" y="4020304"/>
              <a:ext cx="88598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CSRD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90D1360E-7215-4E77-9B5C-E834E50F4F7D}"/>
                </a:ext>
              </a:extLst>
            </p:cNvPr>
            <p:cNvSpPr/>
            <p:nvPr/>
          </p:nvSpPr>
          <p:spPr>
            <a:xfrm>
              <a:off x="2275578" y="3758664"/>
              <a:ext cx="818628" cy="2000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5.1.1 ~</a:t>
              </a: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9AED2FFE-5B0A-48F9-BCD1-4205505AF6F1}"/>
              </a:ext>
            </a:extLst>
          </p:cNvPr>
          <p:cNvGrpSpPr/>
          <p:nvPr/>
        </p:nvGrpSpPr>
        <p:grpSpPr>
          <a:xfrm>
            <a:off x="3655349" y="3433124"/>
            <a:ext cx="1728191" cy="1231731"/>
            <a:chOff x="3655349" y="3305528"/>
            <a:chExt cx="1728191" cy="1231731"/>
          </a:xfrm>
        </p:grpSpPr>
        <p:cxnSp>
          <p:nvCxnSpPr>
            <p:cNvPr id="123" name="Google Shape;1462;p3">
              <a:extLst>
                <a:ext uri="{FF2B5EF4-FFF2-40B4-BE49-F238E27FC236}">
                  <a16:creationId xmlns:a16="http://schemas.microsoft.com/office/drawing/2014/main" id="{D1B891E8-3F1C-4A4D-8DA1-60BD1AB47A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A886BBE3-9C99-4E35-9AAA-0CBABD703D15}"/>
                </a:ext>
              </a:extLst>
            </p:cNvPr>
            <p:cNvSpPr/>
            <p:nvPr/>
          </p:nvSpPr>
          <p:spPr>
            <a:xfrm>
              <a:off x="3699742" y="330552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6.10 ~</a:t>
              </a:r>
            </a:p>
          </p:txBody>
        </p:sp>
        <p:sp>
          <p:nvSpPr>
            <p:cNvPr id="125" name="Google Shape;1464;p3">
              <a:extLst>
                <a:ext uri="{FF2B5EF4-FFF2-40B4-BE49-F238E27FC236}">
                  <a16:creationId xmlns:a16="http://schemas.microsoft.com/office/drawing/2014/main" id="{EFE612E4-796E-4B9D-96B7-E1E7AFBB738E}"/>
                </a:ext>
              </a:extLst>
            </p:cNvPr>
            <p:cNvSpPr/>
            <p:nvPr/>
          </p:nvSpPr>
          <p:spPr>
            <a:xfrm>
              <a:off x="3711571" y="357720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제한적 인증기준 채택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C97D6E87-8888-41E2-A948-41EFD08CEDC2}"/>
              </a:ext>
            </a:extLst>
          </p:cNvPr>
          <p:cNvGrpSpPr/>
          <p:nvPr/>
        </p:nvGrpSpPr>
        <p:grpSpPr>
          <a:xfrm>
            <a:off x="5809597" y="3426675"/>
            <a:ext cx="1728191" cy="1231731"/>
            <a:chOff x="3655349" y="3305528"/>
            <a:chExt cx="1728191" cy="1231731"/>
          </a:xfrm>
        </p:grpSpPr>
        <p:cxnSp>
          <p:nvCxnSpPr>
            <p:cNvPr id="127" name="Google Shape;1462;p3">
              <a:extLst>
                <a:ext uri="{FF2B5EF4-FFF2-40B4-BE49-F238E27FC236}">
                  <a16:creationId xmlns:a16="http://schemas.microsoft.com/office/drawing/2014/main" id="{25BB69F7-9B13-4B59-991A-95051F3263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B133D0CA-FA71-4DC4-87C4-704E4732C89B}"/>
                </a:ext>
              </a:extLst>
            </p:cNvPr>
            <p:cNvSpPr/>
            <p:nvPr/>
          </p:nvSpPr>
          <p:spPr>
            <a:xfrm>
              <a:off x="3699742" y="330552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8.10 ~</a:t>
              </a:r>
            </a:p>
          </p:txBody>
        </p:sp>
        <p:sp>
          <p:nvSpPr>
            <p:cNvPr id="129" name="Google Shape;1464;p3">
              <a:extLst>
                <a:ext uri="{FF2B5EF4-FFF2-40B4-BE49-F238E27FC236}">
                  <a16:creationId xmlns:a16="http://schemas.microsoft.com/office/drawing/2014/main" id="{C883C6D2-5348-4E8B-8797-E861A6FFA98F}"/>
                </a:ext>
              </a:extLst>
            </p:cNvPr>
            <p:cNvSpPr/>
            <p:nvPr/>
          </p:nvSpPr>
          <p:spPr>
            <a:xfrm>
              <a:off x="3711571" y="357720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합리적 인증기준 채택</a:t>
              </a:r>
            </a:p>
          </p:txBody>
        </p:sp>
      </p:grp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46A1D02F-FDB5-4EA0-BC36-4EDE9420D213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25176565-B00F-448D-B12E-C08329ED3A51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1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897FA38A-1A09-4069-8C10-1E3B56C6D390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443EAEB3-6DC9-470E-8524-E03620798EDF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1D761B92-FDC1-486B-9BFB-F804EF553B0D}"/>
              </a:ext>
            </a:extLst>
          </p:cNvPr>
          <p:cNvSpPr/>
          <p:nvPr/>
        </p:nvSpPr>
        <p:spPr>
          <a:xfrm>
            <a:off x="9003686" y="0"/>
            <a:ext cx="3188314" cy="11247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9.01&gt;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CSRD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자가진단 화면 전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2025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년 결과값 없는 경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2025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년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미출력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연도별 간격 넓힘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～～～～～ 공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”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로 끝나는 값은 하단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～～～～～ 채택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”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으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 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끝나는 값은 상단에 배치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D7EF3279-71F1-4E2B-8523-326548CA52F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604474260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36960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078479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509060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대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6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5)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공시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35730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3213;p402">
            <a:extLst>
              <a:ext uri="{FF2B5EF4-FFF2-40B4-BE49-F238E27FC236}">
                <a16:creationId xmlns:a16="http://schemas.microsoft.com/office/drawing/2014/main" id="{F2BC988D-08D0-4C9C-A3F6-25E0478F946A}"/>
              </a:ext>
            </a:extLst>
          </p:cNvPr>
          <p:cNvSpPr txBox="1"/>
          <p:nvPr/>
        </p:nvSpPr>
        <p:spPr>
          <a:xfrm>
            <a:off x="5035111" y="4694858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8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7" name="Google Shape;3217;p402">
            <a:extLst>
              <a:ext uri="{FF2B5EF4-FFF2-40B4-BE49-F238E27FC236}">
                <a16:creationId xmlns:a16="http://schemas.microsoft.com/office/drawing/2014/main" id="{F755668E-E061-4CAE-9B8F-998964137C74}"/>
              </a:ext>
            </a:extLst>
          </p:cNvPr>
          <p:cNvSpPr txBox="1"/>
          <p:nvPr/>
        </p:nvSpPr>
        <p:spPr>
          <a:xfrm>
            <a:off x="1765653" y="4670554"/>
            <a:ext cx="648000" cy="271728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6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8" name="Google Shape;3220;p402">
            <a:extLst>
              <a:ext uri="{FF2B5EF4-FFF2-40B4-BE49-F238E27FC236}">
                <a16:creationId xmlns:a16="http://schemas.microsoft.com/office/drawing/2014/main" id="{175A397B-F1FD-4893-919E-BB7199D9F4EA}"/>
              </a:ext>
            </a:extLst>
          </p:cNvPr>
          <p:cNvSpPr txBox="1"/>
          <p:nvPr/>
        </p:nvSpPr>
        <p:spPr>
          <a:xfrm>
            <a:off x="6701827" y="4671842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9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3217;p402">
            <a:extLst>
              <a:ext uri="{FF2B5EF4-FFF2-40B4-BE49-F238E27FC236}">
                <a16:creationId xmlns:a16="http://schemas.microsoft.com/office/drawing/2014/main" id="{76550150-93DE-4449-9557-AA63583E3141}"/>
              </a:ext>
            </a:extLst>
          </p:cNvPr>
          <p:cNvSpPr txBox="1"/>
          <p:nvPr/>
        </p:nvSpPr>
        <p:spPr>
          <a:xfrm>
            <a:off x="3466566" y="4679325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7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9AED2FFE-5B0A-48F9-BCD1-4205505AF6F1}"/>
              </a:ext>
            </a:extLst>
          </p:cNvPr>
          <p:cNvGrpSpPr/>
          <p:nvPr/>
        </p:nvGrpSpPr>
        <p:grpSpPr>
          <a:xfrm>
            <a:off x="1882168" y="3309357"/>
            <a:ext cx="1728191" cy="643621"/>
            <a:chOff x="3655349" y="3893638"/>
            <a:chExt cx="1728191" cy="643621"/>
          </a:xfrm>
        </p:grpSpPr>
        <p:cxnSp>
          <p:nvCxnSpPr>
            <p:cNvPr id="123" name="Google Shape;1462;p3">
              <a:extLst>
                <a:ext uri="{FF2B5EF4-FFF2-40B4-BE49-F238E27FC236}">
                  <a16:creationId xmlns:a16="http://schemas.microsoft.com/office/drawing/2014/main" id="{D1B891E8-3F1C-4A4D-8DA1-60BD1AB47A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914640"/>
              <a:ext cx="10658" cy="622619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A886BBE3-9C99-4E35-9AAA-0CBABD703D15}"/>
                </a:ext>
              </a:extLst>
            </p:cNvPr>
            <p:cNvSpPr/>
            <p:nvPr/>
          </p:nvSpPr>
          <p:spPr>
            <a:xfrm>
              <a:off x="3699742" y="389363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6.10 ~</a:t>
              </a:r>
            </a:p>
          </p:txBody>
        </p:sp>
        <p:sp>
          <p:nvSpPr>
            <p:cNvPr id="125" name="Google Shape;1464;p3">
              <a:extLst>
                <a:ext uri="{FF2B5EF4-FFF2-40B4-BE49-F238E27FC236}">
                  <a16:creationId xmlns:a16="http://schemas.microsoft.com/office/drawing/2014/main" id="{EFE612E4-796E-4B9D-96B7-E1E7AFBB738E}"/>
                </a:ext>
              </a:extLst>
            </p:cNvPr>
            <p:cNvSpPr/>
            <p:nvPr/>
          </p:nvSpPr>
          <p:spPr>
            <a:xfrm>
              <a:off x="3711571" y="416531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제한적 인증기준 채택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C97D6E87-8888-41E2-A948-41EFD08CEDC2}"/>
              </a:ext>
            </a:extLst>
          </p:cNvPr>
          <p:cNvGrpSpPr/>
          <p:nvPr/>
        </p:nvGrpSpPr>
        <p:grpSpPr>
          <a:xfrm>
            <a:off x="5384469" y="3477554"/>
            <a:ext cx="1728191" cy="1231731"/>
            <a:chOff x="3655349" y="3305528"/>
            <a:chExt cx="1728191" cy="1231731"/>
          </a:xfrm>
        </p:grpSpPr>
        <p:cxnSp>
          <p:nvCxnSpPr>
            <p:cNvPr id="127" name="Google Shape;1462;p3">
              <a:extLst>
                <a:ext uri="{FF2B5EF4-FFF2-40B4-BE49-F238E27FC236}">
                  <a16:creationId xmlns:a16="http://schemas.microsoft.com/office/drawing/2014/main" id="{25BB69F7-9B13-4B59-991A-95051F3263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B133D0CA-FA71-4DC4-87C4-704E4732C89B}"/>
                </a:ext>
              </a:extLst>
            </p:cNvPr>
            <p:cNvSpPr/>
            <p:nvPr/>
          </p:nvSpPr>
          <p:spPr>
            <a:xfrm>
              <a:off x="3699742" y="330552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8.10 ~</a:t>
              </a:r>
            </a:p>
          </p:txBody>
        </p:sp>
        <p:sp>
          <p:nvSpPr>
            <p:cNvPr id="129" name="Google Shape;1464;p3">
              <a:extLst>
                <a:ext uri="{FF2B5EF4-FFF2-40B4-BE49-F238E27FC236}">
                  <a16:creationId xmlns:a16="http://schemas.microsoft.com/office/drawing/2014/main" id="{C883C6D2-5348-4E8B-8797-E861A6FFA98F}"/>
                </a:ext>
              </a:extLst>
            </p:cNvPr>
            <p:cNvSpPr/>
            <p:nvPr/>
          </p:nvSpPr>
          <p:spPr>
            <a:xfrm>
              <a:off x="3711571" y="357720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합리적 인증기준 채택</a:t>
              </a:r>
            </a:p>
          </p:txBody>
        </p:sp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F7FB92D-F987-43C1-827C-688F0620CF1D}"/>
              </a:ext>
            </a:extLst>
          </p:cNvPr>
          <p:cNvGrpSpPr/>
          <p:nvPr/>
        </p:nvGrpSpPr>
        <p:grpSpPr>
          <a:xfrm>
            <a:off x="1892379" y="3451740"/>
            <a:ext cx="959367" cy="1226900"/>
            <a:chOff x="2183875" y="3310359"/>
            <a:chExt cx="959367" cy="1226900"/>
          </a:xfrm>
        </p:grpSpPr>
        <p:cxnSp>
          <p:nvCxnSpPr>
            <p:cNvPr id="82" name="Google Shape;1462;p3">
              <a:extLst>
                <a:ext uri="{FF2B5EF4-FFF2-40B4-BE49-F238E27FC236}">
                  <a16:creationId xmlns:a16="http://schemas.microsoft.com/office/drawing/2014/main" id="{8EFE0B2F-04AA-4432-916B-B00764C086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3875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6" name="Google Shape;1464;p3">
              <a:extLst>
                <a:ext uri="{FF2B5EF4-FFF2-40B4-BE49-F238E27FC236}">
                  <a16:creationId xmlns:a16="http://schemas.microsoft.com/office/drawing/2014/main" id="{C0AD40D1-F928-4622-853B-10027A5B0CDF}"/>
                </a:ext>
              </a:extLst>
            </p:cNvPr>
            <p:cNvSpPr/>
            <p:nvPr/>
          </p:nvSpPr>
          <p:spPr>
            <a:xfrm>
              <a:off x="2257253" y="4088920"/>
              <a:ext cx="88598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CSRD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7CDEBF52-85B3-46BD-A9B1-367CAF924178}"/>
                </a:ext>
              </a:extLst>
            </p:cNvPr>
            <p:cNvSpPr/>
            <p:nvPr/>
          </p:nvSpPr>
          <p:spPr>
            <a:xfrm>
              <a:off x="2246075" y="3827280"/>
              <a:ext cx="818628" cy="2000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6.1.1 ~</a:t>
              </a:r>
            </a:p>
          </p:txBody>
        </p:sp>
      </p:grp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1199B39E-24F4-4C66-B7A7-2D60FA4CC788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2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944C5DBF-6B18-4B7E-A812-99851BC6D8D1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9545AA62-E720-45B5-B192-75D84789A5E0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2F4E4F3F-850B-4512-BA4D-B53AC82269C8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359BD347-7B04-4C5B-9C50-AB5DD3B0A70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938122332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483316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338937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ME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7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6)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공시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러나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9(FY28)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까지 </a:t>
            </a:r>
            <a:r>
              <a:rPr lang="ko-KR" altLang="en-US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칙준수</a:t>
            </a:r>
            <a:r>
              <a:rPr lang="ko-KR" altLang="en-US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예외설명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comply or explain)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방식으로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의무공시 사항에 대한 유예 적용</a:t>
            </a:r>
            <a:r>
              <a:rPr lang="ko-KR" alt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이 가능합니다</a:t>
            </a:r>
            <a:r>
              <a:rPr lang="en-US" altLang="ko-KR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. </a:t>
            </a:r>
            <a:endParaRPr lang="en-US" altLang="ko-KR" sz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25097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CF7FB92D-F987-43C1-827C-688F0620CF1D}"/>
              </a:ext>
            </a:extLst>
          </p:cNvPr>
          <p:cNvGrpSpPr/>
          <p:nvPr/>
        </p:nvGrpSpPr>
        <p:grpSpPr>
          <a:xfrm>
            <a:off x="3277872" y="4082927"/>
            <a:ext cx="959797" cy="649067"/>
            <a:chOff x="2183875" y="3315563"/>
            <a:chExt cx="959797" cy="649067"/>
          </a:xfrm>
        </p:grpSpPr>
        <p:cxnSp>
          <p:nvCxnSpPr>
            <p:cNvPr id="82" name="Google Shape;1462;p3">
              <a:extLst>
                <a:ext uri="{FF2B5EF4-FFF2-40B4-BE49-F238E27FC236}">
                  <a16:creationId xmlns:a16="http://schemas.microsoft.com/office/drawing/2014/main" id="{8EFE0B2F-04AA-4432-916B-B00764C086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3875" y="3318974"/>
              <a:ext cx="0" cy="645656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6" name="Google Shape;1464;p3">
              <a:extLst>
                <a:ext uri="{FF2B5EF4-FFF2-40B4-BE49-F238E27FC236}">
                  <a16:creationId xmlns:a16="http://schemas.microsoft.com/office/drawing/2014/main" id="{C0AD40D1-F928-4622-853B-10027A5B0CDF}"/>
                </a:ext>
              </a:extLst>
            </p:cNvPr>
            <p:cNvSpPr/>
            <p:nvPr/>
          </p:nvSpPr>
          <p:spPr>
            <a:xfrm>
              <a:off x="2257683" y="3577203"/>
              <a:ext cx="88598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CSRD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7CDEBF52-85B3-46BD-A9B1-367CAF924178}"/>
                </a:ext>
              </a:extLst>
            </p:cNvPr>
            <p:cNvSpPr/>
            <p:nvPr/>
          </p:nvSpPr>
          <p:spPr>
            <a:xfrm>
              <a:off x="2246505" y="3315563"/>
              <a:ext cx="818628" cy="2000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7.1.1 ~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B24D815F-7AD2-4A0D-84B4-ABCC502D9D1C}"/>
              </a:ext>
            </a:extLst>
          </p:cNvPr>
          <p:cNvGrpSpPr/>
          <p:nvPr/>
        </p:nvGrpSpPr>
        <p:grpSpPr>
          <a:xfrm>
            <a:off x="1775521" y="3405409"/>
            <a:ext cx="5762268" cy="1508847"/>
            <a:chOff x="3170127" y="3405409"/>
            <a:chExt cx="4367661" cy="1508847"/>
          </a:xfrm>
        </p:grpSpPr>
        <p:sp>
          <p:nvSpPr>
            <p:cNvPr id="106" name="Google Shape;3213;p402">
              <a:extLst>
                <a:ext uri="{FF2B5EF4-FFF2-40B4-BE49-F238E27FC236}">
                  <a16:creationId xmlns:a16="http://schemas.microsoft.com/office/drawing/2014/main" id="{F2BC988D-08D0-4C9C-A3F6-25E0478F946A}"/>
                </a:ext>
              </a:extLst>
            </p:cNvPr>
            <p:cNvSpPr txBox="1"/>
            <p:nvPr/>
          </p:nvSpPr>
          <p:spPr>
            <a:xfrm>
              <a:off x="5317333" y="4653710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8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7" name="Google Shape;3217;p402">
              <a:extLst>
                <a:ext uri="{FF2B5EF4-FFF2-40B4-BE49-F238E27FC236}">
                  <a16:creationId xmlns:a16="http://schemas.microsoft.com/office/drawing/2014/main" id="{F755668E-E061-4CAE-9B8F-998964137C74}"/>
                </a:ext>
              </a:extLst>
            </p:cNvPr>
            <p:cNvSpPr txBox="1"/>
            <p:nvPr/>
          </p:nvSpPr>
          <p:spPr>
            <a:xfrm>
              <a:off x="3170127" y="4653711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6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8" name="Google Shape;3220;p402">
              <a:extLst>
                <a:ext uri="{FF2B5EF4-FFF2-40B4-BE49-F238E27FC236}">
                  <a16:creationId xmlns:a16="http://schemas.microsoft.com/office/drawing/2014/main" id="{175A397B-F1FD-4893-919E-BB7199D9F4EA}"/>
                </a:ext>
              </a:extLst>
            </p:cNvPr>
            <p:cNvSpPr txBox="1"/>
            <p:nvPr/>
          </p:nvSpPr>
          <p:spPr>
            <a:xfrm>
              <a:off x="6390937" y="4653710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9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19" name="Google Shape;3217;p402">
              <a:extLst>
                <a:ext uri="{FF2B5EF4-FFF2-40B4-BE49-F238E27FC236}">
                  <a16:creationId xmlns:a16="http://schemas.microsoft.com/office/drawing/2014/main" id="{76550150-93DE-4449-9557-AA63583E3141}"/>
                </a:ext>
              </a:extLst>
            </p:cNvPr>
            <p:cNvSpPr txBox="1"/>
            <p:nvPr/>
          </p:nvSpPr>
          <p:spPr>
            <a:xfrm>
              <a:off x="4243730" y="4653703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7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C97D6E87-8888-41E2-A948-41EFD08CEDC2}"/>
                </a:ext>
              </a:extLst>
            </p:cNvPr>
            <p:cNvGrpSpPr/>
            <p:nvPr/>
          </p:nvGrpSpPr>
          <p:grpSpPr>
            <a:xfrm>
              <a:off x="5809597" y="3405409"/>
              <a:ext cx="1728191" cy="1231731"/>
              <a:chOff x="3655349" y="3305528"/>
              <a:chExt cx="1728191" cy="1231731"/>
            </a:xfrm>
          </p:grpSpPr>
          <p:cxnSp>
            <p:nvCxnSpPr>
              <p:cNvPr id="127" name="Google Shape;1462;p3">
                <a:extLst>
                  <a:ext uri="{FF2B5EF4-FFF2-40B4-BE49-F238E27FC236}">
                    <a16:creationId xmlns:a16="http://schemas.microsoft.com/office/drawing/2014/main" id="{25BB69F7-9B13-4B59-991A-95051F3263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B133D0CA-FA71-4DC4-87C4-704E4732C89B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8.10 ~</a:t>
                </a:r>
              </a:p>
            </p:txBody>
          </p:sp>
          <p:sp>
            <p:nvSpPr>
              <p:cNvPr id="129" name="Google Shape;1464;p3">
                <a:extLst>
                  <a:ext uri="{FF2B5EF4-FFF2-40B4-BE49-F238E27FC236}">
                    <a16:creationId xmlns:a16="http://schemas.microsoft.com/office/drawing/2014/main" id="{C883C6D2-5348-4E8B-8797-E861A6FFA98F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합리적 인증기준 채택</a:t>
                </a: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ADA174EE-7891-440B-A076-9AAEF322C34F}"/>
                </a:ext>
              </a:extLst>
            </p:cNvPr>
            <p:cNvGrpSpPr/>
            <p:nvPr/>
          </p:nvGrpSpPr>
          <p:grpSpPr>
            <a:xfrm>
              <a:off x="3612479" y="3422388"/>
              <a:ext cx="1728191" cy="1231731"/>
              <a:chOff x="3655349" y="3305528"/>
              <a:chExt cx="1728191" cy="1231731"/>
            </a:xfrm>
          </p:grpSpPr>
          <p:cxnSp>
            <p:nvCxnSpPr>
              <p:cNvPr id="99" name="Google Shape;1462;p3">
                <a:extLst>
                  <a:ext uri="{FF2B5EF4-FFF2-40B4-BE49-F238E27FC236}">
                    <a16:creationId xmlns:a16="http://schemas.microsoft.com/office/drawing/2014/main" id="{DB7C0027-3D39-48F3-9119-C103024DA7C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52C74750-A31A-4B58-A025-6C72FA9F5EA6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6.10 ~</a:t>
                </a:r>
              </a:p>
            </p:txBody>
          </p:sp>
          <p:sp>
            <p:nvSpPr>
              <p:cNvPr id="101" name="Google Shape;1464;p3">
                <a:extLst>
                  <a:ext uri="{FF2B5EF4-FFF2-40B4-BE49-F238E27FC236}">
                    <a16:creationId xmlns:a16="http://schemas.microsoft.com/office/drawing/2014/main" id="{AA56A0A3-300D-43E4-BAC0-8D3A7FE540FA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제한적 인증기준 채택</a:t>
                </a:r>
              </a:p>
            </p:txBody>
          </p:sp>
        </p:grpSp>
      </p:grp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5859940F-7359-4819-99A6-965A57032EEB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C17EE5F9-313B-4DE0-8037-F766F4F7E941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1BECDFDD-9308-452D-9E74-AA86AB4C49B1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3" name="표 10">
            <a:extLst>
              <a:ext uri="{FF2B5EF4-FFF2-40B4-BE49-F238E27FC236}">
                <a16:creationId xmlns:a16="http://schemas.microsoft.com/office/drawing/2014/main" id="{B31B7D61-4B7A-435A-B910-832418E40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589886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6442808D-697B-4C3E-A162-A60C0445C07F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3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D1F3C834-0748-4BD9-95EA-90E78594D72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55913047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806534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480701"/>
              </p:ext>
            </p:extLst>
          </p:nvPr>
        </p:nvGraphicFramePr>
        <p:xfrm>
          <a:off x="9273920" y="1149144"/>
          <a:ext cx="2917256" cy="9416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79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5946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P00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14407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858604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발적 공시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”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. </a:t>
            </a:r>
            <a:endParaRPr lang="en-US" altLang="ko-KR" sz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sp>
        <p:nvSpPr>
          <p:cNvPr id="71" name="Google Shape;1205;p58">
            <a:extLst>
              <a:ext uri="{FF2B5EF4-FFF2-40B4-BE49-F238E27FC236}">
                <a16:creationId xmlns:a16="http://schemas.microsoft.com/office/drawing/2014/main" id="{0B9AB300-B4C7-4ECD-896E-7F4E4EFAFEC6}"/>
              </a:ext>
            </a:extLst>
          </p:cNvPr>
          <p:cNvSpPr txBox="1"/>
          <p:nvPr/>
        </p:nvSpPr>
        <p:spPr>
          <a:xfrm>
            <a:off x="2279576" y="3454851"/>
            <a:ext cx="4722267" cy="537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5"/>
              <a:buFont typeface="Arial"/>
              <a:buNone/>
            </a:pPr>
            <a:r>
              <a:rPr 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- EU CSRD 2024 ~ 2030 </a:t>
            </a:r>
            <a:r>
              <a:rPr lang="en-US" sz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의무</a:t>
            </a:r>
            <a:r>
              <a:rPr 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 </a:t>
            </a:r>
            <a:r>
              <a:rPr lang="en-US" sz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보고</a:t>
            </a:r>
            <a:r>
              <a:rPr 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 </a:t>
            </a:r>
            <a:r>
              <a:rPr lang="en-US" sz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대상에는</a:t>
            </a:r>
            <a:r>
              <a:rPr 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 </a:t>
            </a:r>
            <a:r>
              <a:rPr lang="en-US" sz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포함되지</a:t>
            </a:r>
            <a:r>
              <a:rPr lang="en-US" sz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 </a:t>
            </a:r>
            <a:r>
              <a:rPr lang="en-US" sz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Arial"/>
              </a:rPr>
              <a:t>않습니다</a:t>
            </a:r>
            <a:r>
              <a:rPr lang="en-US" sz="975" b="0" i="0" u="none" strike="noStrike" cap="none" dirty="0">
                <a:solidFill>
                  <a:srgbClr val="0C0C0C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br>
              <a:rPr lang="en-US" sz="975" b="0" i="0" u="none" strike="noStrike" cap="none" dirty="0">
                <a:solidFill>
                  <a:srgbClr val="0C0C0C"/>
                </a:solidFill>
                <a:latin typeface="Arial"/>
                <a:ea typeface="Arial"/>
                <a:cs typeface="Arial"/>
                <a:sym typeface="Arial"/>
              </a:rPr>
            </a:br>
            <a:endParaRPr sz="731" b="0" i="0" u="sng" strike="noStrike" cap="none" dirty="0">
              <a:solidFill>
                <a:srgbClr val="0070C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AB395448-DC81-4E5B-AF2C-627D54E9A3C8}"/>
              </a:ext>
            </a:extLst>
          </p:cNvPr>
          <p:cNvSpPr/>
          <p:nvPr/>
        </p:nvSpPr>
        <p:spPr>
          <a:xfrm>
            <a:off x="3286303" y="4480572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solidFill>
                  <a:schemeClr val="lt1"/>
                </a:solidFill>
              </a:rPr>
              <a:t>▶ </a:t>
            </a:r>
            <a:r>
              <a:rPr lang="en-US" altLang="ko-KR" sz="1050" b="1" dirty="0">
                <a:solidFill>
                  <a:schemeClr val="lt1"/>
                </a:solidFill>
              </a:rPr>
              <a:t>ESG </a:t>
            </a:r>
            <a:r>
              <a:rPr lang="en-US" altLang="ko-KR" sz="1050" b="1" dirty="0" err="1">
                <a:solidFill>
                  <a:schemeClr val="lt1"/>
                </a:solidFill>
              </a:rPr>
              <a:t>경영</a:t>
            </a:r>
            <a:r>
              <a:rPr lang="en-US" altLang="ko-KR" sz="1050" b="1" dirty="0">
                <a:solidFill>
                  <a:schemeClr val="lt1"/>
                </a:solidFill>
              </a:rPr>
              <a:t> </a:t>
            </a:r>
            <a:r>
              <a:rPr lang="en-US" altLang="ko-KR" sz="1050" b="1" dirty="0" err="1">
                <a:solidFill>
                  <a:schemeClr val="lt1"/>
                </a:solidFill>
              </a:rPr>
              <a:t>진단</a:t>
            </a:r>
            <a:r>
              <a:rPr lang="en-US" altLang="ko-KR" sz="105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하러</a:t>
            </a:r>
            <a:r>
              <a:rPr lang="en-US" altLang="ko-KR" sz="105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altLang="ko-KR" sz="1050" b="1" i="0" u="none" strike="noStrike" cap="none" dirty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가기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C39E3E45-748D-4699-B379-D5DD8CBBB92D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9F5444BE-7A0A-45C4-8004-F720B99FCE5E}"/>
              </a:ext>
            </a:extLst>
          </p:cNvPr>
          <p:cNvSpPr/>
          <p:nvPr/>
        </p:nvSpPr>
        <p:spPr>
          <a:xfrm>
            <a:off x="3221628" y="44187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969B7584-D27B-4798-971A-9564DC25A283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4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88EF91E4-B20B-4327-881D-E550E09A09E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441779277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73148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5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524795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종속기업을 보유한 모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9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8)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연결공시 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46363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97662665-B6B8-4245-8420-7A2C29EDB514}"/>
              </a:ext>
            </a:extLst>
          </p:cNvPr>
          <p:cNvGrpSpPr/>
          <p:nvPr/>
        </p:nvGrpSpPr>
        <p:grpSpPr>
          <a:xfrm>
            <a:off x="1687323" y="3426675"/>
            <a:ext cx="6064860" cy="1508847"/>
            <a:chOff x="3170127" y="3426675"/>
            <a:chExt cx="4582056" cy="1508847"/>
          </a:xfrm>
        </p:grpSpPr>
        <p:sp>
          <p:nvSpPr>
            <p:cNvPr id="106" name="Google Shape;3213;p402">
              <a:extLst>
                <a:ext uri="{FF2B5EF4-FFF2-40B4-BE49-F238E27FC236}">
                  <a16:creationId xmlns:a16="http://schemas.microsoft.com/office/drawing/2014/main" id="{F2BC988D-08D0-4C9C-A3F6-25E0478F946A}"/>
                </a:ext>
              </a:extLst>
            </p:cNvPr>
            <p:cNvSpPr txBox="1"/>
            <p:nvPr/>
          </p:nvSpPr>
          <p:spPr>
            <a:xfrm>
              <a:off x="5317333" y="4674976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8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7" name="Google Shape;3217;p402">
              <a:extLst>
                <a:ext uri="{FF2B5EF4-FFF2-40B4-BE49-F238E27FC236}">
                  <a16:creationId xmlns:a16="http://schemas.microsoft.com/office/drawing/2014/main" id="{F755668E-E061-4CAE-9B8F-998964137C74}"/>
                </a:ext>
              </a:extLst>
            </p:cNvPr>
            <p:cNvSpPr txBox="1"/>
            <p:nvPr/>
          </p:nvSpPr>
          <p:spPr>
            <a:xfrm>
              <a:off x="3170127" y="4674977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6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8" name="Google Shape;3220;p402">
              <a:extLst>
                <a:ext uri="{FF2B5EF4-FFF2-40B4-BE49-F238E27FC236}">
                  <a16:creationId xmlns:a16="http://schemas.microsoft.com/office/drawing/2014/main" id="{175A397B-F1FD-4893-919E-BB7199D9F4EA}"/>
                </a:ext>
              </a:extLst>
            </p:cNvPr>
            <p:cNvSpPr txBox="1"/>
            <p:nvPr/>
          </p:nvSpPr>
          <p:spPr>
            <a:xfrm>
              <a:off x="6390937" y="4674976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9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19" name="Google Shape;3217;p402">
              <a:extLst>
                <a:ext uri="{FF2B5EF4-FFF2-40B4-BE49-F238E27FC236}">
                  <a16:creationId xmlns:a16="http://schemas.microsoft.com/office/drawing/2014/main" id="{76550150-93DE-4449-9557-AA63583E3141}"/>
                </a:ext>
              </a:extLst>
            </p:cNvPr>
            <p:cNvSpPr txBox="1"/>
            <p:nvPr/>
          </p:nvSpPr>
          <p:spPr>
            <a:xfrm>
              <a:off x="4243730" y="4674969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7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9AED2FFE-5B0A-48F9-BCD1-4205505AF6F1}"/>
                </a:ext>
              </a:extLst>
            </p:cNvPr>
            <p:cNvGrpSpPr/>
            <p:nvPr/>
          </p:nvGrpSpPr>
          <p:grpSpPr>
            <a:xfrm>
              <a:off x="3655349" y="3433124"/>
              <a:ext cx="1728191" cy="1231731"/>
              <a:chOff x="3655349" y="3305528"/>
              <a:chExt cx="1728191" cy="1231731"/>
            </a:xfrm>
          </p:grpSpPr>
          <p:cxnSp>
            <p:nvCxnSpPr>
              <p:cNvPr id="123" name="Google Shape;1462;p3">
                <a:extLst>
                  <a:ext uri="{FF2B5EF4-FFF2-40B4-BE49-F238E27FC236}">
                    <a16:creationId xmlns:a16="http://schemas.microsoft.com/office/drawing/2014/main" id="{D1B891E8-3F1C-4A4D-8DA1-60BD1AB47A4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A886BBE3-9C99-4E35-9AAA-0CBABD703D15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6.10 ~</a:t>
                </a:r>
              </a:p>
            </p:txBody>
          </p:sp>
          <p:sp>
            <p:nvSpPr>
              <p:cNvPr id="125" name="Google Shape;1464;p3">
                <a:extLst>
                  <a:ext uri="{FF2B5EF4-FFF2-40B4-BE49-F238E27FC236}">
                    <a16:creationId xmlns:a16="http://schemas.microsoft.com/office/drawing/2014/main" id="{EFE612E4-796E-4B9D-96B7-E1E7AFBB738E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제한적 인증기준 채택</a:t>
                </a:r>
              </a:p>
            </p:txBody>
          </p:sp>
        </p:grp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C97D6E87-8888-41E2-A948-41EFD08CEDC2}"/>
                </a:ext>
              </a:extLst>
            </p:cNvPr>
            <p:cNvGrpSpPr/>
            <p:nvPr/>
          </p:nvGrpSpPr>
          <p:grpSpPr>
            <a:xfrm>
              <a:off x="5809597" y="3426675"/>
              <a:ext cx="1728191" cy="1231731"/>
              <a:chOff x="3655349" y="3305528"/>
              <a:chExt cx="1728191" cy="1231731"/>
            </a:xfrm>
          </p:grpSpPr>
          <p:cxnSp>
            <p:nvCxnSpPr>
              <p:cNvPr id="127" name="Google Shape;1462;p3">
                <a:extLst>
                  <a:ext uri="{FF2B5EF4-FFF2-40B4-BE49-F238E27FC236}">
                    <a16:creationId xmlns:a16="http://schemas.microsoft.com/office/drawing/2014/main" id="{25BB69F7-9B13-4B59-991A-95051F3263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B133D0CA-FA71-4DC4-87C4-704E4732C89B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8.10 ~</a:t>
                </a:r>
              </a:p>
            </p:txBody>
          </p:sp>
          <p:sp>
            <p:nvSpPr>
              <p:cNvPr id="129" name="Google Shape;1464;p3">
                <a:extLst>
                  <a:ext uri="{FF2B5EF4-FFF2-40B4-BE49-F238E27FC236}">
                    <a16:creationId xmlns:a16="http://schemas.microsoft.com/office/drawing/2014/main" id="{C883C6D2-5348-4E8B-8797-E861A6FFA98F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합리적 인증기준 채택</a:t>
                </a:r>
              </a:p>
            </p:txBody>
          </p:sp>
        </p:grp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139E90E3-BAAC-40B3-B2D5-986BAE92850A}"/>
                </a:ext>
              </a:extLst>
            </p:cNvPr>
            <p:cNvGrpSpPr/>
            <p:nvPr/>
          </p:nvGrpSpPr>
          <p:grpSpPr>
            <a:xfrm>
              <a:off x="6479182" y="4033627"/>
              <a:ext cx="1273001" cy="649067"/>
              <a:chOff x="2183875" y="3315563"/>
              <a:chExt cx="1273001" cy="649067"/>
            </a:xfrm>
          </p:grpSpPr>
          <p:cxnSp>
            <p:nvCxnSpPr>
              <p:cNvPr id="81" name="Google Shape;1462;p3">
                <a:extLst>
                  <a:ext uri="{FF2B5EF4-FFF2-40B4-BE49-F238E27FC236}">
                    <a16:creationId xmlns:a16="http://schemas.microsoft.com/office/drawing/2014/main" id="{3157ACF2-40D1-40AB-993E-C3385FFBC31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83875" y="3318974"/>
                <a:ext cx="0" cy="645656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82" name="Google Shape;1464;p3">
                <a:extLst>
                  <a:ext uri="{FF2B5EF4-FFF2-40B4-BE49-F238E27FC236}">
                    <a16:creationId xmlns:a16="http://schemas.microsoft.com/office/drawing/2014/main" id="{074ED000-40ED-421D-A1CF-9CCBF0B4A6D0}"/>
                  </a:ext>
                </a:extLst>
              </p:cNvPr>
              <p:cNvSpPr/>
              <p:nvPr/>
            </p:nvSpPr>
            <p:spPr>
              <a:xfrm>
                <a:off x="2257683" y="3577203"/>
                <a:ext cx="1199193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CSRD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연결 공시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endParaRPr>
              </a:p>
            </p:txBody>
          </p:sp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E9A5DBA3-576A-4F82-BA63-37A9C6F4C60C}"/>
                  </a:ext>
                </a:extLst>
              </p:cNvPr>
              <p:cNvSpPr/>
              <p:nvPr/>
            </p:nvSpPr>
            <p:spPr>
              <a:xfrm>
                <a:off x="2246505" y="3315563"/>
                <a:ext cx="818628" cy="2000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9.1.1 ~</a:t>
                </a:r>
              </a:p>
            </p:txBody>
          </p:sp>
        </p:grpSp>
      </p:grp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BCE24EA6-C716-4D0B-BC6A-2E8391612C74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5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956BD8DF-7EA8-4376-AEA3-C59056886010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4046A45E-5739-4C5A-BEB4-D44BCBAF1F55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D41B0A43-6FAC-4883-B804-4C9A7A6ACB1F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1" name="표 10">
            <a:extLst>
              <a:ext uri="{FF2B5EF4-FFF2-40B4-BE49-F238E27FC236}">
                <a16:creationId xmlns:a16="http://schemas.microsoft.com/office/drawing/2014/main" id="{D1FB8004-9474-46DF-8D97-1CDD4EF30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068490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C0D7FE7E-06E4-46B5-8A51-0B52DE02C00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173840491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406749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03502" y="2098507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524795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FRD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5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4)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대상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종속기업을 보유한 모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9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8)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연결공시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대상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46363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3213;p402">
            <a:extLst>
              <a:ext uri="{FF2B5EF4-FFF2-40B4-BE49-F238E27FC236}">
                <a16:creationId xmlns:a16="http://schemas.microsoft.com/office/drawing/2014/main" id="{F2BC988D-08D0-4C9C-A3F6-25E0478F946A}"/>
              </a:ext>
            </a:extLst>
          </p:cNvPr>
          <p:cNvSpPr txBox="1"/>
          <p:nvPr/>
        </p:nvSpPr>
        <p:spPr>
          <a:xfrm>
            <a:off x="5317333" y="4674976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8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7" name="Google Shape;3217;p402">
            <a:extLst>
              <a:ext uri="{FF2B5EF4-FFF2-40B4-BE49-F238E27FC236}">
                <a16:creationId xmlns:a16="http://schemas.microsoft.com/office/drawing/2014/main" id="{F755668E-E061-4CAE-9B8F-998964137C74}"/>
              </a:ext>
            </a:extLst>
          </p:cNvPr>
          <p:cNvSpPr txBox="1"/>
          <p:nvPr/>
        </p:nvSpPr>
        <p:spPr>
          <a:xfrm>
            <a:off x="3170127" y="4674977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Tx/>
              <a:buNone/>
              <a:tabLst/>
              <a:defRPr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6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8" name="Google Shape;3220;p402">
            <a:extLst>
              <a:ext uri="{FF2B5EF4-FFF2-40B4-BE49-F238E27FC236}">
                <a16:creationId xmlns:a16="http://schemas.microsoft.com/office/drawing/2014/main" id="{175A397B-F1FD-4893-919E-BB7199D9F4EA}"/>
              </a:ext>
            </a:extLst>
          </p:cNvPr>
          <p:cNvSpPr txBox="1"/>
          <p:nvPr/>
        </p:nvSpPr>
        <p:spPr>
          <a:xfrm>
            <a:off x="6390937" y="4674976"/>
            <a:ext cx="648000" cy="26054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9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09" name="Google Shape;3223;p402">
            <a:extLst>
              <a:ext uri="{FF2B5EF4-FFF2-40B4-BE49-F238E27FC236}">
                <a16:creationId xmlns:a16="http://schemas.microsoft.com/office/drawing/2014/main" id="{558F9AEE-A81C-46C0-8C18-ED32BBD3B985}"/>
              </a:ext>
            </a:extLst>
          </p:cNvPr>
          <p:cNvSpPr txBox="1"/>
          <p:nvPr/>
        </p:nvSpPr>
        <p:spPr>
          <a:xfrm>
            <a:off x="2096524" y="4674977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35100" tIns="74283" rIns="35100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5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3217;p402">
            <a:extLst>
              <a:ext uri="{FF2B5EF4-FFF2-40B4-BE49-F238E27FC236}">
                <a16:creationId xmlns:a16="http://schemas.microsoft.com/office/drawing/2014/main" id="{76550150-93DE-4449-9557-AA63583E3141}"/>
              </a:ext>
            </a:extLst>
          </p:cNvPr>
          <p:cNvSpPr txBox="1"/>
          <p:nvPr/>
        </p:nvSpPr>
        <p:spPr>
          <a:xfrm>
            <a:off x="4243730" y="4674969"/>
            <a:ext cx="648000" cy="254622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 algn="ctr" defTabSz="914400">
              <a:buClr>
                <a:srgbClr val="000000"/>
              </a:buClr>
              <a:buSzPts val="1500"/>
            </a:pPr>
            <a:r>
              <a:rPr lang="fr-F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7</a:t>
            </a:r>
            <a:endParaRPr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671DAA11-5DD4-40DD-8690-7000346708AC}"/>
              </a:ext>
            </a:extLst>
          </p:cNvPr>
          <p:cNvGrpSpPr/>
          <p:nvPr/>
        </p:nvGrpSpPr>
        <p:grpSpPr>
          <a:xfrm>
            <a:off x="2183875" y="3882901"/>
            <a:ext cx="973808" cy="781954"/>
            <a:chOff x="2183875" y="3755305"/>
            <a:chExt cx="973808" cy="781954"/>
          </a:xfrm>
        </p:grpSpPr>
        <p:cxnSp>
          <p:nvCxnSpPr>
            <p:cNvPr id="111" name="Google Shape;1462;p3">
              <a:extLst>
                <a:ext uri="{FF2B5EF4-FFF2-40B4-BE49-F238E27FC236}">
                  <a16:creationId xmlns:a16="http://schemas.microsoft.com/office/drawing/2014/main" id="{4023925E-F027-4D30-988C-B5C56D3D3B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3875" y="3755305"/>
              <a:ext cx="0" cy="781954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2" name="Google Shape;1464;p3">
              <a:extLst>
                <a:ext uri="{FF2B5EF4-FFF2-40B4-BE49-F238E27FC236}">
                  <a16:creationId xmlns:a16="http://schemas.microsoft.com/office/drawing/2014/main" id="{8427ECBA-39C5-49D8-AE44-6DE806AC7FE1}"/>
                </a:ext>
              </a:extLst>
            </p:cNvPr>
            <p:cNvSpPr/>
            <p:nvPr/>
          </p:nvSpPr>
          <p:spPr>
            <a:xfrm>
              <a:off x="2271694" y="4020061"/>
              <a:ext cx="88598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CSRD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90D1360E-7215-4E77-9B5C-E834E50F4F7D}"/>
                </a:ext>
              </a:extLst>
            </p:cNvPr>
            <p:cNvSpPr/>
            <p:nvPr/>
          </p:nvSpPr>
          <p:spPr>
            <a:xfrm>
              <a:off x="2260516" y="3758421"/>
              <a:ext cx="818628" cy="2000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5.1.1 ~</a:t>
              </a: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9AED2FFE-5B0A-48F9-BCD1-4205505AF6F1}"/>
              </a:ext>
            </a:extLst>
          </p:cNvPr>
          <p:cNvGrpSpPr/>
          <p:nvPr/>
        </p:nvGrpSpPr>
        <p:grpSpPr>
          <a:xfrm>
            <a:off x="3655349" y="3433124"/>
            <a:ext cx="1728191" cy="1231731"/>
            <a:chOff x="3655349" y="3305528"/>
            <a:chExt cx="1728191" cy="1231731"/>
          </a:xfrm>
        </p:grpSpPr>
        <p:cxnSp>
          <p:nvCxnSpPr>
            <p:cNvPr id="123" name="Google Shape;1462;p3">
              <a:extLst>
                <a:ext uri="{FF2B5EF4-FFF2-40B4-BE49-F238E27FC236}">
                  <a16:creationId xmlns:a16="http://schemas.microsoft.com/office/drawing/2014/main" id="{D1B891E8-3F1C-4A4D-8DA1-60BD1AB47A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A886BBE3-9C99-4E35-9AAA-0CBABD703D15}"/>
                </a:ext>
              </a:extLst>
            </p:cNvPr>
            <p:cNvSpPr/>
            <p:nvPr/>
          </p:nvSpPr>
          <p:spPr>
            <a:xfrm>
              <a:off x="3699742" y="330552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6.10 ~</a:t>
              </a:r>
            </a:p>
          </p:txBody>
        </p:sp>
        <p:sp>
          <p:nvSpPr>
            <p:cNvPr id="125" name="Google Shape;1464;p3">
              <a:extLst>
                <a:ext uri="{FF2B5EF4-FFF2-40B4-BE49-F238E27FC236}">
                  <a16:creationId xmlns:a16="http://schemas.microsoft.com/office/drawing/2014/main" id="{EFE612E4-796E-4B9D-96B7-E1E7AFBB738E}"/>
                </a:ext>
              </a:extLst>
            </p:cNvPr>
            <p:cNvSpPr/>
            <p:nvPr/>
          </p:nvSpPr>
          <p:spPr>
            <a:xfrm>
              <a:off x="3711571" y="357720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제한적 인증기준 채택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C97D6E87-8888-41E2-A948-41EFD08CEDC2}"/>
              </a:ext>
            </a:extLst>
          </p:cNvPr>
          <p:cNvGrpSpPr/>
          <p:nvPr/>
        </p:nvGrpSpPr>
        <p:grpSpPr>
          <a:xfrm>
            <a:off x="5809597" y="3426675"/>
            <a:ext cx="1728191" cy="1231731"/>
            <a:chOff x="3655349" y="3305528"/>
            <a:chExt cx="1728191" cy="1231731"/>
          </a:xfrm>
        </p:grpSpPr>
        <p:cxnSp>
          <p:nvCxnSpPr>
            <p:cNvPr id="127" name="Google Shape;1462;p3">
              <a:extLst>
                <a:ext uri="{FF2B5EF4-FFF2-40B4-BE49-F238E27FC236}">
                  <a16:creationId xmlns:a16="http://schemas.microsoft.com/office/drawing/2014/main" id="{25BB69F7-9B13-4B59-991A-95051F3263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5349" y="3310359"/>
              <a:ext cx="0" cy="1226900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B133D0CA-FA71-4DC4-87C4-704E4732C89B}"/>
                </a:ext>
              </a:extLst>
            </p:cNvPr>
            <p:cNvSpPr/>
            <p:nvPr/>
          </p:nvSpPr>
          <p:spPr>
            <a:xfrm>
              <a:off x="3699742" y="3305528"/>
              <a:ext cx="818628" cy="2000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8.10 ~</a:t>
              </a:r>
            </a:p>
          </p:txBody>
        </p:sp>
        <p:sp>
          <p:nvSpPr>
            <p:cNvPr id="129" name="Google Shape;1464;p3">
              <a:extLst>
                <a:ext uri="{FF2B5EF4-FFF2-40B4-BE49-F238E27FC236}">
                  <a16:creationId xmlns:a16="http://schemas.microsoft.com/office/drawing/2014/main" id="{C883C6D2-5348-4E8B-8797-E861A6FFA98F}"/>
                </a:ext>
              </a:extLst>
            </p:cNvPr>
            <p:cNvSpPr/>
            <p:nvPr/>
          </p:nvSpPr>
          <p:spPr>
            <a:xfrm>
              <a:off x="3711571" y="3577203"/>
              <a:ext cx="1671969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EU,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합리적 인증기준 채택</a:t>
              </a:r>
            </a:p>
          </p:txBody>
        </p:sp>
      </p:grp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D649A6CA-E25F-4DD2-A80E-3F84C96AA829}"/>
              </a:ext>
            </a:extLst>
          </p:cNvPr>
          <p:cNvGrpSpPr/>
          <p:nvPr/>
        </p:nvGrpSpPr>
        <p:grpSpPr>
          <a:xfrm>
            <a:off x="6479182" y="4033627"/>
            <a:ext cx="1273001" cy="649067"/>
            <a:chOff x="2183875" y="3315563"/>
            <a:chExt cx="1273001" cy="649067"/>
          </a:xfrm>
        </p:grpSpPr>
        <p:cxnSp>
          <p:nvCxnSpPr>
            <p:cNvPr id="82" name="Google Shape;1462;p3">
              <a:extLst>
                <a:ext uri="{FF2B5EF4-FFF2-40B4-BE49-F238E27FC236}">
                  <a16:creationId xmlns:a16="http://schemas.microsoft.com/office/drawing/2014/main" id="{0BF46599-0406-4801-B850-C10EADAF20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3875" y="3318974"/>
              <a:ext cx="0" cy="645656"/>
            </a:xfrm>
            <a:prstGeom prst="straightConnector1">
              <a:avLst/>
            </a:prstGeom>
            <a:noFill/>
            <a:ln w="12700" cap="flat" cmpd="sng">
              <a:solidFill>
                <a:srgbClr val="C7C7C7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6" name="Google Shape;1464;p3">
              <a:extLst>
                <a:ext uri="{FF2B5EF4-FFF2-40B4-BE49-F238E27FC236}">
                  <a16:creationId xmlns:a16="http://schemas.microsoft.com/office/drawing/2014/main" id="{46987491-D76D-4FAA-8130-E94EC0C4D9FA}"/>
                </a:ext>
              </a:extLst>
            </p:cNvPr>
            <p:cNvSpPr/>
            <p:nvPr/>
          </p:nvSpPr>
          <p:spPr>
            <a:xfrm>
              <a:off x="2257683" y="3577203"/>
              <a:ext cx="1199193" cy="184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850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CSRD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연결 공시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BBD98D04-2267-48C3-A345-08923EBBA88F}"/>
                </a:ext>
              </a:extLst>
            </p:cNvPr>
            <p:cNvSpPr/>
            <p:nvPr/>
          </p:nvSpPr>
          <p:spPr>
            <a:xfrm>
              <a:off x="2246505" y="3315563"/>
              <a:ext cx="818628" cy="20008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B536A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9.1.1 ~</a:t>
              </a:r>
            </a:p>
          </p:txBody>
        </p:sp>
      </p:grp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B28F4C70-0EE4-4AB5-8A09-21F24E7DC1F2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0B1C3488-609B-436D-B65A-74E0A4028DF4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B14D9D02-D21C-4641-A550-64165C608897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2" name="표 10">
            <a:extLst>
              <a:ext uri="{FF2B5EF4-FFF2-40B4-BE49-F238E27FC236}">
                <a16:creationId xmlns:a16="http://schemas.microsoft.com/office/drawing/2014/main" id="{B36CBC4F-D4A1-4735-9808-7929C4410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068490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71F8069-B6D2-4F5E-BC0F-850054CA3FB3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6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926C1679-4C96-4333-970A-AD80C5D0D0B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464117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그림 109">
            <a:extLst>
              <a:ext uri="{FF2B5EF4-FFF2-40B4-BE49-F238E27FC236}">
                <a16:creationId xmlns:a16="http://schemas.microsoft.com/office/drawing/2014/main" id="{442F1034-019F-42F0-A2C7-B53038CE5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648" y="1289969"/>
            <a:ext cx="8651302" cy="1744096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52F139EE-7752-4B38-8745-7B32574927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8733"/>
          <a:stretch/>
        </p:blipFill>
        <p:spPr>
          <a:xfrm>
            <a:off x="344648" y="693623"/>
            <a:ext cx="1839227" cy="575137"/>
          </a:xfrm>
          <a:prstGeom prst="rect">
            <a:avLst/>
          </a:prstGeom>
        </p:spPr>
      </p:pic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DCB4292-7FC2-47FC-817D-1C9B716A6AC7}"/>
              </a:ext>
            </a:extLst>
          </p:cNvPr>
          <p:cNvSpPr/>
          <p:nvPr/>
        </p:nvSpPr>
        <p:spPr>
          <a:xfrm>
            <a:off x="677855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C656BEAF-CB09-4C72-94CA-9B64EBE1D006}"/>
              </a:ext>
            </a:extLst>
          </p:cNvPr>
          <p:cNvSpPr/>
          <p:nvPr/>
        </p:nvSpPr>
        <p:spPr>
          <a:xfrm>
            <a:off x="2730718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FCDA55C0-AEF9-4254-921A-FB0E38FCF8B2}"/>
              </a:ext>
            </a:extLst>
          </p:cNvPr>
          <p:cNvSpPr/>
          <p:nvPr/>
        </p:nvSpPr>
        <p:spPr>
          <a:xfrm>
            <a:off x="4783581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0BA3EDD3-A301-416F-8EB1-F0002950414B}"/>
              </a:ext>
            </a:extLst>
          </p:cNvPr>
          <p:cNvSpPr/>
          <p:nvPr/>
        </p:nvSpPr>
        <p:spPr>
          <a:xfrm>
            <a:off x="6845870" y="4197882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3D684A01-450E-4E3B-9FC4-0A53F872CE5B}"/>
              </a:ext>
            </a:extLst>
          </p:cNvPr>
          <p:cNvSpPr/>
          <p:nvPr/>
        </p:nvSpPr>
        <p:spPr>
          <a:xfrm>
            <a:off x="742463" y="4260335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B93FFDD3-5B85-4FCB-B952-4767C3A27E9F}"/>
              </a:ext>
            </a:extLst>
          </p:cNvPr>
          <p:cNvSpPr/>
          <p:nvPr/>
        </p:nvSpPr>
        <p:spPr>
          <a:xfrm>
            <a:off x="4862871" y="4261885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3495C0B1-6354-496C-9BFE-154AB63FC4D3}"/>
              </a:ext>
            </a:extLst>
          </p:cNvPr>
          <p:cNvSpPr/>
          <p:nvPr/>
        </p:nvSpPr>
        <p:spPr>
          <a:xfrm>
            <a:off x="6925508" y="4258508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6E39F4E0-816D-49C4-AAAA-FF7391F2FDB2}"/>
              </a:ext>
            </a:extLst>
          </p:cNvPr>
          <p:cNvSpPr/>
          <p:nvPr/>
        </p:nvSpPr>
        <p:spPr>
          <a:xfrm>
            <a:off x="3464603" y="4249532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93C329FB-893A-4951-BA23-F9E4FB1CA8CF}"/>
              </a:ext>
            </a:extLst>
          </p:cNvPr>
          <p:cNvSpPr/>
          <p:nvPr/>
        </p:nvSpPr>
        <p:spPr>
          <a:xfrm>
            <a:off x="2800062" y="4260335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2C3A8507-CCBD-4A08-B0A3-6B598F5FC6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1650" y="4352061"/>
            <a:ext cx="418299" cy="377420"/>
          </a:xfrm>
          <a:prstGeom prst="rect">
            <a:avLst/>
          </a:prstGeom>
        </p:spPr>
      </p:pic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93D5EF4-8FA9-4FA6-98CD-0B48B31FD114}"/>
              </a:ext>
            </a:extLst>
          </p:cNvPr>
          <p:cNvSpPr/>
          <p:nvPr/>
        </p:nvSpPr>
        <p:spPr>
          <a:xfrm>
            <a:off x="5430984" y="4242947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 및 사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AB4C6524-0C64-4549-8E87-3D0ECA6D6CB0}"/>
              </a:ext>
            </a:extLst>
          </p:cNvPr>
          <p:cNvSpPr/>
          <p:nvPr/>
        </p:nvSpPr>
        <p:spPr>
          <a:xfrm>
            <a:off x="1362322" y="4242946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소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4" name="그림 103">
            <a:extLst>
              <a:ext uri="{FF2B5EF4-FFF2-40B4-BE49-F238E27FC236}">
                <a16:creationId xmlns:a16="http://schemas.microsoft.com/office/drawing/2014/main" id="{C35D9E61-3F5A-478D-99B6-C38C3B0CBE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5113" y="4346563"/>
            <a:ext cx="322214" cy="322214"/>
          </a:xfrm>
          <a:prstGeom prst="rect">
            <a:avLst/>
          </a:prstGeom>
        </p:spPr>
      </p:pic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3BC74F2C-C20C-40C8-8695-5082575B0583}"/>
              </a:ext>
            </a:extLst>
          </p:cNvPr>
          <p:cNvSpPr/>
          <p:nvPr/>
        </p:nvSpPr>
        <p:spPr>
          <a:xfrm>
            <a:off x="7431536" y="4255027"/>
            <a:ext cx="1248924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amp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4EA2090-F406-4411-80CF-5F040F56FED6}"/>
              </a:ext>
            </a:extLst>
          </p:cNvPr>
          <p:cNvSpPr/>
          <p:nvPr/>
        </p:nvSpPr>
        <p:spPr>
          <a:xfrm>
            <a:off x="332993" y="3036702"/>
            <a:ext cx="8647314" cy="8782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7A7E0999-0BD7-4AFA-B372-9CE07EEA3322}"/>
              </a:ext>
            </a:extLst>
          </p:cNvPr>
          <p:cNvGrpSpPr/>
          <p:nvPr/>
        </p:nvGrpSpPr>
        <p:grpSpPr>
          <a:xfrm>
            <a:off x="1128892" y="3301029"/>
            <a:ext cx="5809660" cy="393370"/>
            <a:chOff x="2091746" y="3232315"/>
            <a:chExt cx="5714339" cy="393370"/>
          </a:xfrm>
        </p:grpSpPr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D192F6ED-59BC-40E2-89ED-15692CEB68D0}"/>
                </a:ext>
              </a:extLst>
            </p:cNvPr>
            <p:cNvSpPr/>
            <p:nvPr/>
          </p:nvSpPr>
          <p:spPr>
            <a:xfrm>
              <a:off x="2155750" y="3232315"/>
              <a:ext cx="5650335" cy="39337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96A26026-3286-42D6-A7D2-E2F207DF4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20826" y="3329622"/>
              <a:ext cx="216024" cy="216024"/>
            </a:xfrm>
            <a:prstGeom prst="rect">
              <a:avLst/>
            </a:prstGeom>
          </p:spPr>
        </p:pic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B1AA6429-E40E-4DBA-9DC8-13C5FB0457D3}"/>
                </a:ext>
              </a:extLst>
            </p:cNvPr>
            <p:cNvCxnSpPr>
              <a:cxnSpLocks/>
            </p:cNvCxnSpPr>
            <p:nvPr/>
          </p:nvCxnSpPr>
          <p:spPr>
            <a:xfrm>
              <a:off x="2961556" y="3301408"/>
              <a:ext cx="0" cy="232818"/>
            </a:xfrm>
            <a:prstGeom prst="line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1FD87F00-A2BE-48C0-910A-71AE8505704A}"/>
                </a:ext>
              </a:extLst>
            </p:cNvPr>
            <p:cNvSpPr/>
            <p:nvPr/>
          </p:nvSpPr>
          <p:spPr>
            <a:xfrm>
              <a:off x="2091746" y="3319765"/>
              <a:ext cx="723956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통합검색</a:t>
              </a:r>
            </a:p>
          </p:txBody>
        </p:sp>
        <p:sp>
          <p:nvSpPr>
            <p:cNvPr id="48" name="이등변 삼각형 47">
              <a:extLst>
                <a:ext uri="{FF2B5EF4-FFF2-40B4-BE49-F238E27FC236}">
                  <a16:creationId xmlns:a16="http://schemas.microsoft.com/office/drawing/2014/main" id="{B8C97647-CF67-488D-90DA-307ABCDC4244}"/>
                </a:ext>
              </a:extLst>
            </p:cNvPr>
            <p:cNvSpPr/>
            <p:nvPr/>
          </p:nvSpPr>
          <p:spPr>
            <a:xfrm flipH="1" flipV="1">
              <a:off x="2773692" y="3404235"/>
              <a:ext cx="64800" cy="45719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92" name="그림 91">
            <a:extLst>
              <a:ext uri="{FF2B5EF4-FFF2-40B4-BE49-F238E27FC236}">
                <a16:creationId xmlns:a16="http://schemas.microsoft.com/office/drawing/2014/main" id="{796B737D-E0F8-4EA6-A3F1-5A7D260819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00983" y="4308812"/>
            <a:ext cx="549652" cy="370979"/>
          </a:xfrm>
          <a:prstGeom prst="rect">
            <a:avLst/>
          </a:prstGeom>
        </p:spPr>
      </p:pic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9AEA79AB-8F33-44C8-8235-34EB88839B5D}"/>
              </a:ext>
            </a:extLst>
          </p:cNvPr>
          <p:cNvSpPr/>
          <p:nvPr/>
        </p:nvSpPr>
        <p:spPr>
          <a:xfrm>
            <a:off x="2264737" y="3754102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8" name="그림 107">
            <a:extLst>
              <a:ext uri="{FF2B5EF4-FFF2-40B4-BE49-F238E27FC236}">
                <a16:creationId xmlns:a16="http://schemas.microsoft.com/office/drawing/2014/main" id="{35991832-2275-432E-9D3D-7AC4C44CB4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1319" y="4282026"/>
            <a:ext cx="409968" cy="409968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E9BB857A-E984-4588-A4E8-DE09A7F670EE}"/>
              </a:ext>
            </a:extLst>
          </p:cNvPr>
          <p:cNvSpPr/>
          <p:nvPr/>
        </p:nvSpPr>
        <p:spPr>
          <a:xfrm>
            <a:off x="2413653" y="1049803"/>
            <a:ext cx="5359944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〮계획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〮인증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〮동향</a:t>
            </a:r>
            <a:endParaRPr lang="ko-KR" altLang="en-US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36368BE3-AE4C-4357-BFEF-6647F0F1CDA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5BF00D27-053B-4A03-8630-C1C9F2D10A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650" t="49932"/>
          <a:stretch/>
        </p:blipFill>
        <p:spPr>
          <a:xfrm>
            <a:off x="7978084" y="958332"/>
            <a:ext cx="1068038" cy="287959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8DB630B1-C3DA-4416-806F-F66126D13B31}"/>
              </a:ext>
            </a:extLst>
          </p:cNvPr>
          <p:cNvSpPr/>
          <p:nvPr/>
        </p:nvSpPr>
        <p:spPr>
          <a:xfrm>
            <a:off x="2607710" y="3378499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0262EDEB-D30C-44BA-AAEA-302FC2F1CE78}"/>
              </a:ext>
            </a:extLst>
          </p:cNvPr>
          <p:cNvSpPr/>
          <p:nvPr/>
        </p:nvSpPr>
        <p:spPr>
          <a:xfrm>
            <a:off x="2060119" y="3378519"/>
            <a:ext cx="3509543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어를 입력하세요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94FD0EBF-10BD-4CCF-BAAC-03B886554B8F}"/>
              </a:ext>
            </a:extLst>
          </p:cNvPr>
          <p:cNvSpPr/>
          <p:nvPr/>
        </p:nvSpPr>
        <p:spPr>
          <a:xfrm>
            <a:off x="591705" y="4991226"/>
            <a:ext cx="8189358" cy="127138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2EB5C22-B06D-4247-A01C-1F8FEE67ACDA}"/>
              </a:ext>
            </a:extLst>
          </p:cNvPr>
          <p:cNvSpPr txBox="1"/>
          <p:nvPr/>
        </p:nvSpPr>
        <p:spPr>
          <a:xfrm>
            <a:off x="414692" y="5011765"/>
            <a:ext cx="227341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키워드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 기준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&gt;  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AF70F499-3B0A-42B3-A888-7BA2365B9363}"/>
              </a:ext>
            </a:extLst>
          </p:cNvPr>
          <p:cNvGrpSpPr/>
          <p:nvPr/>
        </p:nvGrpSpPr>
        <p:grpSpPr>
          <a:xfrm>
            <a:off x="8164874" y="5485134"/>
            <a:ext cx="303141" cy="400110"/>
            <a:chOff x="8169123" y="5496769"/>
            <a:chExt cx="303141" cy="400110"/>
          </a:xfrm>
        </p:grpSpPr>
        <p:sp>
          <p:nvSpPr>
            <p:cNvPr id="6" name="타원 5">
              <a:extLst>
                <a:ext uri="{FF2B5EF4-FFF2-40B4-BE49-F238E27FC236}">
                  <a16:creationId xmlns:a16="http://schemas.microsoft.com/office/drawing/2014/main" id="{BB55787A-981F-41F2-85FC-2D53994025F2}"/>
                </a:ext>
              </a:extLst>
            </p:cNvPr>
            <p:cNvSpPr/>
            <p:nvPr/>
          </p:nvSpPr>
          <p:spPr>
            <a:xfrm>
              <a:off x="8184232" y="5568032"/>
              <a:ext cx="288032" cy="28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04CEF0-D001-4A97-9140-D2E716A75D75}"/>
                </a:ext>
              </a:extLst>
            </p:cNvPr>
            <p:cNvSpPr txBox="1"/>
            <p:nvPr/>
          </p:nvSpPr>
          <p:spPr>
            <a:xfrm>
              <a:off x="8169123" y="5496769"/>
              <a:ext cx="2939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>
                  <a:solidFill>
                    <a:schemeClr val="bg1"/>
                  </a:solidFill>
                  <a:latin typeface="+mj-ea"/>
                  <a:ea typeface="+mj-ea"/>
                </a:rPr>
                <a:t>&gt;</a:t>
              </a:r>
              <a:endParaRPr lang="ko-KR" altLang="en-US" sz="20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149" name="그룹 148">
            <a:extLst>
              <a:ext uri="{FF2B5EF4-FFF2-40B4-BE49-F238E27FC236}">
                <a16:creationId xmlns:a16="http://schemas.microsoft.com/office/drawing/2014/main" id="{12A8C0B6-F237-4D0D-AF71-B201435868C6}"/>
              </a:ext>
            </a:extLst>
          </p:cNvPr>
          <p:cNvGrpSpPr/>
          <p:nvPr/>
        </p:nvGrpSpPr>
        <p:grpSpPr>
          <a:xfrm rot="10800000">
            <a:off x="864475" y="5555069"/>
            <a:ext cx="303141" cy="400110"/>
            <a:chOff x="8169123" y="5496769"/>
            <a:chExt cx="303141" cy="400110"/>
          </a:xfrm>
        </p:grpSpPr>
        <p:sp>
          <p:nvSpPr>
            <p:cNvPr id="150" name="타원 149">
              <a:extLst>
                <a:ext uri="{FF2B5EF4-FFF2-40B4-BE49-F238E27FC236}">
                  <a16:creationId xmlns:a16="http://schemas.microsoft.com/office/drawing/2014/main" id="{411C020D-ABA8-49C2-9FF4-B2FCB3B0B006}"/>
                </a:ext>
              </a:extLst>
            </p:cNvPr>
            <p:cNvSpPr/>
            <p:nvPr/>
          </p:nvSpPr>
          <p:spPr>
            <a:xfrm>
              <a:off x="8184232" y="5568032"/>
              <a:ext cx="288032" cy="28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90D144AA-104C-4597-9E1D-DD0F46BF74F7}"/>
                </a:ext>
              </a:extLst>
            </p:cNvPr>
            <p:cNvSpPr txBox="1"/>
            <p:nvPr/>
          </p:nvSpPr>
          <p:spPr>
            <a:xfrm>
              <a:off x="8169123" y="5496769"/>
              <a:ext cx="2939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>
                  <a:solidFill>
                    <a:schemeClr val="bg1"/>
                  </a:solidFill>
                  <a:latin typeface="+mj-ea"/>
                  <a:ea typeface="+mj-ea"/>
                </a:rPr>
                <a:t>&gt;</a:t>
              </a:r>
              <a:endParaRPr lang="ko-KR" altLang="en-US" sz="20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4" name="직사각형 3">
            <a:extLst>
              <a:ext uri="{FF2B5EF4-FFF2-40B4-BE49-F238E27FC236}">
                <a16:creationId xmlns:a16="http://schemas.microsoft.com/office/drawing/2014/main" id="{97BC5E79-A753-4BFB-BB27-3447D732A8F1}"/>
              </a:ext>
            </a:extLst>
          </p:cNvPr>
          <p:cNvSpPr/>
          <p:nvPr/>
        </p:nvSpPr>
        <p:spPr>
          <a:xfrm>
            <a:off x="7004367" y="3301029"/>
            <a:ext cx="1341277" cy="39462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F7480275-26B6-4EC9-8700-B3293EE2E17F}"/>
              </a:ext>
            </a:extLst>
          </p:cNvPr>
          <p:cNvGrpSpPr/>
          <p:nvPr/>
        </p:nvGrpSpPr>
        <p:grpSpPr>
          <a:xfrm>
            <a:off x="7120311" y="3420926"/>
            <a:ext cx="670682" cy="147963"/>
            <a:chOff x="2523202" y="3699767"/>
            <a:chExt cx="670682" cy="147963"/>
          </a:xfrm>
        </p:grpSpPr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723DB607-3A9E-4350-AD51-1C45CC3D733B}"/>
                </a:ext>
              </a:extLst>
            </p:cNvPr>
            <p:cNvSpPr/>
            <p:nvPr/>
          </p:nvSpPr>
          <p:spPr>
            <a:xfrm>
              <a:off x="2523202" y="3699767"/>
              <a:ext cx="144962" cy="14796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2ACD9A16-8544-42B7-BEF4-2300050C68BA}"/>
                </a:ext>
              </a:extLst>
            </p:cNvPr>
            <p:cNvSpPr/>
            <p:nvPr/>
          </p:nvSpPr>
          <p:spPr>
            <a:xfrm>
              <a:off x="2658146" y="3699767"/>
              <a:ext cx="535738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9BDC84FD-AF5F-4CCF-B270-608AE3F40DF1}"/>
              </a:ext>
            </a:extLst>
          </p:cNvPr>
          <p:cNvGrpSpPr/>
          <p:nvPr/>
        </p:nvGrpSpPr>
        <p:grpSpPr>
          <a:xfrm>
            <a:off x="1233375" y="5355163"/>
            <a:ext cx="6873847" cy="766780"/>
            <a:chOff x="1474705" y="5376238"/>
            <a:chExt cx="6873847" cy="733638"/>
          </a:xfrm>
        </p:grpSpPr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535B935D-4765-430B-A489-9D6633803676}"/>
                </a:ext>
              </a:extLst>
            </p:cNvPr>
            <p:cNvGrpSpPr/>
            <p:nvPr/>
          </p:nvGrpSpPr>
          <p:grpSpPr>
            <a:xfrm>
              <a:off x="1474705" y="5376238"/>
              <a:ext cx="6873847" cy="733638"/>
              <a:chOff x="806329" y="5458896"/>
              <a:chExt cx="5892948" cy="576003"/>
            </a:xfrm>
          </p:grpSpPr>
          <p:sp>
            <p:nvSpPr>
              <p:cNvPr id="125" name="사각형: 둥근 모서리 124">
                <a:extLst>
                  <a:ext uri="{FF2B5EF4-FFF2-40B4-BE49-F238E27FC236}">
                    <a16:creationId xmlns:a16="http://schemas.microsoft.com/office/drawing/2014/main" id="{4E335EA5-5872-4FB6-BDBD-69D17832A6E6}"/>
                  </a:ext>
                </a:extLst>
              </p:cNvPr>
              <p:cNvSpPr/>
              <p:nvPr/>
            </p:nvSpPr>
            <p:spPr>
              <a:xfrm>
                <a:off x="912423" y="5458899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지속가능보고서</a:t>
                </a:r>
              </a:p>
            </p:txBody>
          </p:sp>
          <p:sp>
            <p:nvSpPr>
              <p:cNvPr id="126" name="사각형: 둥근 모서리 125">
                <a:extLst>
                  <a:ext uri="{FF2B5EF4-FFF2-40B4-BE49-F238E27FC236}">
                    <a16:creationId xmlns:a16="http://schemas.microsoft.com/office/drawing/2014/main" id="{C2259DAF-B215-4B89-9A45-FC92A4BA66C2}"/>
                  </a:ext>
                </a:extLst>
              </p:cNvPr>
              <p:cNvSpPr/>
              <p:nvPr/>
            </p:nvSpPr>
            <p:spPr>
              <a:xfrm>
                <a:off x="2856425" y="5458896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</a:t>
                </a:r>
              </a:p>
            </p:txBody>
          </p:sp>
          <p:sp>
            <p:nvSpPr>
              <p:cNvPr id="127" name="사각형: 둥근 모서리 126">
                <a:extLst>
                  <a:ext uri="{FF2B5EF4-FFF2-40B4-BE49-F238E27FC236}">
                    <a16:creationId xmlns:a16="http://schemas.microsoft.com/office/drawing/2014/main" id="{B05B9C90-27B1-4CB3-A8DC-B92191DD410C}"/>
                  </a:ext>
                </a:extLst>
              </p:cNvPr>
              <p:cNvSpPr/>
              <p:nvPr/>
            </p:nvSpPr>
            <p:spPr>
              <a:xfrm>
                <a:off x="4800427" y="5458899"/>
                <a:ext cx="1788482" cy="576000"/>
              </a:xfrm>
              <a:prstGeom prst="round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65000"/>
                  </a:srgbClr>
                </a:solidFill>
              </a:ln>
              <a:effectLst/>
            </p:spPr>
            <p:txBody>
              <a:bodyPr lIns="36000" rIns="36000" rtlCol="0" anchor="t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위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F4C09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. </a:t>
                </a: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 성과</a:t>
                </a: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96C5EBC-2304-49D4-B642-FAE8D2B34A89}"/>
                  </a:ext>
                </a:extLst>
              </p:cNvPr>
              <p:cNvSpPr txBox="1"/>
              <p:nvPr/>
            </p:nvSpPr>
            <p:spPr>
              <a:xfrm>
                <a:off x="806329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시총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0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대 기업 지속가능보고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endParaRPr lang="ko-KR" altLang="en-US" sz="800" b="1" dirty="0">
                  <a:solidFill>
                    <a:srgbClr val="D04A02"/>
                  </a:solidFill>
                  <a:latin typeface="Arial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9E5FA1B-5AE2-4EC0-82B3-70F15C6CB747}"/>
                  </a:ext>
                </a:extLst>
              </p:cNvPr>
              <p:cNvSpPr txBox="1"/>
              <p:nvPr/>
            </p:nvSpPr>
            <p:spPr>
              <a:xfrm>
                <a:off x="2795950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 선언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…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각 국가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…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C6CD721A-C4D5-440A-81E3-16447546CFC6}"/>
                  </a:ext>
                </a:extLst>
              </p:cNvPr>
              <p:cNvSpPr txBox="1"/>
              <p:nvPr/>
            </p:nvSpPr>
            <p:spPr>
              <a:xfrm>
                <a:off x="4694943" y="5813192"/>
                <a:ext cx="2004334" cy="1691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o-KR" altLang="en-US" sz="800" dirty="0">
                    <a:solidFill>
                      <a:srgbClr val="000000"/>
                    </a:solidFill>
                    <a:latin typeface="Arial"/>
                  </a:rPr>
                  <a:t>탄소중립 선언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r>
                  <a:rPr lang="ko-KR" altLang="en-US" sz="800" dirty="0">
                    <a:solidFill>
                      <a:srgbClr val="000000"/>
                    </a:solidFill>
                    <a:latin typeface="Arial"/>
                  </a:rPr>
                  <a:t>각 국가</a:t>
                </a:r>
                <a:r>
                  <a:rPr lang="en-US" altLang="ko-KR" sz="800" dirty="0">
                    <a:solidFill>
                      <a:srgbClr val="000000"/>
                    </a:solidFill>
                    <a:latin typeface="Arial"/>
                  </a:rPr>
                  <a:t>…</a:t>
                </a:r>
                <a:endParaRPr lang="ko-KR" altLang="en-US" sz="800" b="1" dirty="0">
                  <a:solidFill>
                    <a:srgbClr val="D04A02"/>
                  </a:solidFill>
                  <a:latin typeface="Arial"/>
                </a:endParaRPr>
              </a:p>
            </p:txBody>
          </p:sp>
          <p:grpSp>
            <p:nvGrpSpPr>
              <p:cNvPr id="133" name="그룹 132">
                <a:extLst>
                  <a:ext uri="{FF2B5EF4-FFF2-40B4-BE49-F238E27FC236}">
                    <a16:creationId xmlns:a16="http://schemas.microsoft.com/office/drawing/2014/main" id="{AB0B3237-969D-4D42-9CC8-1C7C5A0AF227}"/>
                  </a:ext>
                </a:extLst>
              </p:cNvPr>
              <p:cNvGrpSpPr/>
              <p:nvPr/>
            </p:nvGrpSpPr>
            <p:grpSpPr>
              <a:xfrm>
                <a:off x="1024922" y="5680374"/>
                <a:ext cx="1531077" cy="139996"/>
                <a:chOff x="1562696" y="2493823"/>
                <a:chExt cx="1417820" cy="139996"/>
              </a:xfrm>
            </p:grpSpPr>
            <p:sp>
              <p:nvSpPr>
                <p:cNvPr id="134" name="직사각형 133">
                  <a:extLst>
                    <a:ext uri="{FF2B5EF4-FFF2-40B4-BE49-F238E27FC236}">
                      <a16:creationId xmlns:a16="http://schemas.microsoft.com/office/drawing/2014/main" id="{0089CB91-9E42-43E6-8E48-D4438C0B9398}"/>
                    </a:ext>
                  </a:extLst>
                </p:cNvPr>
                <p:cNvSpPr/>
                <p:nvPr/>
              </p:nvSpPr>
              <p:spPr>
                <a:xfrm>
                  <a:off x="1562696" y="2493823"/>
                  <a:ext cx="432000" cy="13999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D04A02"/>
                  </a:solidFill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ko-KR" altLang="en-US" sz="8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rgbClr val="CF4C09"/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중요도</a:t>
                  </a:r>
                </a:p>
              </p:txBody>
            </p:sp>
            <p:cxnSp>
              <p:nvCxnSpPr>
                <p:cNvPr id="135" name="직선 연결선 134">
                  <a:extLst>
                    <a:ext uri="{FF2B5EF4-FFF2-40B4-BE49-F238E27FC236}">
                      <a16:creationId xmlns:a16="http://schemas.microsoft.com/office/drawing/2014/main" id="{795FA5DB-40AC-430F-95D1-DEA30C11E471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36" name="직선 연결선 135">
                  <a:extLst>
                    <a:ext uri="{FF2B5EF4-FFF2-40B4-BE49-F238E27FC236}">
                      <a16:creationId xmlns:a16="http://schemas.microsoft.com/office/drawing/2014/main" id="{1122B311-FFA7-41E0-A340-9979DFBB46CA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396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그룹 136">
                <a:extLst>
                  <a:ext uri="{FF2B5EF4-FFF2-40B4-BE49-F238E27FC236}">
                    <a16:creationId xmlns:a16="http://schemas.microsoft.com/office/drawing/2014/main" id="{847E825F-FD8F-4D0D-832D-F5925C92A34D}"/>
                  </a:ext>
                </a:extLst>
              </p:cNvPr>
              <p:cNvGrpSpPr/>
              <p:nvPr/>
            </p:nvGrpSpPr>
            <p:grpSpPr>
              <a:xfrm>
                <a:off x="3475339" y="5750997"/>
                <a:ext cx="1049644" cy="28"/>
                <a:chOff x="2008516" y="2564446"/>
                <a:chExt cx="972000" cy="28"/>
              </a:xfrm>
            </p:grpSpPr>
            <p:cxnSp>
              <p:nvCxnSpPr>
                <p:cNvPr id="139" name="직선 연결선 138">
                  <a:extLst>
                    <a:ext uri="{FF2B5EF4-FFF2-40B4-BE49-F238E27FC236}">
                      <a16:creationId xmlns:a16="http://schemas.microsoft.com/office/drawing/2014/main" id="{CE26EF3F-F091-4021-A521-ABCFBBAD26B2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40" name="직선 연결선 139">
                  <a:extLst>
                    <a:ext uri="{FF2B5EF4-FFF2-40B4-BE49-F238E27FC236}">
                      <a16:creationId xmlns:a16="http://schemas.microsoft.com/office/drawing/2014/main" id="{5A0867C1-D1E1-48A3-B7DA-7EC022F8A3F8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180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  <p:grpSp>
            <p:nvGrpSpPr>
              <p:cNvPr id="141" name="그룹 140">
                <a:extLst>
                  <a:ext uri="{FF2B5EF4-FFF2-40B4-BE49-F238E27FC236}">
                    <a16:creationId xmlns:a16="http://schemas.microsoft.com/office/drawing/2014/main" id="{8A5768F7-81D2-4B9B-A8ED-7576C78CB95C}"/>
                  </a:ext>
                </a:extLst>
              </p:cNvPr>
              <p:cNvGrpSpPr/>
              <p:nvPr/>
            </p:nvGrpSpPr>
            <p:grpSpPr>
              <a:xfrm>
                <a:off x="5369994" y="5750997"/>
                <a:ext cx="1049644" cy="28"/>
                <a:chOff x="2008516" y="2564446"/>
                <a:chExt cx="972000" cy="28"/>
              </a:xfrm>
            </p:grpSpPr>
            <p:cxnSp>
              <p:nvCxnSpPr>
                <p:cNvPr id="143" name="직선 연결선 142">
                  <a:extLst>
                    <a:ext uri="{FF2B5EF4-FFF2-40B4-BE49-F238E27FC236}">
                      <a16:creationId xmlns:a16="http://schemas.microsoft.com/office/drawing/2014/main" id="{9596347F-1AEE-4CA5-87CE-DC06398D0C81}"/>
                    </a:ext>
                  </a:extLst>
                </p:cNvPr>
                <p:cNvCxnSpPr/>
                <p:nvPr/>
              </p:nvCxnSpPr>
              <p:spPr>
                <a:xfrm>
                  <a:off x="2008516" y="2564446"/>
                  <a:ext cx="972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44" name="직선 연결선 143">
                  <a:extLst>
                    <a:ext uri="{FF2B5EF4-FFF2-40B4-BE49-F238E27FC236}">
                      <a16:creationId xmlns:a16="http://schemas.microsoft.com/office/drawing/2014/main" id="{4DA3D55C-60BD-44A8-8113-695687202CE1}"/>
                    </a:ext>
                  </a:extLst>
                </p:cNvPr>
                <p:cNvCxnSpPr/>
                <p:nvPr/>
              </p:nvCxnSpPr>
              <p:spPr>
                <a:xfrm>
                  <a:off x="2015050" y="2564474"/>
                  <a:ext cx="144000" cy="0"/>
                </a:xfrm>
                <a:prstGeom prst="line">
                  <a:avLst/>
                </a:prstGeom>
                <a:noFill/>
                <a:ln w="28575" cap="sq" cmpd="sng" algn="ctr">
                  <a:solidFill>
                    <a:srgbClr val="D04A02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4E1519F0-3BB6-48EC-BA83-E3E46CA0D3EB}"/>
                </a:ext>
              </a:extLst>
            </p:cNvPr>
            <p:cNvSpPr/>
            <p:nvPr/>
          </p:nvSpPr>
          <p:spPr>
            <a:xfrm>
              <a:off x="4071073" y="5659159"/>
              <a:ext cx="544160" cy="17830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D04A02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중요도</a:t>
              </a: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4959FAD9-ECBE-4130-B175-C35232579320}"/>
                </a:ext>
              </a:extLst>
            </p:cNvPr>
            <p:cNvSpPr/>
            <p:nvPr/>
          </p:nvSpPr>
          <p:spPr>
            <a:xfrm>
              <a:off x="6299442" y="5658327"/>
              <a:ext cx="544160" cy="17830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D04A02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중요도</a:t>
              </a:r>
            </a:p>
          </p:txBody>
        </p:sp>
      </p:grpSp>
      <p:graphicFrame>
        <p:nvGraphicFramePr>
          <p:cNvPr id="80" name="표 10">
            <a:extLst>
              <a:ext uri="{FF2B5EF4-FFF2-40B4-BE49-F238E27FC236}">
                <a16:creationId xmlns:a16="http://schemas.microsoft.com/office/drawing/2014/main" id="{66557D6A-4F57-4F36-B2DC-67B528704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545624"/>
              </p:ext>
            </p:extLst>
          </p:nvPr>
        </p:nvGraphicFramePr>
        <p:xfrm>
          <a:off x="9267391" y="1099904"/>
          <a:ext cx="2922885" cy="55349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7218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 영역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리스트 레이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컬러 변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7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분석 상세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L017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화면에서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‘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7568229"/>
                  </a:ext>
                </a:extLst>
              </a:tr>
              <a:tr h="6064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분석 상세 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순위의 키워드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값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하여 화면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값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설정하여 화면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596542"/>
                  </a:ext>
                </a:extLst>
              </a:tr>
              <a:tr h="8295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좌우 이동키를 사용하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를 보여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키를 클릭하지 않아도 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우 방향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-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 마다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칸씩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이동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까지의 키워드를 보여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52460"/>
                  </a:ext>
                </a:extLst>
              </a:tr>
            </a:tbl>
          </a:graphicData>
        </a:graphic>
      </p:graphicFrame>
      <p:graphicFrame>
        <p:nvGraphicFramePr>
          <p:cNvPr id="84" name="표 3">
            <a:extLst>
              <a:ext uri="{FF2B5EF4-FFF2-40B4-BE49-F238E27FC236}">
                <a16:creationId xmlns:a16="http://schemas.microsoft.com/office/drawing/2014/main" id="{B2175E4B-D07F-473D-A217-AC78913B7C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9774643"/>
              </p:ext>
            </p:extLst>
          </p:nvPr>
        </p:nvGraphicFramePr>
        <p:xfrm>
          <a:off x="9710520" y="1766551"/>
          <a:ext cx="2427816" cy="2788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93992">
                  <a:extLst>
                    <a:ext uri="{9D8B030D-6E8A-4147-A177-3AD203B41FA5}">
                      <a16:colId xmlns:a16="http://schemas.microsoft.com/office/drawing/2014/main" val="2206490712"/>
                    </a:ext>
                  </a:extLst>
                </a:gridCol>
                <a:gridCol w="1433824">
                  <a:extLst>
                    <a:ext uri="{9D8B030D-6E8A-4147-A177-3AD203B41FA5}">
                      <a16:colId xmlns:a16="http://schemas.microsoft.com/office/drawing/2014/main" val="26656760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 화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144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가진단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1] 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92386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가이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004] 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소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156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(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7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]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메인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885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(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7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]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메인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88755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overnance(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7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]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메인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68101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inance(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7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]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메인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001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1] 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982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001] 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 안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054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003] 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안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2235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1] </a:t>
                      </a:r>
                      <a:r>
                        <a:rPr lang="ko-KR" altLang="en-US" sz="7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endParaRPr lang="ko-KR" altLang="en-US" sz="7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0957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05] 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8805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L009] 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819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15] ESG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725801"/>
                  </a:ext>
                </a:extLst>
              </a:tr>
            </a:tbl>
          </a:graphicData>
        </a:graphic>
      </p:graphicFrame>
      <p:sp>
        <p:nvSpPr>
          <p:cNvPr id="82" name="직사각형 81">
            <a:extLst>
              <a:ext uri="{FF2B5EF4-FFF2-40B4-BE49-F238E27FC236}">
                <a16:creationId xmlns:a16="http://schemas.microsoft.com/office/drawing/2014/main" id="{712BF051-6A89-46CD-A003-28A3D3555930}"/>
              </a:ext>
            </a:extLst>
          </p:cNvPr>
          <p:cNvSpPr/>
          <p:nvPr/>
        </p:nvSpPr>
        <p:spPr>
          <a:xfrm>
            <a:off x="9236401" y="0"/>
            <a:ext cx="2950181" cy="1345107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삼일 인사이트 →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뉴스 키워드 기능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5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GNB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메뉴 추가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실행 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Tax, ESG Deal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PwC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사이트 →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83895D04-5159-46AA-8FF1-799464312F42}"/>
              </a:ext>
            </a:extLst>
          </p:cNvPr>
          <p:cNvGrpSpPr/>
          <p:nvPr/>
        </p:nvGrpSpPr>
        <p:grpSpPr>
          <a:xfrm>
            <a:off x="332993" y="1241907"/>
            <a:ext cx="8647314" cy="1820622"/>
            <a:chOff x="332993" y="1292724"/>
            <a:chExt cx="8635558" cy="1865597"/>
          </a:xfrm>
        </p:grpSpPr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E31FF1FC-7A4C-4646-94A9-375BF74033AE}"/>
                </a:ext>
              </a:extLst>
            </p:cNvPr>
            <p:cNvSpPr/>
            <p:nvPr/>
          </p:nvSpPr>
          <p:spPr>
            <a:xfrm>
              <a:off x="332993" y="1332271"/>
              <a:ext cx="8635558" cy="18260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0000"/>
                </a:lnSpc>
              </a:pPr>
              <a:endParaRPr lang="en-US" altLang="ko-KR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80C5A325-8633-4E28-9A1F-CF611FDDC676}"/>
                </a:ext>
              </a:extLst>
            </p:cNvPr>
            <p:cNvSpPr/>
            <p:nvPr/>
          </p:nvSpPr>
          <p:spPr>
            <a:xfrm>
              <a:off x="2348840" y="1315829"/>
              <a:ext cx="1090692" cy="12993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가진단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가이드</a:t>
              </a:r>
            </a:p>
          </p:txBody>
        </p:sp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2ABFDDCF-3B4C-4143-9B80-C12103B86E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148907" y="1823537"/>
              <a:ext cx="160784" cy="160784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2D0D09D6-1B4C-4E90-86C9-0468B659A99B}"/>
                </a:ext>
              </a:extLst>
            </p:cNvPr>
            <p:cNvSpPr/>
            <p:nvPr/>
          </p:nvSpPr>
          <p:spPr>
            <a:xfrm>
              <a:off x="3759507" y="1313856"/>
              <a:ext cx="958265" cy="16531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Tax</a:t>
              </a: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Deal</a:t>
              </a: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193E5753-5E71-481E-A334-F078219DA8F1}"/>
                </a:ext>
              </a:extLst>
            </p:cNvPr>
            <p:cNvSpPr/>
            <p:nvPr/>
          </p:nvSpPr>
          <p:spPr>
            <a:xfrm>
              <a:off x="5297155" y="1307837"/>
              <a:ext cx="791009" cy="12993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  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3B4800A-A2F3-48CE-8837-2EF633EF832D}"/>
                </a:ext>
              </a:extLst>
            </p:cNvPr>
            <p:cNvSpPr/>
            <p:nvPr/>
          </p:nvSpPr>
          <p:spPr>
            <a:xfrm>
              <a:off x="6292373" y="1292724"/>
              <a:ext cx="1335004" cy="12993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실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20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교육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9C962767-04D2-458B-95D1-BA985003D3A2}"/>
              </a:ext>
            </a:extLst>
          </p:cNvPr>
          <p:cNvSpPr/>
          <p:nvPr/>
        </p:nvSpPr>
        <p:spPr>
          <a:xfrm>
            <a:off x="2281066" y="12367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5315AE7F-349E-4CCE-8D85-EE2A6691C990}"/>
              </a:ext>
            </a:extLst>
          </p:cNvPr>
          <p:cNvSpPr/>
          <p:nvPr/>
        </p:nvSpPr>
        <p:spPr>
          <a:xfrm>
            <a:off x="541636" y="49575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F6AB5CCA-851F-4872-A64B-7DE322D7B148}"/>
              </a:ext>
            </a:extLst>
          </p:cNvPr>
          <p:cNvSpPr/>
          <p:nvPr/>
        </p:nvSpPr>
        <p:spPr>
          <a:xfrm>
            <a:off x="3619210" y="53174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21CA963B-6AD8-4FEA-8264-7A9C616A43B2}"/>
              </a:ext>
            </a:extLst>
          </p:cNvPr>
          <p:cNvSpPr/>
          <p:nvPr/>
        </p:nvSpPr>
        <p:spPr>
          <a:xfrm>
            <a:off x="8307190" y="55341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E2FB4037-BC3A-4C9C-A47D-91B9BCE82AA0}"/>
              </a:ext>
            </a:extLst>
          </p:cNvPr>
          <p:cNvSpPr/>
          <p:nvPr/>
        </p:nvSpPr>
        <p:spPr>
          <a:xfrm>
            <a:off x="1336325" y="53022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88484B59-2208-4A5F-BE1D-594BDBCA40AD}"/>
              </a:ext>
            </a:extLst>
          </p:cNvPr>
          <p:cNvSpPr/>
          <p:nvPr/>
        </p:nvSpPr>
        <p:spPr>
          <a:xfrm>
            <a:off x="5876098" y="531547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990665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938974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7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1260416" y="2509060"/>
            <a:ext cx="6699047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r>
              <a:rPr lang="ko-KR" altLang="en-US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귀하의 기업은 </a:t>
            </a:r>
            <a:r>
              <a:rPr lang="en-US" altLang="ko-KR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EU </a:t>
            </a:r>
            <a:r>
              <a:rPr lang="ko-KR" altLang="en-US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역내 대기업으로 </a:t>
            </a:r>
            <a:r>
              <a:rPr lang="en-US" altLang="ko-KR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2026</a:t>
            </a:r>
            <a:r>
              <a:rPr lang="ko-KR" altLang="en-US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년</a:t>
            </a:r>
            <a:r>
              <a:rPr lang="en-US" altLang="ko-KR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(FY25) </a:t>
            </a:r>
            <a:r>
              <a:rPr lang="ko-KR" altLang="en-US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공시 대상</a:t>
            </a:r>
            <a:r>
              <a:rPr lang="ko-KR" altLang="en-US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입니다</a:t>
            </a:r>
            <a:r>
              <a:rPr lang="en-US" altLang="ko-KR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ko-KR" alt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r>
              <a:rPr lang="ko-KR" altLang="en-US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또한 </a:t>
            </a:r>
            <a:r>
              <a:rPr lang="en-US" altLang="ko-KR" sz="1400" b="1" dirty="0">
                <a:solidFill>
                  <a:srgbClr val="3F3F3F"/>
                </a:solidFill>
              </a:rPr>
              <a:t>EU </a:t>
            </a:r>
            <a:r>
              <a:rPr lang="ko-KR" altLang="en-US" sz="1400" b="1" dirty="0">
                <a:solidFill>
                  <a:srgbClr val="3F3F3F"/>
                </a:solidFill>
              </a:rPr>
              <a:t>역내 종속기업을 보유한</a:t>
            </a:r>
            <a:r>
              <a:rPr lang="ko-KR" altLang="en-US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 모기업으로 </a:t>
            </a:r>
            <a:r>
              <a:rPr lang="en-US" altLang="ko-KR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2029</a:t>
            </a:r>
            <a:r>
              <a:rPr lang="ko-KR" altLang="en-US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년</a:t>
            </a:r>
            <a:r>
              <a:rPr lang="en-US" altLang="ko-KR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(FY28) </a:t>
            </a:r>
            <a:r>
              <a:rPr lang="ko-KR" altLang="en-US" sz="1400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연결공시 대상</a:t>
            </a:r>
            <a:r>
              <a:rPr lang="ko-KR" altLang="en-US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입니다</a:t>
            </a:r>
            <a:r>
              <a:rPr lang="en-US" altLang="ko-KR" sz="1400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ko-KR" alt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35730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505EA45-036A-4F0F-A848-AC4C6BB518A6}"/>
              </a:ext>
            </a:extLst>
          </p:cNvPr>
          <p:cNvGrpSpPr/>
          <p:nvPr/>
        </p:nvGrpSpPr>
        <p:grpSpPr>
          <a:xfrm>
            <a:off x="1687323" y="3416042"/>
            <a:ext cx="6064860" cy="1508847"/>
            <a:chOff x="3170127" y="3416042"/>
            <a:chExt cx="4582056" cy="1508847"/>
          </a:xfrm>
        </p:grpSpPr>
        <p:sp>
          <p:nvSpPr>
            <p:cNvPr id="106" name="Google Shape;3213;p402">
              <a:extLst>
                <a:ext uri="{FF2B5EF4-FFF2-40B4-BE49-F238E27FC236}">
                  <a16:creationId xmlns:a16="http://schemas.microsoft.com/office/drawing/2014/main" id="{F2BC988D-08D0-4C9C-A3F6-25E0478F946A}"/>
                </a:ext>
              </a:extLst>
            </p:cNvPr>
            <p:cNvSpPr txBox="1"/>
            <p:nvPr/>
          </p:nvSpPr>
          <p:spPr>
            <a:xfrm>
              <a:off x="5317333" y="4664343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8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7" name="Google Shape;3217;p402">
              <a:extLst>
                <a:ext uri="{FF2B5EF4-FFF2-40B4-BE49-F238E27FC236}">
                  <a16:creationId xmlns:a16="http://schemas.microsoft.com/office/drawing/2014/main" id="{F755668E-E061-4CAE-9B8F-998964137C74}"/>
                </a:ext>
              </a:extLst>
            </p:cNvPr>
            <p:cNvSpPr txBox="1"/>
            <p:nvPr/>
          </p:nvSpPr>
          <p:spPr>
            <a:xfrm>
              <a:off x="3170127" y="4664344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6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8" name="Google Shape;3220;p402">
              <a:extLst>
                <a:ext uri="{FF2B5EF4-FFF2-40B4-BE49-F238E27FC236}">
                  <a16:creationId xmlns:a16="http://schemas.microsoft.com/office/drawing/2014/main" id="{175A397B-F1FD-4893-919E-BB7199D9F4EA}"/>
                </a:ext>
              </a:extLst>
            </p:cNvPr>
            <p:cNvSpPr txBox="1"/>
            <p:nvPr/>
          </p:nvSpPr>
          <p:spPr>
            <a:xfrm>
              <a:off x="6390937" y="4664343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9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19" name="Google Shape;3217;p402">
              <a:extLst>
                <a:ext uri="{FF2B5EF4-FFF2-40B4-BE49-F238E27FC236}">
                  <a16:creationId xmlns:a16="http://schemas.microsoft.com/office/drawing/2014/main" id="{76550150-93DE-4449-9557-AA63583E3141}"/>
                </a:ext>
              </a:extLst>
            </p:cNvPr>
            <p:cNvSpPr txBox="1"/>
            <p:nvPr/>
          </p:nvSpPr>
          <p:spPr>
            <a:xfrm>
              <a:off x="4243730" y="4664336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7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9AED2FFE-5B0A-48F9-BCD1-4205505AF6F1}"/>
                </a:ext>
              </a:extLst>
            </p:cNvPr>
            <p:cNvGrpSpPr/>
            <p:nvPr/>
          </p:nvGrpSpPr>
          <p:grpSpPr>
            <a:xfrm>
              <a:off x="3282418" y="3439631"/>
              <a:ext cx="1683797" cy="456226"/>
              <a:chOff x="3282418" y="3322668"/>
              <a:chExt cx="1683797" cy="456226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A886BBE3-9C99-4E35-9AAA-0CBABD703D15}"/>
                  </a:ext>
                </a:extLst>
              </p:cNvPr>
              <p:cNvSpPr/>
              <p:nvPr/>
            </p:nvSpPr>
            <p:spPr>
              <a:xfrm>
                <a:off x="3282418" y="332266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6.10 ~</a:t>
                </a:r>
              </a:p>
            </p:txBody>
          </p:sp>
          <p:sp>
            <p:nvSpPr>
              <p:cNvPr id="125" name="Google Shape;1464;p3">
                <a:extLst>
                  <a:ext uri="{FF2B5EF4-FFF2-40B4-BE49-F238E27FC236}">
                    <a16:creationId xmlns:a16="http://schemas.microsoft.com/office/drawing/2014/main" id="{EFE612E4-796E-4B9D-96B7-E1E7AFBB738E}"/>
                  </a:ext>
                </a:extLst>
              </p:cNvPr>
              <p:cNvSpPr/>
              <p:nvPr/>
            </p:nvSpPr>
            <p:spPr>
              <a:xfrm>
                <a:off x="3294246" y="359434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제한적 인증기준 채택</a:t>
                </a:r>
              </a:p>
            </p:txBody>
          </p:sp>
        </p:grp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C97D6E87-8888-41E2-A948-41EFD08CEDC2}"/>
                </a:ext>
              </a:extLst>
            </p:cNvPr>
            <p:cNvGrpSpPr/>
            <p:nvPr/>
          </p:nvGrpSpPr>
          <p:grpSpPr>
            <a:xfrm>
              <a:off x="5809597" y="3416042"/>
              <a:ext cx="1728191" cy="1231731"/>
              <a:chOff x="3655349" y="3305528"/>
              <a:chExt cx="1728191" cy="1231731"/>
            </a:xfrm>
          </p:grpSpPr>
          <p:cxnSp>
            <p:nvCxnSpPr>
              <p:cNvPr id="127" name="Google Shape;1462;p3">
                <a:extLst>
                  <a:ext uri="{FF2B5EF4-FFF2-40B4-BE49-F238E27FC236}">
                    <a16:creationId xmlns:a16="http://schemas.microsoft.com/office/drawing/2014/main" id="{25BB69F7-9B13-4B59-991A-95051F3263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B133D0CA-FA71-4DC4-87C4-704E4732C89B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8.10 ~</a:t>
                </a:r>
              </a:p>
            </p:txBody>
          </p:sp>
          <p:sp>
            <p:nvSpPr>
              <p:cNvPr id="129" name="Google Shape;1464;p3">
                <a:extLst>
                  <a:ext uri="{FF2B5EF4-FFF2-40B4-BE49-F238E27FC236}">
                    <a16:creationId xmlns:a16="http://schemas.microsoft.com/office/drawing/2014/main" id="{C883C6D2-5348-4E8B-8797-E861A6FFA98F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합리적 인증기준 채택</a:t>
                </a:r>
              </a:p>
            </p:txBody>
          </p:sp>
        </p:grp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CF7FB92D-F987-43C1-827C-688F0620CF1D}"/>
                </a:ext>
              </a:extLst>
            </p:cNvPr>
            <p:cNvGrpSpPr/>
            <p:nvPr/>
          </p:nvGrpSpPr>
          <p:grpSpPr>
            <a:xfrm>
              <a:off x="3248548" y="3443654"/>
              <a:ext cx="942731" cy="1226900"/>
              <a:chOff x="2183875" y="3310359"/>
              <a:chExt cx="942731" cy="1226900"/>
            </a:xfrm>
          </p:grpSpPr>
          <p:cxnSp>
            <p:nvCxnSpPr>
              <p:cNvPr id="82" name="Google Shape;1462;p3">
                <a:extLst>
                  <a:ext uri="{FF2B5EF4-FFF2-40B4-BE49-F238E27FC236}">
                    <a16:creationId xmlns:a16="http://schemas.microsoft.com/office/drawing/2014/main" id="{8EFE0B2F-04AA-4432-916B-B00764C086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83875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96" name="Google Shape;1464;p3">
                <a:extLst>
                  <a:ext uri="{FF2B5EF4-FFF2-40B4-BE49-F238E27FC236}">
                    <a16:creationId xmlns:a16="http://schemas.microsoft.com/office/drawing/2014/main" id="{C0AD40D1-F928-4622-853B-10027A5B0CDF}"/>
                  </a:ext>
                </a:extLst>
              </p:cNvPr>
              <p:cNvSpPr/>
              <p:nvPr/>
            </p:nvSpPr>
            <p:spPr>
              <a:xfrm>
                <a:off x="2240617" y="4140425"/>
                <a:ext cx="88598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CSRD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공시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endParaRPr>
              </a:p>
            </p:txBody>
          </p:sp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7CDEBF52-85B3-46BD-A9B1-367CAF924178}"/>
                  </a:ext>
                </a:extLst>
              </p:cNvPr>
              <p:cNvSpPr/>
              <p:nvPr/>
            </p:nvSpPr>
            <p:spPr>
              <a:xfrm>
                <a:off x="2229440" y="3878785"/>
                <a:ext cx="818628" cy="2000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6.1.1 ~</a:t>
                </a:r>
              </a:p>
            </p:txBody>
          </p:sp>
        </p:grp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CE285A5D-96C2-4237-BE54-03F515D47F5E}"/>
                </a:ext>
              </a:extLst>
            </p:cNvPr>
            <p:cNvGrpSpPr/>
            <p:nvPr/>
          </p:nvGrpSpPr>
          <p:grpSpPr>
            <a:xfrm>
              <a:off x="6479182" y="4023467"/>
              <a:ext cx="1273001" cy="649067"/>
              <a:chOff x="2183875" y="3315563"/>
              <a:chExt cx="1273001" cy="649067"/>
            </a:xfrm>
          </p:grpSpPr>
          <p:cxnSp>
            <p:nvCxnSpPr>
              <p:cNvPr id="80" name="Google Shape;1462;p3">
                <a:extLst>
                  <a:ext uri="{FF2B5EF4-FFF2-40B4-BE49-F238E27FC236}">
                    <a16:creationId xmlns:a16="http://schemas.microsoft.com/office/drawing/2014/main" id="{487E93DD-23A1-4788-AC2C-671A41A05B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83875" y="3318974"/>
                <a:ext cx="0" cy="645656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98" name="Google Shape;1464;p3">
                <a:extLst>
                  <a:ext uri="{FF2B5EF4-FFF2-40B4-BE49-F238E27FC236}">
                    <a16:creationId xmlns:a16="http://schemas.microsoft.com/office/drawing/2014/main" id="{3B7EC079-6367-45D8-883B-8994BF44CB90}"/>
                  </a:ext>
                </a:extLst>
              </p:cNvPr>
              <p:cNvSpPr/>
              <p:nvPr/>
            </p:nvSpPr>
            <p:spPr>
              <a:xfrm>
                <a:off x="2257683" y="3577203"/>
                <a:ext cx="1199193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CSRD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연결 공시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endParaRPr>
              </a:p>
            </p:txBody>
          </p:sp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97043835-CADF-486E-805A-50A716AA243C}"/>
                  </a:ext>
                </a:extLst>
              </p:cNvPr>
              <p:cNvSpPr/>
              <p:nvPr/>
            </p:nvSpPr>
            <p:spPr>
              <a:xfrm>
                <a:off x="2246505" y="3315563"/>
                <a:ext cx="818628" cy="2000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9.1.1 ~</a:t>
                </a:r>
              </a:p>
            </p:txBody>
          </p:sp>
        </p:grpSp>
      </p:grp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B52E465D-A985-433A-88D6-A3EEB8C8D87E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B35B087E-B680-496F-9BD2-ACA0F93F3AD3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770169E2-458C-4710-9E4A-8E9CAFDE2E14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3" name="표 10">
            <a:extLst>
              <a:ext uri="{FF2B5EF4-FFF2-40B4-BE49-F238E27FC236}">
                <a16:creationId xmlns:a16="http://schemas.microsoft.com/office/drawing/2014/main" id="{3BD87F10-4934-420D-BD80-CA5388F66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068490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7FE99322-0737-4F18-A0D1-4136AEE7609C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7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67AC801F-AB0C-4872-9C42-87907175932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55300199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31206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8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888689" y="2338937"/>
            <a:ext cx="7590103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하의 기업은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ME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7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FY26)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대상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9(FY28)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까지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칙준수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예외설명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comply or explain)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방식으로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의무공시 사항에 대한 유예 적용</a:t>
            </a: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가능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4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또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종속기업을 보유한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모기업으로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2029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년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(FY28)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연결공시 </a:t>
            </a:r>
            <a:r>
              <a:rPr lang="ko-KR" altLang="en-US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대상입니다</a:t>
            </a:r>
            <a:r>
              <a:rPr lang="en-US" altLang="ko-KR" sz="14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.  </a:t>
            </a:r>
            <a:endParaRPr lang="ko-KR" altLang="en-US" sz="14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 algn="ctr" defTabSz="914400">
              <a:lnSpc>
                <a:spcPct val="120000"/>
              </a:lnSpc>
            </a:pPr>
            <a:endParaRPr lang="en-US" altLang="ko-KR" sz="14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89FD523-5C25-4AF5-8E91-815965BB7959}"/>
              </a:ext>
            </a:extLst>
          </p:cNvPr>
          <p:cNvSpPr/>
          <p:nvPr/>
        </p:nvSpPr>
        <p:spPr>
          <a:xfrm>
            <a:off x="1584253" y="5483891"/>
            <a:ext cx="2826845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 공시 예외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예사항 확인하기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59B333A-4434-434F-84DF-6B8D07008132}"/>
              </a:ext>
            </a:extLst>
          </p:cNvPr>
          <p:cNvSpPr/>
          <p:nvPr/>
        </p:nvSpPr>
        <p:spPr>
          <a:xfrm>
            <a:off x="4938117" y="5487746"/>
            <a:ext cx="2685329" cy="350787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► 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하기</a:t>
            </a:r>
          </a:p>
        </p:txBody>
      </p:sp>
      <p:sp>
        <p:nvSpPr>
          <p:cNvPr id="105" name="Google Shape;3211;p402">
            <a:extLst>
              <a:ext uri="{FF2B5EF4-FFF2-40B4-BE49-F238E27FC236}">
                <a16:creationId xmlns:a16="http://schemas.microsoft.com/office/drawing/2014/main" id="{34E7EAC0-3136-45F4-B18C-F0880C37D0D6}"/>
              </a:ext>
            </a:extLst>
          </p:cNvPr>
          <p:cNvSpPr/>
          <p:nvPr/>
        </p:nvSpPr>
        <p:spPr>
          <a:xfrm>
            <a:off x="1358817" y="4425097"/>
            <a:ext cx="6759075" cy="762157"/>
          </a:xfrm>
          <a:prstGeom prst="rightArrow">
            <a:avLst>
              <a:gd name="adj1" fmla="val 50000"/>
              <a:gd name="adj2" fmla="val 27842"/>
            </a:avLst>
          </a:prstGeom>
          <a:solidFill>
            <a:srgbClr val="DEDEDE"/>
          </a:solidFill>
          <a:ln>
            <a:noFill/>
          </a:ln>
        </p:spPr>
        <p:txBody>
          <a:bodyPr spcFirstLastPara="1" wrap="square" lIns="74283" tIns="74283" rIns="74283" bIns="74283" anchor="ctr" anchorCtr="0">
            <a:noAutofit/>
          </a:bodyPr>
          <a:lstStyle/>
          <a:p>
            <a:pPr>
              <a:buClr>
                <a:srgbClr val="000000"/>
              </a:buClr>
              <a:buSzPts val="1500"/>
            </a:pPr>
            <a:endParaRPr sz="1219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0DB57814-555D-42B1-BC70-F463973B4449}"/>
              </a:ext>
            </a:extLst>
          </p:cNvPr>
          <p:cNvGrpSpPr/>
          <p:nvPr/>
        </p:nvGrpSpPr>
        <p:grpSpPr>
          <a:xfrm>
            <a:off x="1542361" y="3405409"/>
            <a:ext cx="6209823" cy="1508847"/>
            <a:chOff x="3170127" y="3405409"/>
            <a:chExt cx="4582056" cy="1508847"/>
          </a:xfrm>
        </p:grpSpPr>
        <p:sp>
          <p:nvSpPr>
            <p:cNvPr id="106" name="Google Shape;3213;p402">
              <a:extLst>
                <a:ext uri="{FF2B5EF4-FFF2-40B4-BE49-F238E27FC236}">
                  <a16:creationId xmlns:a16="http://schemas.microsoft.com/office/drawing/2014/main" id="{F2BC988D-08D0-4C9C-A3F6-25E0478F946A}"/>
                </a:ext>
              </a:extLst>
            </p:cNvPr>
            <p:cNvSpPr txBox="1"/>
            <p:nvPr/>
          </p:nvSpPr>
          <p:spPr>
            <a:xfrm>
              <a:off x="5317333" y="4653710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8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7" name="Google Shape;3217;p402">
              <a:extLst>
                <a:ext uri="{FF2B5EF4-FFF2-40B4-BE49-F238E27FC236}">
                  <a16:creationId xmlns:a16="http://schemas.microsoft.com/office/drawing/2014/main" id="{F755668E-E061-4CAE-9B8F-998964137C74}"/>
                </a:ext>
              </a:extLst>
            </p:cNvPr>
            <p:cNvSpPr txBox="1"/>
            <p:nvPr/>
          </p:nvSpPr>
          <p:spPr>
            <a:xfrm>
              <a:off x="3170127" y="4653711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00"/>
                <a:buFontTx/>
                <a:buNone/>
                <a:tabLst/>
                <a:defRPr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6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8" name="Google Shape;3220;p402">
              <a:extLst>
                <a:ext uri="{FF2B5EF4-FFF2-40B4-BE49-F238E27FC236}">
                  <a16:creationId xmlns:a16="http://schemas.microsoft.com/office/drawing/2014/main" id="{175A397B-F1FD-4893-919E-BB7199D9F4EA}"/>
                </a:ext>
              </a:extLst>
            </p:cNvPr>
            <p:cNvSpPr txBox="1"/>
            <p:nvPr/>
          </p:nvSpPr>
          <p:spPr>
            <a:xfrm>
              <a:off x="6390937" y="4653710"/>
              <a:ext cx="648000" cy="260546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9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19" name="Google Shape;3217;p402">
              <a:extLst>
                <a:ext uri="{FF2B5EF4-FFF2-40B4-BE49-F238E27FC236}">
                  <a16:creationId xmlns:a16="http://schemas.microsoft.com/office/drawing/2014/main" id="{76550150-93DE-4449-9557-AA63583E3141}"/>
                </a:ext>
              </a:extLst>
            </p:cNvPr>
            <p:cNvSpPr txBox="1"/>
            <p:nvPr/>
          </p:nvSpPr>
          <p:spPr>
            <a:xfrm>
              <a:off x="4243730" y="4653703"/>
              <a:ext cx="648000" cy="254622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txBody>
            <a:bodyPr spcFirstLastPara="1" wrap="square" lIns="74283" tIns="74283" rIns="74283" bIns="74283" anchor="ctr" anchorCtr="0">
              <a:noAutofit/>
            </a:bodyPr>
            <a:lstStyle/>
            <a:p>
              <a:pPr algn="ctr" defTabSz="914400">
                <a:buClr>
                  <a:srgbClr val="000000"/>
                </a:buClr>
                <a:buSzPts val="1500"/>
              </a:pPr>
              <a:r>
                <a:rPr lang="fr-F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02</a:t>
              </a: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7</a:t>
              </a:r>
              <a:endParaRPr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C97D6E87-8888-41E2-A948-41EFD08CEDC2}"/>
                </a:ext>
              </a:extLst>
            </p:cNvPr>
            <p:cNvGrpSpPr/>
            <p:nvPr/>
          </p:nvGrpSpPr>
          <p:grpSpPr>
            <a:xfrm>
              <a:off x="5809597" y="3405409"/>
              <a:ext cx="1728191" cy="1231731"/>
              <a:chOff x="3655349" y="3305528"/>
              <a:chExt cx="1728191" cy="1231731"/>
            </a:xfrm>
          </p:grpSpPr>
          <p:cxnSp>
            <p:nvCxnSpPr>
              <p:cNvPr id="127" name="Google Shape;1462;p3">
                <a:extLst>
                  <a:ext uri="{FF2B5EF4-FFF2-40B4-BE49-F238E27FC236}">
                    <a16:creationId xmlns:a16="http://schemas.microsoft.com/office/drawing/2014/main" id="{25BB69F7-9B13-4B59-991A-95051F3263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B133D0CA-FA71-4DC4-87C4-704E4732C89B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8.10 ~</a:t>
                </a:r>
              </a:p>
            </p:txBody>
          </p:sp>
          <p:sp>
            <p:nvSpPr>
              <p:cNvPr id="129" name="Google Shape;1464;p3">
                <a:extLst>
                  <a:ext uri="{FF2B5EF4-FFF2-40B4-BE49-F238E27FC236}">
                    <a16:creationId xmlns:a16="http://schemas.microsoft.com/office/drawing/2014/main" id="{C883C6D2-5348-4E8B-8797-E861A6FFA98F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합리적 인증기준 채택</a:t>
                </a:r>
              </a:p>
            </p:txBody>
          </p:sp>
        </p:grp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CF7FB92D-F987-43C1-827C-688F0620CF1D}"/>
                </a:ext>
              </a:extLst>
            </p:cNvPr>
            <p:cNvGrpSpPr/>
            <p:nvPr/>
          </p:nvGrpSpPr>
          <p:grpSpPr>
            <a:xfrm>
              <a:off x="4321627" y="4001653"/>
              <a:ext cx="959797" cy="649067"/>
              <a:chOff x="2183875" y="3315563"/>
              <a:chExt cx="959797" cy="649067"/>
            </a:xfrm>
          </p:grpSpPr>
          <p:cxnSp>
            <p:nvCxnSpPr>
              <p:cNvPr id="82" name="Google Shape;1462;p3">
                <a:extLst>
                  <a:ext uri="{FF2B5EF4-FFF2-40B4-BE49-F238E27FC236}">
                    <a16:creationId xmlns:a16="http://schemas.microsoft.com/office/drawing/2014/main" id="{8EFE0B2F-04AA-4432-916B-B00764C086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83875" y="3318974"/>
                <a:ext cx="0" cy="645656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96" name="Google Shape;1464;p3">
                <a:extLst>
                  <a:ext uri="{FF2B5EF4-FFF2-40B4-BE49-F238E27FC236}">
                    <a16:creationId xmlns:a16="http://schemas.microsoft.com/office/drawing/2014/main" id="{C0AD40D1-F928-4622-853B-10027A5B0CDF}"/>
                  </a:ext>
                </a:extLst>
              </p:cNvPr>
              <p:cNvSpPr/>
              <p:nvPr/>
            </p:nvSpPr>
            <p:spPr>
              <a:xfrm>
                <a:off x="2257683" y="3577203"/>
                <a:ext cx="88598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CSRD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공시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endParaRPr>
              </a:p>
            </p:txBody>
          </p:sp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7CDEBF52-85B3-46BD-A9B1-367CAF924178}"/>
                  </a:ext>
                </a:extLst>
              </p:cNvPr>
              <p:cNvSpPr/>
              <p:nvPr/>
            </p:nvSpPr>
            <p:spPr>
              <a:xfrm>
                <a:off x="2246505" y="3315563"/>
                <a:ext cx="818628" cy="2000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7.1.1 ~</a:t>
                </a: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ADA174EE-7891-440B-A076-9AAEF322C34F}"/>
                </a:ext>
              </a:extLst>
            </p:cNvPr>
            <p:cNvGrpSpPr/>
            <p:nvPr/>
          </p:nvGrpSpPr>
          <p:grpSpPr>
            <a:xfrm>
              <a:off x="3612479" y="3422388"/>
              <a:ext cx="1728191" cy="1231731"/>
              <a:chOff x="3655349" y="3305528"/>
              <a:chExt cx="1728191" cy="1231731"/>
            </a:xfrm>
          </p:grpSpPr>
          <p:cxnSp>
            <p:nvCxnSpPr>
              <p:cNvPr id="99" name="Google Shape;1462;p3">
                <a:extLst>
                  <a:ext uri="{FF2B5EF4-FFF2-40B4-BE49-F238E27FC236}">
                    <a16:creationId xmlns:a16="http://schemas.microsoft.com/office/drawing/2014/main" id="{DB7C0027-3D39-48F3-9119-C103024DA7C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55349" y="3310359"/>
                <a:ext cx="0" cy="12269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52C74750-A31A-4B58-A025-6C72FA9F5EA6}"/>
                  </a:ext>
                </a:extLst>
              </p:cNvPr>
              <p:cNvSpPr/>
              <p:nvPr/>
            </p:nvSpPr>
            <p:spPr>
              <a:xfrm>
                <a:off x="3699742" y="3305528"/>
                <a:ext cx="818628" cy="200082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6.10 ~</a:t>
                </a:r>
              </a:p>
            </p:txBody>
          </p:sp>
          <p:sp>
            <p:nvSpPr>
              <p:cNvPr id="101" name="Google Shape;1464;p3">
                <a:extLst>
                  <a:ext uri="{FF2B5EF4-FFF2-40B4-BE49-F238E27FC236}">
                    <a16:creationId xmlns:a16="http://schemas.microsoft.com/office/drawing/2014/main" id="{AA56A0A3-300D-43E4-BAC0-8D3A7FE540FA}"/>
                  </a:ext>
                </a:extLst>
              </p:cNvPr>
              <p:cNvSpPr/>
              <p:nvPr/>
            </p:nvSpPr>
            <p:spPr>
              <a:xfrm>
                <a:off x="3711571" y="3577203"/>
                <a:ext cx="1671969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EU,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제한적 인증기준 채택</a:t>
                </a:r>
              </a:p>
            </p:txBody>
          </p:sp>
        </p:grp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ADE0B93D-2A99-425D-889D-D0061DE73703}"/>
                </a:ext>
              </a:extLst>
            </p:cNvPr>
            <p:cNvGrpSpPr/>
            <p:nvPr/>
          </p:nvGrpSpPr>
          <p:grpSpPr>
            <a:xfrm>
              <a:off x="6479182" y="4003147"/>
              <a:ext cx="1273001" cy="649067"/>
              <a:chOff x="2183875" y="3315563"/>
              <a:chExt cx="1273001" cy="649067"/>
            </a:xfrm>
          </p:grpSpPr>
          <p:cxnSp>
            <p:nvCxnSpPr>
              <p:cNvPr id="80" name="Google Shape;1462;p3">
                <a:extLst>
                  <a:ext uri="{FF2B5EF4-FFF2-40B4-BE49-F238E27FC236}">
                    <a16:creationId xmlns:a16="http://schemas.microsoft.com/office/drawing/2014/main" id="{465D5CED-1AF7-4D00-A88A-AAB76D2F4A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83875" y="3318974"/>
                <a:ext cx="0" cy="645656"/>
              </a:xfrm>
              <a:prstGeom prst="straightConnector1">
                <a:avLst/>
              </a:prstGeom>
              <a:noFill/>
              <a:ln w="12700" cap="flat" cmpd="sng">
                <a:solidFill>
                  <a:srgbClr val="C7C7C7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02" name="Google Shape;1464;p3">
                <a:extLst>
                  <a:ext uri="{FF2B5EF4-FFF2-40B4-BE49-F238E27FC236}">
                    <a16:creationId xmlns:a16="http://schemas.microsoft.com/office/drawing/2014/main" id="{AF7AB059-C79D-401F-8D52-22A461464F1D}"/>
                  </a:ext>
                </a:extLst>
              </p:cNvPr>
              <p:cNvSpPr/>
              <p:nvPr/>
            </p:nvSpPr>
            <p:spPr>
              <a:xfrm>
                <a:off x="2257683" y="3577203"/>
                <a:ext cx="1199193" cy="1845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58500" tIns="0" rIns="0" bIns="0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CSRD </a:t>
                </a:r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연결 공시</a:t>
                </a:r>
                <a:endPara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endParaRP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9DBCD6A2-D520-43E7-A6F6-10E27A815358}"/>
                  </a:ext>
                </a:extLst>
              </p:cNvPr>
              <p:cNvSpPr/>
              <p:nvPr/>
            </p:nvSpPr>
            <p:spPr>
              <a:xfrm>
                <a:off x="2246505" y="3315563"/>
                <a:ext cx="818628" cy="2000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buClr>
                    <a:srgbClr val="000000"/>
                  </a:buClr>
                  <a:buSzPts val="1600"/>
                </a:pPr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DB536A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  <a:sym typeface="Arial"/>
                  </a:rPr>
                  <a:t>2029.1.1 ~</a:t>
                </a: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A0921A38-A759-4995-BDC4-4ECCF31EBC77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396E99AC-94B7-45B7-B075-9EBCA33698D9}"/>
              </a:ext>
            </a:extLst>
          </p:cNvPr>
          <p:cNvSpPr/>
          <p:nvPr/>
        </p:nvSpPr>
        <p:spPr>
          <a:xfrm>
            <a:off x="1542361" y="5451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6F835152-D581-43C7-B10A-C914C43E5A1F}"/>
              </a:ext>
            </a:extLst>
          </p:cNvPr>
          <p:cNvSpPr/>
          <p:nvPr/>
        </p:nvSpPr>
        <p:spPr>
          <a:xfrm>
            <a:off x="4891730" y="54547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22" name="표 10">
            <a:extLst>
              <a:ext uri="{FF2B5EF4-FFF2-40B4-BE49-F238E27FC236}">
                <a16:creationId xmlns:a16="http://schemas.microsoft.com/office/drawing/2014/main" id="{4AA22604-0A93-4F56-B214-0546CF1179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733731"/>
              </p:ext>
            </p:extLst>
          </p:nvPr>
        </p:nvGraphicFramePr>
        <p:xfrm>
          <a:off x="9281127" y="1091889"/>
          <a:ext cx="2922885" cy="1466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1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220F8033-F6BE-4FDB-9C2A-63CE755AC69E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8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5A788194-8715-427F-8B99-7D09897FD3D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98513497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94017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확인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Case 9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Check-List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cision Tree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결과 제공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871264"/>
              </p:ext>
            </p:extLst>
          </p:nvPr>
        </p:nvGraphicFramePr>
        <p:xfrm>
          <a:off x="9273920" y="1149144"/>
          <a:ext cx="2917256" cy="9416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79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5946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팝업 닫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lf Check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14407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C39E3E45-748D-4699-B379-D5DD8CBBB92D}"/>
              </a:ext>
            </a:extLst>
          </p:cNvPr>
          <p:cNvSpPr/>
          <p:nvPr/>
        </p:nvSpPr>
        <p:spPr>
          <a:xfrm>
            <a:off x="7572318" y="1673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969B7584-D27B-4798-971A-9564DC25A283}"/>
              </a:ext>
            </a:extLst>
          </p:cNvPr>
          <p:cNvSpPr/>
          <p:nvPr/>
        </p:nvSpPr>
        <p:spPr>
          <a:xfrm>
            <a:off x="9338845" y="776136"/>
            <a:ext cx="2862495" cy="3535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ase9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Google Shape;1588;p63">
            <a:extLst>
              <a:ext uri="{FF2B5EF4-FFF2-40B4-BE49-F238E27FC236}">
                <a16:creationId xmlns:a16="http://schemas.microsoft.com/office/drawing/2014/main" id="{F587304F-A6BE-4D9D-8E9D-1F901DE1A66F}"/>
              </a:ext>
            </a:extLst>
          </p:cNvPr>
          <p:cNvSpPr/>
          <p:nvPr/>
        </p:nvSpPr>
        <p:spPr>
          <a:xfrm>
            <a:off x="1898800" y="2894913"/>
            <a:ext cx="6198600" cy="13887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r>
              <a:rPr lang="en-US" sz="1138" b="0" i="0" u="none" strike="noStrike" cap="none" dirty="0" err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귀하의</a:t>
            </a:r>
            <a:r>
              <a:rPr lang="en-US" sz="1138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138" b="1" dirty="0" err="1">
                <a:solidFill>
                  <a:srgbClr val="3F3F3F"/>
                </a:solidFill>
              </a:rPr>
              <a:t>EU역내</a:t>
            </a:r>
            <a:r>
              <a:rPr lang="en-US" sz="1138" b="1" dirty="0">
                <a:solidFill>
                  <a:srgbClr val="3F3F3F"/>
                </a:solidFill>
              </a:rPr>
              <a:t> </a:t>
            </a:r>
            <a:r>
              <a:rPr lang="en-US" sz="1138" b="1" dirty="0" err="1">
                <a:solidFill>
                  <a:srgbClr val="3F3F3F"/>
                </a:solidFill>
              </a:rPr>
              <a:t>종속기업은</a:t>
            </a:r>
            <a:r>
              <a:rPr lang="en-US" sz="1138" b="1" i="0" u="none" strike="noStrike" cap="none" dirty="0">
                <a:solidFill>
                  <a:srgbClr val="3F3F3F"/>
                </a:solidFill>
              </a:rPr>
              <a:t> </a:t>
            </a:r>
            <a:r>
              <a:rPr lang="en-US" sz="1138" b="1" dirty="0">
                <a:solidFill>
                  <a:srgbClr val="3F3F3F"/>
                </a:solidFill>
              </a:rPr>
              <a:t>CSRD </a:t>
            </a:r>
            <a:r>
              <a:rPr lang="en-US" sz="1138" b="1" i="0" u="none" strike="noStrike" cap="none" dirty="0" err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공시</a:t>
            </a:r>
            <a:r>
              <a:rPr lang="en-US" sz="1138" b="1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138" b="1" i="0" u="none" strike="noStrike" cap="none" dirty="0" err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대상</a:t>
            </a:r>
            <a:r>
              <a:rPr lang="en-US" sz="1138" b="0" i="0" u="none" strike="noStrike" cap="none" dirty="0" err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입니다</a:t>
            </a:r>
            <a:r>
              <a:rPr lang="en-US" sz="1138" b="0" i="0" u="none" strike="noStrike" cap="none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138" dirty="0">
              <a:solidFill>
                <a:srgbClr val="3F3F3F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endParaRPr sz="1138" dirty="0">
              <a:solidFill>
                <a:srgbClr val="3F3F3F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r>
              <a:rPr lang="en-US" sz="1138" dirty="0" err="1">
                <a:solidFill>
                  <a:srgbClr val="3F3F3F"/>
                </a:solidFill>
              </a:rPr>
              <a:t>귀하의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역내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종속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기업의</a:t>
            </a:r>
            <a:r>
              <a:rPr lang="en-US" sz="1138" dirty="0">
                <a:solidFill>
                  <a:srgbClr val="3F3F3F"/>
                </a:solidFill>
              </a:rPr>
              <a:t> CSRD </a:t>
            </a:r>
            <a:r>
              <a:rPr lang="en-US" sz="1138" dirty="0" err="1">
                <a:solidFill>
                  <a:srgbClr val="3F3F3F"/>
                </a:solidFill>
              </a:rPr>
              <a:t>공시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적용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시기를</a:t>
            </a:r>
            <a:r>
              <a:rPr lang="en-US" sz="1138" dirty="0">
                <a:solidFill>
                  <a:srgbClr val="3F3F3F"/>
                </a:solidFill>
              </a:rPr>
              <a:t> </a:t>
            </a:r>
            <a:r>
              <a:rPr lang="en-US" sz="1138" dirty="0" err="1">
                <a:solidFill>
                  <a:srgbClr val="3F3F3F"/>
                </a:solidFill>
              </a:rPr>
              <a:t>확인해보세요</a:t>
            </a:r>
            <a:r>
              <a:rPr lang="en-US" sz="1138" dirty="0">
                <a:solidFill>
                  <a:srgbClr val="3F3F3F"/>
                </a:solidFill>
              </a:rPr>
              <a:t>. </a:t>
            </a:r>
            <a:endParaRPr sz="1138" dirty="0">
              <a:solidFill>
                <a:srgbClr val="3F3F3F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endParaRPr sz="1138" dirty="0">
              <a:solidFill>
                <a:srgbClr val="3F3F3F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38"/>
              <a:buFont typeface="Arial"/>
              <a:buNone/>
            </a:pPr>
            <a:endParaRPr sz="1138" dirty="0">
              <a:solidFill>
                <a:srgbClr val="3F3F3F"/>
              </a:solidFill>
            </a:endParaRPr>
          </a:p>
        </p:txBody>
      </p:sp>
      <p:sp>
        <p:nvSpPr>
          <p:cNvPr id="75" name="Google Shape;1589;p63">
            <a:extLst>
              <a:ext uri="{FF2B5EF4-FFF2-40B4-BE49-F238E27FC236}">
                <a16:creationId xmlns:a16="http://schemas.microsoft.com/office/drawing/2014/main" id="{936CFB3F-5412-44BD-ACC3-88624D3984B5}"/>
              </a:ext>
            </a:extLst>
          </p:cNvPr>
          <p:cNvSpPr/>
          <p:nvPr/>
        </p:nvSpPr>
        <p:spPr>
          <a:xfrm>
            <a:off x="2381022" y="5057780"/>
            <a:ext cx="2296800" cy="285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53"/>
              <a:buFont typeface="Arial"/>
              <a:buNone/>
            </a:pPr>
            <a:r>
              <a:rPr lang="en-US" sz="85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▶ </a:t>
            </a:r>
            <a:r>
              <a:rPr lang="en-US" sz="853" b="1">
                <a:solidFill>
                  <a:schemeClr val="lt1"/>
                </a:solidFill>
              </a:rPr>
              <a:t>CSRD 공시 적용 시기 </a:t>
            </a:r>
            <a:r>
              <a:rPr lang="en-US" sz="85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확인하기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590;p63">
            <a:extLst>
              <a:ext uri="{FF2B5EF4-FFF2-40B4-BE49-F238E27FC236}">
                <a16:creationId xmlns:a16="http://schemas.microsoft.com/office/drawing/2014/main" id="{C58BBCA3-15CE-4748-845E-EEC135048087}"/>
              </a:ext>
            </a:extLst>
          </p:cNvPr>
          <p:cNvSpPr/>
          <p:nvPr/>
        </p:nvSpPr>
        <p:spPr>
          <a:xfrm>
            <a:off x="5106036" y="5060912"/>
            <a:ext cx="2181900" cy="285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53"/>
              <a:buFont typeface="Arial"/>
              <a:buNone/>
            </a:pPr>
            <a:r>
              <a:rPr lang="en-US" sz="85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►  CSRD 공시 준비사항 확인하기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14F76E7A-B7CF-453E-B6A8-32FC6135380A}"/>
              </a:ext>
            </a:extLst>
          </p:cNvPr>
          <p:cNvSpPr/>
          <p:nvPr/>
        </p:nvSpPr>
        <p:spPr>
          <a:xfrm>
            <a:off x="2325091" y="498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526CD7C1-7364-4A06-877F-90E543F3A91B}"/>
              </a:ext>
            </a:extLst>
          </p:cNvPr>
          <p:cNvSpPr/>
          <p:nvPr/>
        </p:nvSpPr>
        <p:spPr>
          <a:xfrm>
            <a:off x="5057914" y="5003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FF7756C-15F3-4ADE-BD61-6CF2691B7D0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53520732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375071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1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예외사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예사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042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예외사항 ∙ 유예사항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888689" y="2338937"/>
            <a:ext cx="7590103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들의 공시 부담을 완화하기 위해 다양한 공시 옵션을 제공합니다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장기적으로 가장 효과적이고 효율적인 공시 전략을 수립하기 위해 가능한 모든 공시 옵션의 장단점을 파악하는 것이 중요합니다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sp>
        <p:nvSpPr>
          <p:cNvPr id="122" name="Google Shape;5797;p802">
            <a:extLst>
              <a:ext uri="{FF2B5EF4-FFF2-40B4-BE49-F238E27FC236}">
                <a16:creationId xmlns:a16="http://schemas.microsoft.com/office/drawing/2014/main" id="{95221936-3D41-4E4C-9265-74675D54A6A5}"/>
              </a:ext>
            </a:extLst>
          </p:cNvPr>
          <p:cNvSpPr/>
          <p:nvPr/>
        </p:nvSpPr>
        <p:spPr>
          <a:xfrm>
            <a:off x="1065913" y="2963043"/>
            <a:ext cx="2295737" cy="29319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72000" tIns="108000" rIns="72000" bIns="45700" anchor="t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#1. Non-EU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모기업 연결 공시 시 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    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법인 예외 가능성 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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on-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기업이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규정 혹은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‘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등하다고 간주되는 방식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작성한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연결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 보고서에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법인이 포함된 경우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법인은 공시 대상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외될 수 있습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(**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단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장 대기업은 별도 공시 대상입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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4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까지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on-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기업 별도 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적용 기준을 발표할 예정입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러나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on-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기업 별도 적용 기준을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규정과 동등한 기준으로 간주할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지 여부는 확정되지 않은 상태입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이에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기준에 대한 지속적인  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니터링을 통해 법인 예외 가능성을 주시할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요가 있습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 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5797;p802">
            <a:extLst>
              <a:ext uri="{FF2B5EF4-FFF2-40B4-BE49-F238E27FC236}">
                <a16:creationId xmlns:a16="http://schemas.microsoft.com/office/drawing/2014/main" id="{34953508-B0B3-4622-ACF3-556FBF8D3567}"/>
              </a:ext>
            </a:extLst>
          </p:cNvPr>
          <p:cNvSpPr/>
          <p:nvPr/>
        </p:nvSpPr>
        <p:spPr>
          <a:xfrm>
            <a:off x="3486642" y="2963043"/>
            <a:ext cx="2295737" cy="29319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72000" tIns="108000" rIns="72000" bIns="45700" anchor="t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#2. EU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역내 인위적 연결 공시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    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가능성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 2030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년까지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CSRD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공시 대상이 되는 모든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EU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역내 기업에 대해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‘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인위적으로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‘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연결 공시를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허용하는 유예 기간이 적용됩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.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3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 자회사 및 지사가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2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이상인 경우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매출액 기준으로 가장 큰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회사가 연결 기준으로 공시하면 그룹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수준의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기업 연결공시로 간주됩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연결  공시에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함된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내 법인은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에서 제외될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 있습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   (**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단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,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상장 대기업은 별도 공시 대상입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)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5797;p802">
            <a:extLst>
              <a:ext uri="{FF2B5EF4-FFF2-40B4-BE49-F238E27FC236}">
                <a16:creationId xmlns:a16="http://schemas.microsoft.com/office/drawing/2014/main" id="{690940A8-2B95-4442-B838-15305522F1C3}"/>
              </a:ext>
            </a:extLst>
          </p:cNvPr>
          <p:cNvSpPr/>
          <p:nvPr/>
        </p:nvSpPr>
        <p:spPr>
          <a:xfrm>
            <a:off x="5908511" y="2981058"/>
            <a:ext cx="2295737" cy="29319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72000" tIns="108000" rIns="72000" bIns="45700" anchor="t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#3.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공시 동등성 인정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Arial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 2024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년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1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월까지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CSRD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의 산업별 기준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,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SME(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중소기업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)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기준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, Non-EU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모기업   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별도 적용 기준이 발표될 예정입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.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타 공시 기준 간 상호운용성과 동등성의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기준이 확정되지 않았으나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각 국가별 법적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규제가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CSRD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가 요구하는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 수준을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충족하지 못할 가능성이 높습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.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현재까지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CSRD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의 공시 범위가 가장 넓기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때문에  동등성이 인정되는 타 기준을 찾기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어려울 것으로 보이지만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, IFRS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의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ISSB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기준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,</a:t>
            </a: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미국 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SEC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기후공시 의무화 법안 간 상호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운용성이 인정되는 부분을 파악하여 </a:t>
            </a:r>
            <a:endParaRPr lang="en-US" altLang="ko-KR" sz="8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algn="just"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 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 대응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</a:t>
            </a:r>
            <a:r>
              <a:rPr lang="ko-KR" altLang="en-US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전략을 수립할 필요가 있습니다</a:t>
            </a:r>
            <a:r>
              <a:rPr lang="en-US" altLang="ko-KR" sz="8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. 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0E4D1ACC-98F6-4061-A630-EA21C90C7F7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86143467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10867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1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준비사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042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BDA1361B-CAFD-401B-80AE-AB93819CDB04}"/>
              </a:ext>
            </a:extLst>
          </p:cNvPr>
          <p:cNvSpPr/>
          <p:nvPr/>
        </p:nvSpPr>
        <p:spPr>
          <a:xfrm>
            <a:off x="547373" y="3477554"/>
            <a:ext cx="8060518" cy="28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ropean Green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eal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ADF2E533-1900-4F88-A87D-6F4364C904C4}"/>
              </a:ext>
            </a:extLst>
          </p:cNvPr>
          <p:cNvSpPr/>
          <p:nvPr/>
        </p:nvSpPr>
        <p:spPr>
          <a:xfrm>
            <a:off x="547373" y="4065190"/>
            <a:ext cx="2717074" cy="2827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Taxonomy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D905296-4D9E-4B04-B2A8-280449B79371}"/>
              </a:ext>
            </a:extLst>
          </p:cNvPr>
          <p:cNvSpPr/>
          <p:nvPr/>
        </p:nvSpPr>
        <p:spPr>
          <a:xfrm>
            <a:off x="3386365" y="4065190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ustainable Finance Disclosure Regulation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B6C193E-04E6-430B-95C9-CE98A720664E}"/>
              </a:ext>
            </a:extLst>
          </p:cNvPr>
          <p:cNvSpPr/>
          <p:nvPr/>
        </p:nvSpPr>
        <p:spPr>
          <a:xfrm>
            <a:off x="547373" y="4295636"/>
            <a:ext cx="2717074" cy="17091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한 경제활동에 대한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 체계와 규제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33CF4C03-6097-48C6-B2AF-4EC9BD2CE697}"/>
              </a:ext>
            </a:extLst>
          </p:cNvPr>
          <p:cNvSpPr/>
          <p:nvPr/>
        </p:nvSpPr>
        <p:spPr>
          <a:xfrm>
            <a:off x="3386365" y="4295637"/>
            <a:ext cx="5221526" cy="28275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기관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지속 가능한 투자에 대한 정보를 공개하고 투자자들에게 제공하기 위한 규제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CCD462-5AA8-41FE-B916-21336C0A21B3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유럽연합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기준 프레임워크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7193DCBE-F22D-49F7-9713-3442726C2234}"/>
              </a:ext>
            </a:extLst>
          </p:cNvPr>
          <p:cNvSpPr/>
          <p:nvPr/>
        </p:nvSpPr>
        <p:spPr>
          <a:xfrm>
            <a:off x="547373" y="3720874"/>
            <a:ext cx="8060518" cy="28275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 가능한 경제로의 전환을 목표로 하는 유럽 연합의 전략적 계획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C200E12-6BF2-466F-99D8-54423285C25D}"/>
              </a:ext>
            </a:extLst>
          </p:cNvPr>
          <p:cNvSpPr/>
          <p:nvPr/>
        </p:nvSpPr>
        <p:spPr>
          <a:xfrm>
            <a:off x="3386365" y="4759493"/>
            <a:ext cx="5221526" cy="28275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rporate Sustainability Reporting Directiv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40FD040-BAFE-4566-BA25-992F9E0F9D44}"/>
              </a:ext>
            </a:extLst>
          </p:cNvPr>
          <p:cNvSpPr/>
          <p:nvPr/>
        </p:nvSpPr>
        <p:spPr>
          <a:xfrm>
            <a:off x="3386365" y="4989940"/>
            <a:ext cx="5221526" cy="10191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</a:t>
            </a:r>
            <a: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성 공시와 보고를 위한 요구사항이 정의된 법적 지침</a:t>
            </a: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en-US" altLang="ko-KR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1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endParaRPr lang="ko-KR" altLang="en-US" sz="1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4" name="Picture 2" descr="Check, done">
            <a:extLst>
              <a:ext uri="{FF2B5EF4-FFF2-40B4-BE49-F238E27FC236}">
                <a16:creationId xmlns:a16="http://schemas.microsoft.com/office/drawing/2014/main" id="{7312E0EA-3041-43A5-B032-B97F43BCB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rgbClr val="E0301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208" y="457494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1FC3499-CEFD-438B-85B1-925F151C0F85}"/>
              </a:ext>
            </a:extLst>
          </p:cNvPr>
          <p:cNvCxnSpPr>
            <a:stCxn id="62" idx="2"/>
            <a:endCxn id="86" idx="0"/>
          </p:cNvCxnSpPr>
          <p:nvPr/>
        </p:nvCxnSpPr>
        <p:spPr>
          <a:xfrm>
            <a:off x="5997128" y="4578394"/>
            <a:ext cx="0" cy="18109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B65678E0-2B02-4D81-8E4E-0F84657D07ED}"/>
              </a:ext>
            </a:extLst>
          </p:cNvPr>
          <p:cNvGrpSpPr/>
          <p:nvPr/>
        </p:nvGrpSpPr>
        <p:grpSpPr>
          <a:xfrm>
            <a:off x="3666007" y="5223349"/>
            <a:ext cx="4662242" cy="704566"/>
            <a:chOff x="3666007" y="5327473"/>
            <a:chExt cx="4662242" cy="600442"/>
          </a:xfrm>
        </p:grpSpPr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99494DE3-E742-4C49-B19E-AB7821526976}"/>
                </a:ext>
              </a:extLst>
            </p:cNvPr>
            <p:cNvSpPr/>
            <p:nvPr/>
          </p:nvSpPr>
          <p:spPr>
            <a:xfrm>
              <a:off x="3666007" y="5327473"/>
              <a:ext cx="4662242" cy="60044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RS</a:t>
              </a:r>
              <a:br>
                <a:rPr lang="en-US" altLang="ko-KR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서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88BA12A3-F41E-4D08-9713-9C58E678E37B}"/>
                </a:ext>
              </a:extLst>
            </p:cNvPr>
            <p:cNvSpPr/>
            <p:nvPr/>
          </p:nvSpPr>
          <p:spPr>
            <a:xfrm>
              <a:off x="4208248" y="5386501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1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st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BCEBE318-CBCB-475F-9942-5525D2D1DF9C}"/>
                </a:ext>
              </a:extLst>
            </p:cNvPr>
            <p:cNvSpPr/>
            <p:nvPr/>
          </p:nvSpPr>
          <p:spPr>
            <a:xfrm>
              <a:off x="4208248" y="5654137"/>
              <a:ext cx="3996000" cy="2195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2</a:t>
              </a:r>
              <a:r>
                <a:rPr lang="en-US" altLang="ko-KR" sz="8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nd</a:t>
              </a:r>
              <a:r>
                <a:rPr lang="en-US" altLang="ko-KR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Segoe UI" panose="020B0502040204020203" pitchFamily="34" charset="0"/>
                </a:rPr>
                <a:t> Set</a:t>
              </a:r>
              <a:endPara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" name="사각형: 둥근 모서리 6">
              <a:extLst>
                <a:ext uri="{FF2B5EF4-FFF2-40B4-BE49-F238E27FC236}">
                  <a16:creationId xmlns:a16="http://schemas.microsoft.com/office/drawing/2014/main" id="{B01CA9E9-742C-4CD9-9BEE-7F9C495D92C5}"/>
                </a:ext>
              </a:extLst>
            </p:cNvPr>
            <p:cNvSpPr/>
            <p:nvPr/>
          </p:nvSpPr>
          <p:spPr>
            <a:xfrm>
              <a:off x="4725944" y="5405957"/>
              <a:ext cx="108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공통기준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SRS1, 2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C8D91AA1-4408-47F9-B4A6-35F475B08413}"/>
                </a:ext>
              </a:extLst>
            </p:cNvPr>
            <p:cNvSpPr/>
            <p:nvPr/>
          </p:nvSpPr>
          <p:spPr>
            <a:xfrm>
              <a:off x="5847836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환경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E1~5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69230ED2-A63C-4D66-B124-AA90FF32A2F7}"/>
                </a:ext>
              </a:extLst>
            </p:cNvPr>
            <p:cNvSpPr/>
            <p:nvPr/>
          </p:nvSpPr>
          <p:spPr>
            <a:xfrm>
              <a:off x="6609728" y="5405957"/>
              <a:ext cx="720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사회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S1~4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6FDACE77-8E38-4AD8-82E2-ED81FE32E5E1}"/>
                </a:ext>
              </a:extLst>
            </p:cNvPr>
            <p:cNvSpPr/>
            <p:nvPr/>
          </p:nvSpPr>
          <p:spPr>
            <a:xfrm>
              <a:off x="7371620" y="5405957"/>
              <a:ext cx="756000" cy="1864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거버넌스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(G1)</a:t>
              </a:r>
              <a:r>
                <a:rPr lang="ko-KR" altLang="en-US" sz="9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85624F9F-6845-4DA2-A2E8-EE1C2861B9AD}"/>
                </a:ext>
              </a:extLst>
            </p:cNvPr>
            <p:cNvSpPr/>
            <p:nvPr/>
          </p:nvSpPr>
          <p:spPr>
            <a:xfrm>
              <a:off x="4725944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산업별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0252BFF-88F1-4A2B-8470-ACB545AB4F77}"/>
                </a:ext>
              </a:extLst>
            </p:cNvPr>
            <p:cNvSpPr/>
            <p:nvPr/>
          </p:nvSpPr>
          <p:spPr>
            <a:xfrm>
              <a:off x="5881918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Non-EU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업 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F1B3C20B-B006-475E-88DD-118BD69908D8}"/>
                </a:ext>
              </a:extLst>
            </p:cNvPr>
            <p:cNvSpPr/>
            <p:nvPr/>
          </p:nvSpPr>
          <p:spPr>
            <a:xfrm>
              <a:off x="7037892" y="5671310"/>
              <a:ext cx="1080000" cy="186475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상장중소기업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기준</a:t>
              </a:r>
              <a:endParaRPr lang="ko-KR" altLang="en-US" sz="9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42315" y="1546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0C3599-846A-4CAF-AE5F-ED8D0A6369DF}"/>
              </a:ext>
            </a:extLst>
          </p:cNvPr>
          <p:cNvSpPr/>
          <p:nvPr/>
        </p:nvSpPr>
        <p:spPr>
          <a:xfrm>
            <a:off x="332993" y="610855"/>
            <a:ext cx="8660370" cy="6058499"/>
          </a:xfrm>
          <a:prstGeom prst="rect">
            <a:avLst/>
          </a:prstGeom>
          <a:solidFill>
            <a:srgbClr val="F2F2F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1E8D5AD2-AA0F-4DE0-97D1-8C76864633A8}"/>
              </a:ext>
            </a:extLst>
          </p:cNvPr>
          <p:cNvSpPr/>
          <p:nvPr/>
        </p:nvSpPr>
        <p:spPr>
          <a:xfrm>
            <a:off x="705336" y="1615772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6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7BF5596-E140-4531-B4BB-5586A80D77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067" y="1700808"/>
            <a:ext cx="4837355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준비사항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06BEBB9-6940-48E8-91C6-74DA4B7D4D55}"/>
              </a:ext>
            </a:extLst>
          </p:cNvPr>
          <p:cNvSpPr/>
          <p:nvPr/>
        </p:nvSpPr>
        <p:spPr>
          <a:xfrm>
            <a:off x="843142" y="2090754"/>
            <a:ext cx="7629122" cy="402669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759BB4D-EC6E-43CD-8952-36408032CE82}"/>
              </a:ext>
            </a:extLst>
          </p:cNvPr>
          <p:cNvSpPr/>
          <p:nvPr/>
        </p:nvSpPr>
        <p:spPr>
          <a:xfrm>
            <a:off x="888689" y="2338937"/>
            <a:ext cx="7590103" cy="4263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대상인 경우 다음과 같은 단계로 공시를 준비하여야 합니다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12" name="Google Shape;1464;p3">
            <a:extLst>
              <a:ext uri="{FF2B5EF4-FFF2-40B4-BE49-F238E27FC236}">
                <a16:creationId xmlns:a16="http://schemas.microsoft.com/office/drawing/2014/main" id="{367AD1CD-381C-425E-9ECB-52A61B91B8E4}"/>
              </a:ext>
            </a:extLst>
          </p:cNvPr>
          <p:cNvSpPr/>
          <p:nvPr/>
        </p:nvSpPr>
        <p:spPr>
          <a:xfrm>
            <a:off x="2207497" y="3319801"/>
            <a:ext cx="1568644" cy="89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50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altLang="ko-KR" sz="1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altLang="ko-KR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EA5A0520-2B91-473D-935F-FE5E650EC2C6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2FDF7939-FA1B-4100-B5E7-4C1B8F405A25}"/>
              </a:ext>
            </a:extLst>
          </p:cNvPr>
          <p:cNvSpPr/>
          <p:nvPr/>
        </p:nvSpPr>
        <p:spPr>
          <a:xfrm>
            <a:off x="7464152" y="2130112"/>
            <a:ext cx="968472" cy="169940"/>
          </a:xfrm>
          <a:prstGeom prst="roundRect">
            <a:avLst>
              <a:gd name="adj" fmla="val 9994"/>
            </a:avLst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7-12 10:00</a:t>
            </a:r>
            <a:endParaRPr lang="ko-KR" altLang="en-US" sz="800" dirty="0"/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5624B05-2B85-4A47-AA14-54997467D03F}"/>
              </a:ext>
            </a:extLst>
          </p:cNvPr>
          <p:cNvGrpSpPr/>
          <p:nvPr/>
        </p:nvGrpSpPr>
        <p:grpSpPr>
          <a:xfrm>
            <a:off x="1065913" y="2963044"/>
            <a:ext cx="2339295" cy="2406290"/>
            <a:chOff x="1065913" y="2963044"/>
            <a:chExt cx="2339295" cy="2406290"/>
          </a:xfrm>
        </p:grpSpPr>
        <p:sp>
          <p:nvSpPr>
            <p:cNvPr id="73" name="Google Shape;5797;p802">
              <a:extLst>
                <a:ext uri="{FF2B5EF4-FFF2-40B4-BE49-F238E27FC236}">
                  <a16:creationId xmlns:a16="http://schemas.microsoft.com/office/drawing/2014/main" id="{FAB5E7D1-2DEE-4626-900F-B5827B04A160}"/>
                </a:ext>
              </a:extLst>
            </p:cNvPr>
            <p:cNvSpPr/>
            <p:nvPr/>
          </p:nvSpPr>
          <p:spPr>
            <a:xfrm>
              <a:off x="1109471" y="3068961"/>
              <a:ext cx="2295737" cy="3326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진단 및 전략 수립</a:t>
              </a:r>
              <a:endParaRPr lang="ko-KR" altLang="en-US" sz="9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5797;p802">
              <a:extLst>
                <a:ext uri="{FF2B5EF4-FFF2-40B4-BE49-F238E27FC236}">
                  <a16:creationId xmlns:a16="http://schemas.microsoft.com/office/drawing/2014/main" id="{95221936-3D41-4E4C-9265-74675D54A6A5}"/>
                </a:ext>
              </a:extLst>
            </p:cNvPr>
            <p:cNvSpPr/>
            <p:nvPr/>
          </p:nvSpPr>
          <p:spPr>
            <a:xfrm>
              <a:off x="1065913" y="2963044"/>
              <a:ext cx="565591" cy="188374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  <a:effectLst/>
          </p:spPr>
          <p:txBody>
            <a:bodyPr lIns="36000" rIns="36000" rtlCol="0" anchor="ctr"/>
            <a:lstStyle/>
            <a:p>
              <a:pPr algn="ctr" defTabSz="914400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Phase 1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76" name="Google Shape;5797;p802">
              <a:extLst>
                <a:ext uri="{FF2B5EF4-FFF2-40B4-BE49-F238E27FC236}">
                  <a16:creationId xmlns:a16="http://schemas.microsoft.com/office/drawing/2014/main" id="{56A1016D-1411-4E5F-A845-CC19A5E4FF85}"/>
                </a:ext>
              </a:extLst>
            </p:cNvPr>
            <p:cNvSpPr/>
            <p:nvPr/>
          </p:nvSpPr>
          <p:spPr>
            <a:xfrm>
              <a:off x="1094000" y="3473139"/>
              <a:ext cx="2295737" cy="189619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 </a:t>
              </a:r>
              <a:endParaRPr lang="ko-KR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5797;p802">
              <a:extLst>
                <a:ext uri="{FF2B5EF4-FFF2-40B4-BE49-F238E27FC236}">
                  <a16:creationId xmlns:a16="http://schemas.microsoft.com/office/drawing/2014/main" id="{E4C2BB79-B734-4468-A53C-6E2B3E790770}"/>
                </a:ext>
              </a:extLst>
            </p:cNvPr>
            <p:cNvSpPr/>
            <p:nvPr/>
          </p:nvSpPr>
          <p:spPr>
            <a:xfrm>
              <a:off x="1224377" y="3566220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1. CSRD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 요건 진단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5797;p802">
              <a:extLst>
                <a:ext uri="{FF2B5EF4-FFF2-40B4-BE49-F238E27FC236}">
                  <a16:creationId xmlns:a16="http://schemas.microsoft.com/office/drawing/2014/main" id="{A8CE417A-E07E-4657-B008-355FAAD22895}"/>
                </a:ext>
              </a:extLst>
            </p:cNvPr>
            <p:cNvSpPr/>
            <p:nvPr/>
          </p:nvSpPr>
          <p:spPr>
            <a:xfrm>
              <a:off x="1233494" y="3966456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2</a:t>
              </a:r>
              <a:r>
                <a:rPr lang="en-US" altLang="ko-KR" sz="900" b="1" spc="-3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.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중대성 평가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5797;p802">
              <a:extLst>
                <a:ext uri="{FF2B5EF4-FFF2-40B4-BE49-F238E27FC236}">
                  <a16:creationId xmlns:a16="http://schemas.microsoft.com/office/drawing/2014/main" id="{D598EA67-DBAB-422F-ABD6-A4737CED5D63}"/>
                </a:ext>
              </a:extLst>
            </p:cNvPr>
            <p:cNvSpPr/>
            <p:nvPr/>
          </p:nvSpPr>
          <p:spPr>
            <a:xfrm>
              <a:off x="1226236" y="4391862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3. Gap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분석 수행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5797;p802">
              <a:extLst>
                <a:ext uri="{FF2B5EF4-FFF2-40B4-BE49-F238E27FC236}">
                  <a16:creationId xmlns:a16="http://schemas.microsoft.com/office/drawing/2014/main" id="{B815B522-1CCB-4A33-8640-0C0FB7211DDF}"/>
                </a:ext>
              </a:extLst>
            </p:cNvPr>
            <p:cNvSpPr/>
            <p:nvPr/>
          </p:nvSpPr>
          <p:spPr>
            <a:xfrm>
              <a:off x="1219583" y="4797192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4. CSRD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공시 로드맵 및 실행계획 수립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6" name="그룹 95">
            <a:extLst>
              <a:ext uri="{FF2B5EF4-FFF2-40B4-BE49-F238E27FC236}">
                <a16:creationId xmlns:a16="http://schemas.microsoft.com/office/drawing/2014/main" id="{96CF0C00-C0BF-450F-8F1B-0B2CBBA3EA8C}"/>
              </a:ext>
            </a:extLst>
          </p:cNvPr>
          <p:cNvGrpSpPr/>
          <p:nvPr/>
        </p:nvGrpSpPr>
        <p:grpSpPr>
          <a:xfrm>
            <a:off x="3474727" y="2958259"/>
            <a:ext cx="2339295" cy="2406290"/>
            <a:chOff x="1065913" y="2963044"/>
            <a:chExt cx="2339295" cy="2406290"/>
          </a:xfrm>
        </p:grpSpPr>
        <p:sp>
          <p:nvSpPr>
            <p:cNvPr id="97" name="Google Shape;5797;p802">
              <a:extLst>
                <a:ext uri="{FF2B5EF4-FFF2-40B4-BE49-F238E27FC236}">
                  <a16:creationId xmlns:a16="http://schemas.microsoft.com/office/drawing/2014/main" id="{DCA42E02-F2BD-4A0E-A9C5-7B95AD49346D}"/>
                </a:ext>
              </a:extLst>
            </p:cNvPr>
            <p:cNvSpPr/>
            <p:nvPr/>
          </p:nvSpPr>
          <p:spPr>
            <a:xfrm>
              <a:off x="1109471" y="3068961"/>
              <a:ext cx="2295737" cy="3326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지속가능 경영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활동 내재화</a:t>
              </a:r>
              <a:endParaRPr lang="ko-KR" altLang="en-US" sz="9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5797;p802">
              <a:extLst>
                <a:ext uri="{FF2B5EF4-FFF2-40B4-BE49-F238E27FC236}">
                  <a16:creationId xmlns:a16="http://schemas.microsoft.com/office/drawing/2014/main" id="{384749A0-5F34-4E30-B98D-C704BEA23BA3}"/>
                </a:ext>
              </a:extLst>
            </p:cNvPr>
            <p:cNvSpPr/>
            <p:nvPr/>
          </p:nvSpPr>
          <p:spPr>
            <a:xfrm>
              <a:off x="1065913" y="2963044"/>
              <a:ext cx="565591" cy="188374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  <a:effectLst/>
          </p:spPr>
          <p:txBody>
            <a:bodyPr lIns="36000" rIns="36000" rtlCol="0" anchor="ctr"/>
            <a:lstStyle/>
            <a:p>
              <a:pPr algn="ctr" defTabSz="914400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Phase 2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99" name="Google Shape;5797;p802">
              <a:extLst>
                <a:ext uri="{FF2B5EF4-FFF2-40B4-BE49-F238E27FC236}">
                  <a16:creationId xmlns:a16="http://schemas.microsoft.com/office/drawing/2014/main" id="{5DF12837-133E-4E47-8A5C-2CB2CEB92A9A}"/>
                </a:ext>
              </a:extLst>
            </p:cNvPr>
            <p:cNvSpPr/>
            <p:nvPr/>
          </p:nvSpPr>
          <p:spPr>
            <a:xfrm>
              <a:off x="1094000" y="3473139"/>
              <a:ext cx="2295737" cy="189619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 </a:t>
              </a:r>
              <a:endParaRPr lang="ko-KR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5797;p802">
              <a:extLst>
                <a:ext uri="{FF2B5EF4-FFF2-40B4-BE49-F238E27FC236}">
                  <a16:creationId xmlns:a16="http://schemas.microsoft.com/office/drawing/2014/main" id="{D17BE9C2-ED00-419E-8B08-78919D6E6F6E}"/>
                </a:ext>
              </a:extLst>
            </p:cNvPr>
            <p:cNvSpPr/>
            <p:nvPr/>
          </p:nvSpPr>
          <p:spPr>
            <a:xfrm>
              <a:off x="1224377" y="3566220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5.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거버넌스 및 내부 통제 체계 수립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5797;p802">
              <a:extLst>
                <a:ext uri="{FF2B5EF4-FFF2-40B4-BE49-F238E27FC236}">
                  <a16:creationId xmlns:a16="http://schemas.microsoft.com/office/drawing/2014/main" id="{E9EFF2D5-BB21-430D-832B-4D70D188178C}"/>
                </a:ext>
              </a:extLst>
            </p:cNvPr>
            <p:cNvSpPr/>
            <p:nvPr/>
          </p:nvSpPr>
          <p:spPr>
            <a:xfrm>
              <a:off x="1216573" y="4409572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7.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데이터 수집 시스템 및 인프라 구축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BFAE52C9-B733-4EB1-B123-0284D27007DD}"/>
              </a:ext>
            </a:extLst>
          </p:cNvPr>
          <p:cNvGrpSpPr/>
          <p:nvPr/>
        </p:nvGrpSpPr>
        <p:grpSpPr>
          <a:xfrm>
            <a:off x="5897214" y="2958259"/>
            <a:ext cx="2339295" cy="2406290"/>
            <a:chOff x="1065913" y="2963044"/>
            <a:chExt cx="2339295" cy="2406290"/>
          </a:xfrm>
        </p:grpSpPr>
        <p:sp>
          <p:nvSpPr>
            <p:cNvPr id="107" name="Google Shape;5797;p802">
              <a:extLst>
                <a:ext uri="{FF2B5EF4-FFF2-40B4-BE49-F238E27FC236}">
                  <a16:creationId xmlns:a16="http://schemas.microsoft.com/office/drawing/2014/main" id="{98DD8C87-5C7D-4F40-B199-FC0EEC729A4C}"/>
                </a:ext>
              </a:extLst>
            </p:cNvPr>
            <p:cNvSpPr/>
            <p:nvPr/>
          </p:nvSpPr>
          <p:spPr>
            <a:xfrm>
              <a:off x="1109471" y="3068961"/>
              <a:ext cx="2295737" cy="3326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이행 및 개선</a:t>
              </a:r>
              <a:endParaRPr lang="ko-KR" altLang="en-US" sz="9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5797;p802">
              <a:extLst>
                <a:ext uri="{FF2B5EF4-FFF2-40B4-BE49-F238E27FC236}">
                  <a16:creationId xmlns:a16="http://schemas.microsoft.com/office/drawing/2014/main" id="{860F03E5-0309-4A18-8199-EECEDFE3F2B2}"/>
                </a:ext>
              </a:extLst>
            </p:cNvPr>
            <p:cNvSpPr/>
            <p:nvPr/>
          </p:nvSpPr>
          <p:spPr>
            <a:xfrm>
              <a:off x="1065913" y="2963044"/>
              <a:ext cx="565591" cy="188374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  <a:effectLst/>
          </p:spPr>
          <p:txBody>
            <a:bodyPr lIns="36000" rIns="36000" rtlCol="0" anchor="ctr"/>
            <a:lstStyle/>
            <a:p>
              <a:pPr algn="ctr" defTabSz="914400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Phase 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endParaRPr>
            </a:p>
          </p:txBody>
        </p:sp>
        <p:sp>
          <p:nvSpPr>
            <p:cNvPr id="109" name="Google Shape;5797;p802">
              <a:extLst>
                <a:ext uri="{FF2B5EF4-FFF2-40B4-BE49-F238E27FC236}">
                  <a16:creationId xmlns:a16="http://schemas.microsoft.com/office/drawing/2014/main" id="{A1506C8D-108F-4579-A40E-E146A54D4BEF}"/>
                </a:ext>
              </a:extLst>
            </p:cNvPr>
            <p:cNvSpPr/>
            <p:nvPr/>
          </p:nvSpPr>
          <p:spPr>
            <a:xfrm>
              <a:off x="1094000" y="3473139"/>
              <a:ext cx="2295737" cy="189619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 algn="ctr"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 </a:t>
              </a:r>
              <a:endParaRPr lang="ko-KR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5797;p802">
              <a:extLst>
                <a:ext uri="{FF2B5EF4-FFF2-40B4-BE49-F238E27FC236}">
                  <a16:creationId xmlns:a16="http://schemas.microsoft.com/office/drawing/2014/main" id="{708D1F2F-F680-495E-BB3B-1B5DE77FDFDC}"/>
                </a:ext>
              </a:extLst>
            </p:cNvPr>
            <p:cNvSpPr/>
            <p:nvPr/>
          </p:nvSpPr>
          <p:spPr>
            <a:xfrm>
              <a:off x="1224377" y="3566220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8. IT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인프라 운영 및 데이터 수집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5797;p802">
              <a:extLst>
                <a:ext uri="{FF2B5EF4-FFF2-40B4-BE49-F238E27FC236}">
                  <a16:creationId xmlns:a16="http://schemas.microsoft.com/office/drawing/2014/main" id="{0DB61B41-4B7F-41D4-803A-B3D7BCF43D27}"/>
                </a:ext>
              </a:extLst>
            </p:cNvPr>
            <p:cNvSpPr/>
            <p:nvPr/>
          </p:nvSpPr>
          <p:spPr>
            <a:xfrm>
              <a:off x="1224377" y="3981200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9. EU Taxonomy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진단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5797;p802">
              <a:extLst>
                <a:ext uri="{FF2B5EF4-FFF2-40B4-BE49-F238E27FC236}">
                  <a16:creationId xmlns:a16="http://schemas.microsoft.com/office/drawing/2014/main" id="{585BDCFB-C047-4A74-9225-5B1AED50EF91}"/>
                </a:ext>
              </a:extLst>
            </p:cNvPr>
            <p:cNvSpPr/>
            <p:nvPr/>
          </p:nvSpPr>
          <p:spPr>
            <a:xfrm>
              <a:off x="1219583" y="4398937"/>
              <a:ext cx="2075512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72000" tIns="108000" rIns="72000" bIns="45700" anchor="ctr" anchorCtr="0">
              <a:noAutofit/>
            </a:bodyPr>
            <a:lstStyle/>
            <a:p>
              <a:pPr>
                <a:lnSpc>
                  <a:spcPct val="110000"/>
                </a:lnSpc>
                <a:buClr>
                  <a:srgbClr val="000000"/>
                </a:buClr>
                <a:buSzPts val="1600"/>
              </a:pP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10.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제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3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sym typeface="Arial"/>
                </a:rPr>
                <a:t>자 인증 준비</a:t>
              </a:r>
              <a:endParaRPr lang="ko-KR" altLang="en-US" sz="7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" name="Google Shape;5797;p802">
            <a:extLst>
              <a:ext uri="{FF2B5EF4-FFF2-40B4-BE49-F238E27FC236}">
                <a16:creationId xmlns:a16="http://schemas.microsoft.com/office/drawing/2014/main" id="{1C156340-3100-4A5D-BE5D-082674AC1B4A}"/>
              </a:ext>
            </a:extLst>
          </p:cNvPr>
          <p:cNvSpPr/>
          <p:nvPr/>
        </p:nvSpPr>
        <p:spPr>
          <a:xfrm>
            <a:off x="6052108" y="4824609"/>
            <a:ext cx="2075512" cy="3623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72000" tIns="108000" rIns="72000" bIns="45700" anchor="ctr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11.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피드백 수렴 및 개선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필요 사항 식별</a:t>
            </a:r>
            <a:endParaRPr lang="ko-KR" altLang="en-US" sz="700" spc="-3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5797;p802">
            <a:extLst>
              <a:ext uri="{FF2B5EF4-FFF2-40B4-BE49-F238E27FC236}">
                <a16:creationId xmlns:a16="http://schemas.microsoft.com/office/drawing/2014/main" id="{98BD04BC-632D-44B9-A64F-0572C1522E40}"/>
              </a:ext>
            </a:extLst>
          </p:cNvPr>
          <p:cNvSpPr/>
          <p:nvPr/>
        </p:nvSpPr>
        <p:spPr>
          <a:xfrm>
            <a:off x="3625387" y="3980252"/>
            <a:ext cx="2075512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72000" tIns="108000" rIns="72000" bIns="45700" anchor="ctr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600"/>
            </a:pP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6.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Arial"/>
              </a:rPr>
              <a:t>위험 및 기회 요소 내재화</a:t>
            </a:r>
            <a:endParaRPr lang="ko-KR" altLang="en-US" sz="700" spc="-3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40F12A7B-FE23-474B-BCD6-CF1744AF5C8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291795173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72585"/>
              </p:ext>
            </p:extLst>
          </p:nvPr>
        </p:nvGraphicFramePr>
        <p:xfrm>
          <a:off x="9267391" y="759198"/>
          <a:ext cx="2922885" cy="3042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R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69824" y="2559819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528028" y="2865210"/>
            <a:ext cx="8195695" cy="50618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766726"/>
              </p:ext>
            </p:extLst>
          </p:nvPr>
        </p:nvGraphicFramePr>
        <p:xfrm>
          <a:off x="539686" y="3433248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503236" y="33367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48E0191B-4497-43BF-A6A1-1339FE0E1C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8" name="그림 67">
              <a:extLst>
                <a:ext uri="{FF2B5EF4-FFF2-40B4-BE49-F238E27FC236}">
                  <a16:creationId xmlns:a16="http://schemas.microsoft.com/office/drawing/2014/main" id="{DB1022DB-6D40-4881-8A7C-6A52969EB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6A9E93B-E990-4A67-8F24-BA06A593560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75C1D5EC-FC35-433A-B1DA-8C835D379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014FD842-617F-4E13-92C2-CEE46D76910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8CDFD92-B277-4DF2-8DF8-ADA598675483}"/>
              </a:ext>
            </a:extLst>
          </p:cNvPr>
          <p:cNvSpPr/>
          <p:nvPr/>
        </p:nvSpPr>
        <p:spPr>
          <a:xfrm>
            <a:off x="6845390" y="2598099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B7637783-E905-4627-BF90-E837D59ED4B5}"/>
              </a:ext>
            </a:extLst>
          </p:cNvPr>
          <p:cNvSpPr/>
          <p:nvPr/>
        </p:nvSpPr>
        <p:spPr>
          <a:xfrm>
            <a:off x="6780786" y="25759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1FD988-28C1-4B03-9CA0-14AD0524C450}"/>
              </a:ext>
            </a:extLst>
          </p:cNvPr>
          <p:cNvSpPr/>
          <p:nvPr/>
        </p:nvSpPr>
        <p:spPr>
          <a:xfrm>
            <a:off x="8972055" y="-32338"/>
            <a:ext cx="3218221" cy="8736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탭명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: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RS </a:t>
            </a: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보기 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→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/ ESRS </a:t>
            </a:r>
            <a:r>
              <a:rPr lang="ko-KR" altLang="en-US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보기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(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3F74463B-9A2E-48E7-9446-FBABD57D7A0B}"/>
              </a:ext>
            </a:extLst>
          </p:cNvPr>
          <p:cNvGrpSpPr/>
          <p:nvPr/>
        </p:nvGrpSpPr>
        <p:grpSpPr>
          <a:xfrm>
            <a:off x="341695" y="1612190"/>
            <a:ext cx="8642428" cy="920676"/>
            <a:chOff x="341695" y="1612190"/>
            <a:chExt cx="8642428" cy="920676"/>
          </a:xfrm>
        </p:grpSpPr>
        <p:sp>
          <p:nvSpPr>
            <p:cNvPr id="65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06E56F7F-E734-41DA-91F0-5D53F7C62E4D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1C9BABE0-3032-476B-8C5B-624CEBD1C2C8}"/>
                </a:ext>
              </a:extLst>
            </p:cNvPr>
            <p:cNvSpPr/>
            <p:nvPr/>
          </p:nvSpPr>
          <p:spPr>
            <a:xfrm>
              <a:off x="469824" y="2202180"/>
              <a:ext cx="1233688" cy="252210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1" name="사각형: 둥근 모서리 70">
              <a:extLst>
                <a:ext uri="{FF2B5EF4-FFF2-40B4-BE49-F238E27FC236}">
                  <a16:creationId xmlns:a16="http://schemas.microsoft.com/office/drawing/2014/main" id="{91132CAC-6D9E-40C7-A679-4200885D87B1}"/>
                </a:ext>
              </a:extLst>
            </p:cNvPr>
            <p:cNvSpPr/>
            <p:nvPr/>
          </p:nvSpPr>
          <p:spPr>
            <a:xfrm>
              <a:off x="1776659" y="2218192"/>
              <a:ext cx="847884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6CA847BE-80B9-4573-AECB-B5D850B42B4F}"/>
                </a:ext>
              </a:extLst>
            </p:cNvPr>
            <p:cNvSpPr/>
            <p:nvPr/>
          </p:nvSpPr>
          <p:spPr>
            <a:xfrm>
              <a:off x="2702939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5" name="직선 연결선 74">
              <a:extLst>
                <a:ext uri="{FF2B5EF4-FFF2-40B4-BE49-F238E27FC236}">
                  <a16:creationId xmlns:a16="http://schemas.microsoft.com/office/drawing/2014/main" id="{C91D3291-A64A-4CE9-9B78-665B11E22D15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677CE0A6-026D-4AD4-AB7F-4A163693FBA9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53286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DC110362-8166-43C3-A9CA-31A2DCAC4C98}"/>
                </a:ext>
              </a:extLst>
            </p:cNvPr>
            <p:cNvSpPr/>
            <p:nvPr/>
          </p:nvSpPr>
          <p:spPr>
            <a:xfrm>
              <a:off x="3655068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1E3DF23E-DCD7-47A8-BDC1-53BF955DCE0E}"/>
                </a:ext>
              </a:extLst>
            </p:cNvPr>
            <p:cNvSpPr/>
            <p:nvPr/>
          </p:nvSpPr>
          <p:spPr>
            <a:xfrm>
              <a:off x="4607197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9" name="사각형: 둥근 모서리 78">
              <a:extLst>
                <a:ext uri="{FF2B5EF4-FFF2-40B4-BE49-F238E27FC236}">
                  <a16:creationId xmlns:a16="http://schemas.microsoft.com/office/drawing/2014/main" id="{F125E2E0-4E9A-4D57-9CAF-98579E2920B1}"/>
                </a:ext>
              </a:extLst>
            </p:cNvPr>
            <p:cNvSpPr/>
            <p:nvPr/>
          </p:nvSpPr>
          <p:spPr>
            <a:xfrm>
              <a:off x="5559326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0FD8BFAF-CFA1-4770-BADE-A8495BFECBD6}"/>
                </a:ext>
              </a:extLst>
            </p:cNvPr>
            <p:cNvSpPr/>
            <p:nvPr/>
          </p:nvSpPr>
          <p:spPr>
            <a:xfrm>
              <a:off x="6511142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9A5A7014-DB3B-4BB1-92AB-3EF6BD4C054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97" name="그림 96">
            <a:extLst>
              <a:ext uri="{FF2B5EF4-FFF2-40B4-BE49-F238E27FC236}">
                <a16:creationId xmlns:a16="http://schemas.microsoft.com/office/drawing/2014/main" id="{E7371E5C-B613-42DA-B055-6457A93496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582" y="3850649"/>
            <a:ext cx="8248389" cy="333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62906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R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5184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532448"/>
              </p:ext>
            </p:extLst>
          </p:nvPr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4" name="표 11">
            <a:extLst>
              <a:ext uri="{FF2B5EF4-FFF2-40B4-BE49-F238E27FC236}">
                <a16:creationId xmlns:a16="http://schemas.microsoft.com/office/drawing/2014/main" id="{F0295544-8CA7-436E-8E3E-5442479C3E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667195"/>
              </p:ext>
            </p:extLst>
          </p:nvPr>
        </p:nvGraphicFramePr>
        <p:xfrm>
          <a:off x="472728" y="3463684"/>
          <a:ext cx="8215560" cy="31682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4700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968552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의 지속가능성 공시와 보고를 위한 요구사항이 정의된 법적 지침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1052997"/>
                  </a:ext>
                </a:extLst>
              </a:tr>
              <a:tr h="133646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211251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1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성 보고서를 작성할 때 고려하고 적용해야 할 개념과 원칙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102076"/>
                  </a:ext>
                </a:extLst>
              </a:tr>
              <a:tr h="135403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229535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배구조 및 중요성 평가 공시 요구사항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8370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227977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1- Climate Chang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E1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Requir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 요구사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너지 소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Scope 1, 2, 3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온실가스 배출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부 탄소가격 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133077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2 –Pollution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2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848209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 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549038"/>
                  </a:ext>
                </a:extLst>
              </a:tr>
            </a:tbl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57AAA07C-89FB-4352-9044-020B8B0F17D0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/ ESRS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서 구성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9C09694-2DEB-44D4-A8DB-1CF306BAC1F4}"/>
              </a:ext>
            </a:extLst>
          </p:cNvPr>
          <p:cNvSpPr txBox="1"/>
          <p:nvPr/>
        </p:nvSpPr>
        <p:spPr>
          <a:xfrm>
            <a:off x="2351584" y="3174604"/>
            <a:ext cx="518457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부 영역별로 구성된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원문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 자료는 아래 표 안에 있는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          )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클릭하여 확인 가능 </a:t>
            </a:r>
          </a:p>
        </p:txBody>
      </p:sp>
      <p:pic>
        <p:nvPicPr>
          <p:cNvPr id="65" name="Picture 2" descr="Magic, book, skill, spell">
            <a:extLst>
              <a:ext uri="{FF2B5EF4-FFF2-40B4-BE49-F238E27FC236}">
                <a16:creationId xmlns:a16="http://schemas.microsoft.com/office/drawing/2014/main" id="{183D64B7-7CD2-4AAC-BFD2-88AF830B69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8367" y="3178003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Magic, book, skill, spell">
            <a:extLst>
              <a:ext uri="{FF2B5EF4-FFF2-40B4-BE49-F238E27FC236}">
                <a16:creationId xmlns:a16="http://schemas.microsoft.com/office/drawing/2014/main" id="{035345B5-A7BC-4DB7-801E-0E2944948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3879514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Magic, book, skill, spell">
            <a:extLst>
              <a:ext uri="{FF2B5EF4-FFF2-40B4-BE49-F238E27FC236}">
                <a16:creationId xmlns:a16="http://schemas.microsoft.com/office/drawing/2014/main" id="{EA9A7CBB-7115-494A-9C41-190D16631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4265067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Magic, book, skill, spell">
            <a:extLst>
              <a:ext uri="{FF2B5EF4-FFF2-40B4-BE49-F238E27FC236}">
                <a16:creationId xmlns:a16="http://schemas.microsoft.com/office/drawing/2014/main" id="{13957325-1422-4E21-AFD1-3E17EE582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465979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Magic, book, skill, spell">
            <a:extLst>
              <a:ext uri="{FF2B5EF4-FFF2-40B4-BE49-F238E27FC236}">
                <a16:creationId xmlns:a16="http://schemas.microsoft.com/office/drawing/2014/main" id="{AFCF1132-5AD4-4C4B-84F3-F22B8D440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587248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그룹 35">
            <a:extLst>
              <a:ext uri="{FF2B5EF4-FFF2-40B4-BE49-F238E27FC236}">
                <a16:creationId xmlns:a16="http://schemas.microsoft.com/office/drawing/2014/main" id="{FFC0783F-1AE4-42E1-8420-A6DF47E1CF4F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B41347F8-FC9A-4051-97C9-1AC2D365B5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FAA40BD2-856C-473D-917E-7737BF4BE23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03F72F6A-7C6A-474B-85A7-8FEA35C040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858D887B-621A-4C39-B673-C163E9BDD43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9A5CFD7-D2D8-4C09-8262-F22C665FC49C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5" name="Picture 2" descr="Magic, book, skill, spell">
            <a:extLst>
              <a:ext uri="{FF2B5EF4-FFF2-40B4-BE49-F238E27FC236}">
                <a16:creationId xmlns:a16="http://schemas.microsoft.com/office/drawing/2014/main" id="{0CF29417-2953-4E48-9440-C9A74E20E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349722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1C79E3C3-4770-48E6-BA0A-EDAE4A0239CF}"/>
              </a:ext>
            </a:extLst>
          </p:cNvPr>
          <p:cNvSpPr/>
          <p:nvPr/>
        </p:nvSpPr>
        <p:spPr>
          <a:xfrm>
            <a:off x="8988732" y="-6823"/>
            <a:ext cx="3218221" cy="517894"/>
          </a:xfrm>
          <a:prstGeom prst="rect">
            <a:avLst/>
          </a:prstGeom>
          <a:solidFill>
            <a:srgbClr val="FF0000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31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소제목에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CSRD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포함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. CSRD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행 추가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7828C08-4A83-462F-BCE1-8F9E37D41593}"/>
              </a:ext>
            </a:extLst>
          </p:cNvPr>
          <p:cNvSpPr/>
          <p:nvPr/>
        </p:nvSpPr>
        <p:spPr>
          <a:xfrm>
            <a:off x="433050" y="3408506"/>
            <a:ext cx="8272382" cy="343958"/>
          </a:xfrm>
          <a:prstGeom prst="rect">
            <a:avLst/>
          </a:prstGeom>
          <a:noFill/>
          <a:ln w="31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4" name="연결선: 꺾임 3">
            <a:extLst>
              <a:ext uri="{FF2B5EF4-FFF2-40B4-BE49-F238E27FC236}">
                <a16:creationId xmlns:a16="http://schemas.microsoft.com/office/drawing/2014/main" id="{F5F7D365-3F86-49A8-905A-F1C6EC7B54F7}"/>
              </a:ext>
            </a:extLst>
          </p:cNvPr>
          <p:cNvCxnSpPr/>
          <p:nvPr/>
        </p:nvCxnSpPr>
        <p:spPr>
          <a:xfrm rot="5400000">
            <a:off x="7173180" y="1522123"/>
            <a:ext cx="2894365" cy="87226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F56112D8-2768-4DFE-8172-9B12E348E1E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610732024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R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271581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C85FC843-17BD-4A8B-AC48-0B0C76C38D05}"/>
              </a:ext>
            </a:extLst>
          </p:cNvPr>
          <p:cNvSpPr txBox="1"/>
          <p:nvPr/>
        </p:nvSpPr>
        <p:spPr>
          <a:xfrm>
            <a:off x="5468640" y="6009076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4" name="표 11">
            <a:extLst>
              <a:ext uri="{FF2B5EF4-FFF2-40B4-BE49-F238E27FC236}">
                <a16:creationId xmlns:a16="http://schemas.microsoft.com/office/drawing/2014/main" id="{F0295544-8CA7-436E-8E3E-5442479C3E49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1916832"/>
          <a:ext cx="8215560" cy="43408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4700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968552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기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질 및 토양 오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성 우려 물질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 잠재적 재무 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133077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3 – Water and Marine Resourc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3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자원 및 해양 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자원 및 해양 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590037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자원 및 해양 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자원 및 해양 자원 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16132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자원 및 해양 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용수 사용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자원 및 해양자원 잠재적 재무 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789963"/>
                  </a:ext>
                </a:extLst>
              </a:tr>
              <a:tr h="128598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0096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4 – Biodiversity and Ecosystem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E4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 및 생태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105050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 및 생태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37644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생물다양성 및 생태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생물다양성 및 생태계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5991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생물다양성 및 생태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생물다양성 및 생태계 변화 관련 지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잠재적 재무 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053542"/>
                  </a:ext>
                </a:extLst>
              </a:tr>
              <a:tr h="130406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86221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5 – Resource Use and Circular Ecosystem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E5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2768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77208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75369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 유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 유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 관련 목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6786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Product and Material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품과 원자재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26252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Wast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사용 및 순환경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폐기물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사용 및 순환경제 관련 잠재적 재무 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206078"/>
                  </a:ext>
                </a:extLst>
              </a:tr>
            </a:tbl>
          </a:graphicData>
        </a:graphic>
      </p:graphicFrame>
      <p:pic>
        <p:nvPicPr>
          <p:cNvPr id="68" name="Picture 2" descr="Magic, book, skill, spell">
            <a:extLst>
              <a:ext uri="{FF2B5EF4-FFF2-40B4-BE49-F238E27FC236}">
                <a16:creationId xmlns:a16="http://schemas.microsoft.com/office/drawing/2014/main" id="{13957325-1422-4E21-AFD1-3E17EE582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2339736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Magic, book, skill, spell">
            <a:extLst>
              <a:ext uri="{FF2B5EF4-FFF2-40B4-BE49-F238E27FC236}">
                <a16:creationId xmlns:a16="http://schemas.microsoft.com/office/drawing/2014/main" id="{AFCF1132-5AD4-4C4B-84F3-F22B8D440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351814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Magic, book, skill, spell">
            <a:extLst>
              <a:ext uri="{FF2B5EF4-FFF2-40B4-BE49-F238E27FC236}">
                <a16:creationId xmlns:a16="http://schemas.microsoft.com/office/drawing/2014/main" id="{FE221715-36A7-43BE-8123-9D8BE297B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470357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34624F9B-583C-4F04-AC94-98DA985C52B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8795234-7E1F-4172-8D87-A233D61AE7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204D055F-1323-4E68-994A-7EBC1C6344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A0D06598-66F3-42CD-A6D1-84EF3ED5AC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7C2AE2F-8FFE-4D21-A495-83A155E3796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8094BF60-BB97-4FAC-8568-8C732B92365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419582147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R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271581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44" name="표 11">
            <a:extLst>
              <a:ext uri="{FF2B5EF4-FFF2-40B4-BE49-F238E27FC236}">
                <a16:creationId xmlns:a16="http://schemas.microsoft.com/office/drawing/2014/main" id="{F0295544-8CA7-436E-8E3E-5442479C3E49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1916832"/>
          <a:ext cx="8215560" cy="43408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4700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968552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1 – Own Workforce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S1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23183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, Strate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해관계자 관심 및 입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590037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근로자 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통 프로세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16132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원의 특성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양성 지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정 임금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적 보호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안전보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금격차 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789963"/>
                  </a:ext>
                </a:extLst>
              </a:tr>
              <a:tr h="128598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0096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2 – Workers in the Value Chain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2. </a:t>
                      </a:r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밸류체인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내 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105050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밸류체인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 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해관계자 관심 및 입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37644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밸류체인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밸류체인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내 근로자 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통 프로세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5991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밸류체인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근로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대한 부정적 영향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긍정적 영향 개선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목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053542"/>
                  </a:ext>
                </a:extLst>
              </a:tr>
              <a:tr h="130406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86221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3 – Affected Communitie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3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 받는 지역사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2768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, Strate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향 받는 지역사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해관계자 관심 및 입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77208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향 받는 지역사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향 받는 지역사회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통 프로세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75369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향 받는 지역사회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중대한 부정적 영향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긍정적 영향 개선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목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6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26252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4 – Consumers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nd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d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ser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4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최종 사용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206078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, Strate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자 및 최종 사용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해관계자 관심 및 입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360265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자 및 최종 사용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회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자 및 최종 사용자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통 프로세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70258"/>
                  </a:ext>
                </a:extLst>
              </a:tr>
            </a:tbl>
          </a:graphicData>
        </a:graphic>
      </p:graphicFrame>
      <p:pic>
        <p:nvPicPr>
          <p:cNvPr id="68" name="Picture 2" descr="Magic, book, skill, spell">
            <a:extLst>
              <a:ext uri="{FF2B5EF4-FFF2-40B4-BE49-F238E27FC236}">
                <a16:creationId xmlns:a16="http://schemas.microsoft.com/office/drawing/2014/main" id="{13957325-1422-4E21-AFD1-3E17EE582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1935882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Magic, book, skill, spell">
            <a:extLst>
              <a:ext uri="{FF2B5EF4-FFF2-40B4-BE49-F238E27FC236}">
                <a16:creationId xmlns:a16="http://schemas.microsoft.com/office/drawing/2014/main" id="{AFCF1132-5AD4-4C4B-84F3-F22B8D440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311429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Magic, book, skill, spell">
            <a:extLst>
              <a:ext uri="{FF2B5EF4-FFF2-40B4-BE49-F238E27FC236}">
                <a16:creationId xmlns:a16="http://schemas.microsoft.com/office/drawing/2014/main" id="{FE221715-36A7-43BE-8123-9D8BE297B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429972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Magic, book, skill, spell">
            <a:extLst>
              <a:ext uri="{FF2B5EF4-FFF2-40B4-BE49-F238E27FC236}">
                <a16:creationId xmlns:a16="http://schemas.microsoft.com/office/drawing/2014/main" id="{771435E3-3B76-4688-85DC-F33787C60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5485151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그룹 23">
            <a:extLst>
              <a:ext uri="{FF2B5EF4-FFF2-40B4-BE49-F238E27FC236}">
                <a16:creationId xmlns:a16="http://schemas.microsoft.com/office/drawing/2014/main" id="{64C5B74C-E5EF-425C-952D-12AB565EE5F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1B0BA8F0-5377-4D05-819F-47E897EFBD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34CF77AB-041F-4E07-A581-D10C268913D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BEAE4394-6D63-4A27-BCB1-24449D9878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35E3C92-0421-497F-A82C-3FAA5E2A224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5B996808-3390-438F-802F-7171E58312F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679830072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R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2715816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44" name="표 11">
            <a:extLst>
              <a:ext uri="{FF2B5EF4-FFF2-40B4-BE49-F238E27FC236}">
                <a16:creationId xmlns:a16="http://schemas.microsoft.com/office/drawing/2014/main" id="{F0295544-8CA7-436E-8E3E-5442479C3E49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1916832"/>
          <a:ext cx="8215560" cy="14469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47008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968552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61961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자 및 최종 사용자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중대한 부정적 영향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긍정적 영향 개선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목표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789963"/>
                  </a:ext>
                </a:extLst>
              </a:tr>
              <a:tr h="128598"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00962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1 – Business Conduc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별 공시 기준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G1.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즈니스 수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2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105050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General Disclosur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즈니스 수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조항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행정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감독 및 관리 기관의 역할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회 식별 및 평가 프로세스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37644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Impact, Risk and Opportunity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즈니스 수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관리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즈니스 수행 정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업체 관계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패예방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5991"/>
                  </a:ext>
                </a:extLst>
              </a:tr>
              <a:tr h="26196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Metrics and Targe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즈니스 수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_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와 목표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된 부패 또는 뇌물 사전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치적 영향 및 로비 활동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제 관행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053542"/>
                  </a:ext>
                </a:extLst>
              </a:tr>
            </a:tbl>
          </a:graphicData>
        </a:graphic>
      </p:graphicFrame>
      <p:pic>
        <p:nvPicPr>
          <p:cNvPr id="70" name="Picture 2" descr="Magic, book, skill, spell">
            <a:extLst>
              <a:ext uri="{FF2B5EF4-FFF2-40B4-BE49-F238E27FC236}">
                <a16:creationId xmlns:a16="http://schemas.microsoft.com/office/drawing/2014/main" id="{AFCF1132-5AD4-4C4B-84F3-F22B8D440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392" y="2323435"/>
            <a:ext cx="237593" cy="2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59C65F4-3D88-44F2-AC2B-1C5715B4EDC8}"/>
              </a:ext>
            </a:extLst>
          </p:cNvPr>
          <p:cNvSpPr txBox="1"/>
          <p:nvPr/>
        </p:nvSpPr>
        <p:spPr>
          <a:xfrm>
            <a:off x="5611386" y="3356992"/>
            <a:ext cx="3528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6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기준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RS 1st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t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발표되어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EC8081BE-BB76-42D7-BE09-0222BB6C798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77132259-DE82-4547-91CA-6FEB2852CF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601FC2A2-F590-4658-A9CE-BF7E6EBD422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FDD1EFE2-6A16-4D67-A27F-A20D1A766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1D076B59-9BCB-4A53-B2EF-01FA5A8A990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4" name="표 10">
            <a:extLst>
              <a:ext uri="{FF2B5EF4-FFF2-40B4-BE49-F238E27FC236}">
                <a16:creationId xmlns:a16="http://schemas.microsoft.com/office/drawing/2014/main" id="{5FC79430-4CB4-4F1F-9BF7-90E49C267B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731749"/>
              </p:ext>
            </p:extLst>
          </p:nvPr>
        </p:nvGraphicFramePr>
        <p:xfrm>
          <a:off x="9267391" y="759198"/>
          <a:ext cx="2922885" cy="5252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뷰어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를 전자문서 뷰어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자문서 뷰어 팝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문서 열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32" name="직사각형 31">
            <a:extLst>
              <a:ext uri="{FF2B5EF4-FFF2-40B4-BE49-F238E27FC236}">
                <a16:creationId xmlns:a16="http://schemas.microsoft.com/office/drawing/2014/main" id="{3BEDAD34-68D3-406E-8C15-654C6162ECE0}"/>
              </a:ext>
            </a:extLst>
          </p:cNvPr>
          <p:cNvSpPr/>
          <p:nvPr/>
        </p:nvSpPr>
        <p:spPr>
          <a:xfrm>
            <a:off x="8988732" y="-6823"/>
            <a:ext cx="3218221" cy="5178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strike="sngStrike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1] </a:t>
            </a:r>
            <a:r>
              <a:rPr lang="ko-KR" altLang="en-US" sz="800" b="1" strike="sngStrike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버튼 추가 </a:t>
            </a:r>
            <a:r>
              <a:rPr lang="en-US" altLang="ko-KR" sz="800" b="1" strike="sngStrike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96F479D6-77BE-4605-8A96-9B51CA75C35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615861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AA5A8095-B7D8-41BA-A1FC-65BE4B2F0E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/>
          </a:bodyPr>
          <a:lstStyle/>
          <a:p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[Backup] </a:t>
            </a:r>
            <a:r>
              <a:rPr lang="ko-KR" altLang="en-US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뉴스토어</a:t>
            </a:r>
            <a:r>
              <a:rPr lang="ko-KR" altLang="en-US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 </a:t>
            </a:r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API </a:t>
            </a:r>
            <a:r>
              <a:rPr lang="ko-KR" altLang="en-US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활용 서비스 </a:t>
            </a:r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– </a:t>
            </a:r>
            <a:r>
              <a:rPr lang="ko-KR" altLang="en-US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화면 예시 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29BF178F-E63A-44B4-B00F-8BDEC30D4984}"/>
              </a:ext>
            </a:extLst>
          </p:cNvPr>
          <p:cNvSpPr/>
          <p:nvPr/>
        </p:nvSpPr>
        <p:spPr>
          <a:xfrm>
            <a:off x="9280408" y="-19752"/>
            <a:ext cx="2950181" cy="713375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뉴스 키워드 기능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AFB26869-EC4F-432F-A95C-48C4F187F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8958" y="980728"/>
            <a:ext cx="9195361" cy="52565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86FCFEC4-AD74-4FDB-96E0-C5F70AB2576E}"/>
              </a:ext>
            </a:extLst>
          </p:cNvPr>
          <p:cNvSpPr/>
          <p:nvPr/>
        </p:nvSpPr>
        <p:spPr>
          <a:xfrm>
            <a:off x="1271464" y="2492896"/>
            <a:ext cx="8712968" cy="36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E3C1EF7-2ACE-4D70-82A4-A1F0ED5AC8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80" y="2348880"/>
            <a:ext cx="8370533" cy="1280271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9534F4CF-4D6C-4280-8EA4-25DF528415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369" b="26028"/>
          <a:stretch/>
        </p:blipFill>
        <p:spPr>
          <a:xfrm>
            <a:off x="1109355" y="3735034"/>
            <a:ext cx="9195361" cy="250227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6211389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SEC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7AEFE8F4-0C3C-4F3F-BE25-5EBAA735CE28}"/>
              </a:ext>
            </a:extLst>
          </p:cNvPr>
          <p:cNvGrpSpPr/>
          <p:nvPr/>
        </p:nvGrpSpPr>
        <p:grpSpPr>
          <a:xfrm>
            <a:off x="445317" y="3153721"/>
            <a:ext cx="8220331" cy="3069420"/>
            <a:chOff x="418943" y="1613550"/>
            <a:chExt cx="8220331" cy="4407738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16029FE8-755A-4C20-A66B-784B6A4861C2}"/>
                </a:ext>
              </a:extLst>
            </p:cNvPr>
            <p:cNvSpPr/>
            <p:nvPr/>
          </p:nvSpPr>
          <p:spPr>
            <a:xfrm>
              <a:off x="418943" y="1650219"/>
              <a:ext cx="5092036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32976C00-A3C9-4D0E-9579-806A7EAA1110}"/>
                </a:ext>
              </a:extLst>
            </p:cNvPr>
            <p:cNvSpPr/>
            <p:nvPr/>
          </p:nvSpPr>
          <p:spPr>
            <a:xfrm>
              <a:off x="440619" y="1924902"/>
              <a:ext cx="8161072" cy="4096386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586E4D22-3850-4F99-BF14-5698A4CDBFF8}"/>
                </a:ext>
              </a:extLst>
            </p:cNvPr>
            <p:cNvGrpSpPr/>
            <p:nvPr/>
          </p:nvGrpSpPr>
          <p:grpSpPr>
            <a:xfrm>
              <a:off x="2423353" y="2429234"/>
              <a:ext cx="3930013" cy="756071"/>
              <a:chOff x="3010743" y="2119302"/>
              <a:chExt cx="3930013" cy="75607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69B64FF9-DA0B-405C-9814-6F056DCB3485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관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실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리스크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33E89560-DF58-42AB-B849-0AA0FDE475E6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‘S(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’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리스크 완화를 위한 공급망 전략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EE24E768-4639-441B-82ED-E3757A100B13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6060D4D5-C09C-4F67-94EA-715EDEE4FFD2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</a:t>
                </a: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130610F-4E40-46AE-A0B9-75E6705237C1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4C96BD29-0BE2-4111-9D8D-498E4B72656C}"/>
                  </a:ext>
                </a:extLst>
              </p:cNvPr>
              <p:cNvSpPr/>
              <p:nvPr/>
            </p:nvSpPr>
            <p:spPr>
              <a:xfrm>
                <a:off x="3977792" y="2440602"/>
                <a:ext cx="73253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</a:p>
            </p:txBody>
          </p:sp>
        </p:grp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A6F13D16-5FD9-4687-B92F-A0C5C9C5C3C8}"/>
                </a:ext>
              </a:extLst>
            </p:cNvPr>
            <p:cNvGrpSpPr/>
            <p:nvPr/>
          </p:nvGrpSpPr>
          <p:grpSpPr>
            <a:xfrm>
              <a:off x="599488" y="2136659"/>
              <a:ext cx="1820374" cy="1075495"/>
              <a:chOff x="3925318" y="3675504"/>
              <a:chExt cx="1124954" cy="765997"/>
            </a:xfrm>
          </p:grpSpPr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95AC86E0-87AF-482C-9B5C-D7F806265110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62" name="직선 연결선 161">
                <a:extLst>
                  <a:ext uri="{FF2B5EF4-FFF2-40B4-BE49-F238E27FC236}">
                    <a16:creationId xmlns:a16="http://schemas.microsoft.com/office/drawing/2014/main" id="{80FE92EA-435D-48E9-8BB4-D1FBFB868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직선 연결선 162">
                <a:extLst>
                  <a:ext uri="{FF2B5EF4-FFF2-40B4-BE49-F238E27FC236}">
                    <a16:creationId xmlns:a16="http://schemas.microsoft.com/office/drawing/2014/main" id="{6559DC21-DF75-4B0D-909A-2871DA8208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E40680C-3B88-44B2-BF07-0E6DEC279E98}"/>
                </a:ext>
              </a:extLst>
            </p:cNvPr>
            <p:cNvGrpSpPr/>
            <p:nvPr/>
          </p:nvGrpSpPr>
          <p:grpSpPr>
            <a:xfrm>
              <a:off x="2998868" y="3397119"/>
              <a:ext cx="764659" cy="231036"/>
              <a:chOff x="1483869" y="7479163"/>
              <a:chExt cx="764659" cy="231036"/>
            </a:xfrm>
          </p:grpSpPr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A567A0E0-CDD8-4702-8714-C2BD68FAA518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20391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EDC0BDF5-254D-4A3E-8EE1-013E8762FB5F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esson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352BDA8-B731-4D07-BCA3-1CA2B40D6D86}"/>
                </a:ext>
              </a:extLst>
            </p:cNvPr>
            <p:cNvGrpSpPr/>
            <p:nvPr/>
          </p:nvGrpSpPr>
          <p:grpSpPr>
            <a:xfrm>
              <a:off x="2424814" y="3698999"/>
              <a:ext cx="5275929" cy="745513"/>
              <a:chOff x="1410704" y="4990597"/>
              <a:chExt cx="5492992" cy="745513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F7B33716-1B70-4C1D-933A-CBA55512CA32}"/>
                  </a:ext>
                </a:extLst>
              </p:cNvPr>
              <p:cNvSpPr/>
              <p:nvPr/>
            </p:nvSpPr>
            <p:spPr>
              <a:xfrm>
                <a:off x="1410704" y="4990597"/>
                <a:ext cx="5492992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defTabSz="2437985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알기 쉬운 탄소국경조정제도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CBAM) –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잠정합의안 주요 내용 및 기업의 대응방안  </a:t>
                </a:r>
                <a:endPara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85CDB5A3-9C7E-40D9-9732-1AB16375299C}"/>
                  </a:ext>
                </a:extLst>
              </p:cNvPr>
              <p:cNvSpPr/>
              <p:nvPr/>
            </p:nvSpPr>
            <p:spPr>
              <a:xfrm>
                <a:off x="1424954" y="5523801"/>
                <a:ext cx="20877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0A1CC6E-CE68-4AD2-A4C3-2B91F59DD863}"/>
                </a:ext>
              </a:extLst>
            </p:cNvPr>
            <p:cNvGrpSpPr/>
            <p:nvPr/>
          </p:nvGrpSpPr>
          <p:grpSpPr>
            <a:xfrm>
              <a:off x="2523772" y="4004569"/>
              <a:ext cx="1574676" cy="155552"/>
              <a:chOff x="3287688" y="7159620"/>
              <a:chExt cx="1069338" cy="218101"/>
            </a:xfrm>
          </p:grpSpPr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A0A7B54D-1617-46D1-9F18-3FE7D01C2FA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01F18C6E-1F60-4C30-8BD7-3B63DC15288E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6AEA1494-5521-4E78-B7E4-A05D9968955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0EBC87C9-176D-46D3-ABAC-406DBD952848}"/>
                </a:ext>
              </a:extLst>
            </p:cNvPr>
            <p:cNvGrpSpPr/>
            <p:nvPr/>
          </p:nvGrpSpPr>
          <p:grpSpPr>
            <a:xfrm>
              <a:off x="599488" y="3419097"/>
              <a:ext cx="1820374" cy="1075495"/>
              <a:chOff x="3925318" y="3675504"/>
              <a:chExt cx="1124954" cy="765997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5F3EC512-77FA-4DD1-B9FB-C543532B9C46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52" name="직선 연결선 151">
                <a:extLst>
                  <a:ext uri="{FF2B5EF4-FFF2-40B4-BE49-F238E27FC236}">
                    <a16:creationId xmlns:a16="http://schemas.microsoft.com/office/drawing/2014/main" id="{B08FC3AF-6945-4B52-A494-AD6451388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직선 연결선 152">
                <a:extLst>
                  <a:ext uri="{FF2B5EF4-FFF2-40B4-BE49-F238E27FC236}">
                    <a16:creationId xmlns:a16="http://schemas.microsoft.com/office/drawing/2014/main" id="{692270C6-84C4-4BF9-AF89-DAE2D8E683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E0B76454-3AE3-4A75-9C13-A024322BCA44}"/>
                </a:ext>
              </a:extLst>
            </p:cNvPr>
            <p:cNvGrpSpPr/>
            <p:nvPr/>
          </p:nvGrpSpPr>
          <p:grpSpPr>
            <a:xfrm>
              <a:off x="2403976" y="2123186"/>
              <a:ext cx="764659" cy="231036"/>
              <a:chOff x="1483869" y="7479163"/>
              <a:chExt cx="764659" cy="231036"/>
            </a:xfrm>
          </p:grpSpPr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C3A55689-AD0D-4999-9956-DA2A409C09EF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2CFB9699-DCEB-4C5E-8157-6A51FE1E27B4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2EF697B0-E83A-41EA-9C66-D77C4CE14925}"/>
                </a:ext>
              </a:extLst>
            </p:cNvPr>
            <p:cNvSpPr/>
            <p:nvPr/>
          </p:nvSpPr>
          <p:spPr>
            <a:xfrm>
              <a:off x="4193697" y="4007231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8E18647-6323-48DA-B76A-A1CDCC696924}"/>
                </a:ext>
              </a:extLst>
            </p:cNvPr>
            <p:cNvSpPr/>
            <p:nvPr/>
          </p:nvSpPr>
          <p:spPr>
            <a:xfrm>
              <a:off x="1533434" y="4283627"/>
              <a:ext cx="824131" cy="1481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0F604A11-3B24-40E8-B324-45E1AAAEB568}"/>
                </a:ext>
              </a:extLst>
            </p:cNvPr>
            <p:cNvGrpSpPr/>
            <p:nvPr/>
          </p:nvGrpSpPr>
          <p:grpSpPr>
            <a:xfrm>
              <a:off x="1349598" y="3804003"/>
              <a:ext cx="317115" cy="317115"/>
              <a:chOff x="1519093" y="5661249"/>
              <a:chExt cx="504056" cy="504056"/>
            </a:xfrm>
          </p:grpSpPr>
          <p:sp>
            <p:nvSpPr>
              <p:cNvPr id="147" name="타원 146">
                <a:extLst>
                  <a:ext uri="{FF2B5EF4-FFF2-40B4-BE49-F238E27FC236}">
                    <a16:creationId xmlns:a16="http://schemas.microsoft.com/office/drawing/2014/main" id="{87332095-6893-4F76-9D0D-6C8A1868992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이등변 삼각형 147">
                <a:extLst>
                  <a:ext uri="{FF2B5EF4-FFF2-40B4-BE49-F238E27FC236}">
                    <a16:creationId xmlns:a16="http://schemas.microsoft.com/office/drawing/2014/main" id="{D4F9F28D-1D1C-4982-A0D2-0E4E3D0F18C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D126C3B-CF73-4CA0-B84E-01C910DAC4C6}"/>
                </a:ext>
              </a:extLst>
            </p:cNvPr>
            <p:cNvSpPr/>
            <p:nvPr/>
          </p:nvSpPr>
          <p:spPr>
            <a:xfrm>
              <a:off x="539412" y="2082496"/>
              <a:ext cx="7932852" cy="1194183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92EB0FA4-9659-429F-9330-28B446BA4BC5}"/>
                </a:ext>
              </a:extLst>
            </p:cNvPr>
            <p:cNvGrpSpPr/>
            <p:nvPr/>
          </p:nvGrpSpPr>
          <p:grpSpPr>
            <a:xfrm>
              <a:off x="2419861" y="4959632"/>
              <a:ext cx="3930013" cy="756071"/>
              <a:chOff x="3010743" y="2119302"/>
              <a:chExt cx="3930013" cy="756071"/>
            </a:xfrm>
          </p:grpSpPr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5AABC431-6476-452A-8E6C-C9FB1824DB8B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 # 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기준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98D8672-3582-445A-87AF-CF1625D12183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F94F41D8-62FE-427D-8275-F6F92D33768B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C2E001C7-8827-4020-9046-DD0AE10FE889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98AA277C-195E-4789-93A5-1DB475EC3C2F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722744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40A2622C-58F6-40DC-88AB-6DC64A17CD38}"/>
                  </a:ext>
                </a:extLst>
              </p:cNvPr>
              <p:cNvSpPr/>
              <p:nvPr/>
            </p:nvSpPr>
            <p:spPr>
              <a:xfrm>
                <a:off x="4340966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0" name="그룹 119">
              <a:extLst>
                <a:ext uri="{FF2B5EF4-FFF2-40B4-BE49-F238E27FC236}">
                  <a16:creationId xmlns:a16="http://schemas.microsoft.com/office/drawing/2014/main" id="{1EE2B7AE-3C82-4A95-BCB4-C3013506318E}"/>
                </a:ext>
              </a:extLst>
            </p:cNvPr>
            <p:cNvGrpSpPr/>
            <p:nvPr/>
          </p:nvGrpSpPr>
          <p:grpSpPr>
            <a:xfrm>
              <a:off x="595996" y="4667057"/>
              <a:ext cx="1820374" cy="1075495"/>
              <a:chOff x="3925318" y="3675504"/>
              <a:chExt cx="1124954" cy="765997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BDB91236-6E19-4FD8-83F9-1C4C17DA3413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5" name="직선 연결선 134">
                <a:extLst>
                  <a:ext uri="{FF2B5EF4-FFF2-40B4-BE49-F238E27FC236}">
                    <a16:creationId xmlns:a16="http://schemas.microsoft.com/office/drawing/2014/main" id="{D1FD4AB3-74AA-4855-86AC-CB5D5B9D5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72B23B6B-DDF3-4FD2-B020-3112C0735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39F9A19A-9D14-489E-9D0B-202955F0ED84}"/>
                </a:ext>
              </a:extLst>
            </p:cNvPr>
            <p:cNvGrpSpPr/>
            <p:nvPr/>
          </p:nvGrpSpPr>
          <p:grpSpPr>
            <a:xfrm>
              <a:off x="2400484" y="4653584"/>
              <a:ext cx="764659" cy="231036"/>
              <a:chOff x="1483869" y="7479163"/>
              <a:chExt cx="764659" cy="231036"/>
            </a:xfrm>
          </p:grpSpPr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17BB3C3B-384B-4779-A81B-F7EAD3AB90BA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0C5830E-FD2A-4166-897B-CFB163F220D6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2" name="그룹 121">
              <a:extLst>
                <a:ext uri="{FF2B5EF4-FFF2-40B4-BE49-F238E27FC236}">
                  <a16:creationId xmlns:a16="http://schemas.microsoft.com/office/drawing/2014/main" id="{55E90889-FD1D-45E5-966A-B51C57C424A3}"/>
                </a:ext>
              </a:extLst>
            </p:cNvPr>
            <p:cNvGrpSpPr/>
            <p:nvPr/>
          </p:nvGrpSpPr>
          <p:grpSpPr>
            <a:xfrm>
              <a:off x="8099274" y="3382036"/>
              <a:ext cx="540000" cy="576000"/>
              <a:chOff x="-2020480" y="1176136"/>
              <a:chExt cx="1216800" cy="956948"/>
            </a:xfrm>
          </p:grpSpPr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675FDAAB-EAC7-443E-BAD9-67DE28D184FC}"/>
                  </a:ext>
                </a:extLst>
              </p:cNvPr>
              <p:cNvSpPr/>
              <p:nvPr/>
            </p:nvSpPr>
            <p:spPr>
              <a:xfrm>
                <a:off x="-2020480" y="1176136"/>
                <a:ext cx="1216800" cy="95694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700" b="1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07116B44-248D-4ECD-923E-78EAC5695B54}"/>
                  </a:ext>
                </a:extLst>
              </p:cNvPr>
              <p:cNvSpPr/>
              <p:nvPr/>
            </p:nvSpPr>
            <p:spPr>
              <a:xfrm>
                <a:off x="-1981326" y="1787888"/>
                <a:ext cx="1157289" cy="2606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온라인문의</a:t>
                </a:r>
              </a:p>
            </p:txBody>
          </p:sp>
          <p:pic>
            <p:nvPicPr>
              <p:cNvPr id="130" name="그림 129">
                <a:extLst>
                  <a:ext uri="{FF2B5EF4-FFF2-40B4-BE49-F238E27FC236}">
                    <a16:creationId xmlns:a16="http://schemas.microsoft.com/office/drawing/2014/main" id="{F2E62DF5-2AF0-471F-8ABA-D47079E52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27181" y="1298831"/>
                <a:ext cx="449001" cy="383626"/>
              </a:xfrm>
              <a:prstGeom prst="rect">
                <a:avLst/>
              </a:prstGeom>
            </p:spPr>
          </p:pic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D8FBF68F-5DD9-4CCD-8561-3E9D98EF99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1906736" y="2133084"/>
                <a:ext cx="10081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EF66246-5A7A-4531-9486-57343D8CDDDC}"/>
                </a:ext>
              </a:extLst>
            </p:cNvPr>
            <p:cNvSpPr/>
            <p:nvPr/>
          </p:nvSpPr>
          <p:spPr>
            <a:xfrm>
              <a:off x="2514522" y="3424468"/>
              <a:ext cx="530588" cy="195775"/>
            </a:xfrm>
            <a:prstGeom prst="rect">
              <a:avLst/>
            </a:prstGeom>
            <a:solidFill>
              <a:srgbClr val="C0460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ick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C21155F-4748-4AFB-84D8-062E89C14E26}"/>
                </a:ext>
              </a:extLst>
            </p:cNvPr>
            <p:cNvSpPr/>
            <p:nvPr/>
          </p:nvSpPr>
          <p:spPr>
            <a:xfrm>
              <a:off x="428844" y="1613550"/>
              <a:ext cx="1204522" cy="216540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70" name="표 10">
            <a:extLst>
              <a:ext uri="{FF2B5EF4-FFF2-40B4-BE49-F238E27FC236}">
                <a16:creationId xmlns:a16="http://schemas.microsoft.com/office/drawing/2014/main" id="{52C6D022-3108-40BD-B35F-2FB7FDF9CC69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99215E05-AD56-4FC1-960C-E7115FFC2DFA}"/>
              </a:ext>
            </a:extLst>
          </p:cNvPr>
          <p:cNvSpPr/>
          <p:nvPr/>
        </p:nvSpPr>
        <p:spPr>
          <a:xfrm>
            <a:off x="423909" y="31228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4E4B4008-0D79-449B-ACE5-828B2709E4A1}"/>
              </a:ext>
            </a:extLst>
          </p:cNvPr>
          <p:cNvSpPr/>
          <p:nvPr/>
        </p:nvSpPr>
        <p:spPr>
          <a:xfrm>
            <a:off x="1447709" y="31174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C9782AA-864B-4C61-87A0-97FAFC96C689}"/>
              </a:ext>
            </a:extLst>
          </p:cNvPr>
          <p:cNvSpPr/>
          <p:nvPr/>
        </p:nvSpPr>
        <p:spPr>
          <a:xfrm>
            <a:off x="365705" y="3327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648C397E-3F6B-4EB0-B5C4-0203C0A70781}"/>
              </a:ext>
            </a:extLst>
          </p:cNvPr>
          <p:cNvSpPr/>
          <p:nvPr/>
        </p:nvSpPr>
        <p:spPr>
          <a:xfrm>
            <a:off x="518105" y="34796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5B0126F7-C821-4C1F-86F2-9881D3B10726}"/>
              </a:ext>
            </a:extLst>
          </p:cNvPr>
          <p:cNvSpPr/>
          <p:nvPr/>
        </p:nvSpPr>
        <p:spPr>
          <a:xfrm>
            <a:off x="1463916" y="36511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A84E440-7B2D-4E01-B16E-748462E52986}"/>
              </a:ext>
            </a:extLst>
          </p:cNvPr>
          <p:cNvSpPr/>
          <p:nvPr/>
        </p:nvSpPr>
        <p:spPr>
          <a:xfrm>
            <a:off x="2465520" y="344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7" name="표 10">
            <a:extLst>
              <a:ext uri="{FF2B5EF4-FFF2-40B4-BE49-F238E27FC236}">
                <a16:creationId xmlns:a16="http://schemas.microsoft.com/office/drawing/2014/main" id="{971E8732-7508-41E1-BC67-8C1CDF84CE30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96419F6A-7A27-4F03-A681-780AC52A0A79}"/>
              </a:ext>
            </a:extLst>
          </p:cNvPr>
          <p:cNvSpPr/>
          <p:nvPr/>
        </p:nvSpPr>
        <p:spPr>
          <a:xfrm>
            <a:off x="2432856" y="43698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78DE782E-FE20-4439-8C05-FA8FE9B64A1E}"/>
              </a:ext>
            </a:extLst>
          </p:cNvPr>
          <p:cNvSpPr/>
          <p:nvPr/>
        </p:nvSpPr>
        <p:spPr>
          <a:xfrm>
            <a:off x="2369056" y="4578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D5C7480F-25A4-43DB-B04F-3F889B15964D}"/>
              </a:ext>
            </a:extLst>
          </p:cNvPr>
          <p:cNvSpPr/>
          <p:nvPr/>
        </p:nvSpPr>
        <p:spPr>
          <a:xfrm>
            <a:off x="2377095" y="4772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96481CB9-FBF4-4F2E-84C1-DEDDBA7DF3F1}"/>
              </a:ext>
            </a:extLst>
          </p:cNvPr>
          <p:cNvSpPr/>
          <p:nvPr/>
        </p:nvSpPr>
        <p:spPr>
          <a:xfrm>
            <a:off x="4149388" y="4764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13B8F568-1FC6-4A33-A059-BE5B3B1399EA}"/>
              </a:ext>
            </a:extLst>
          </p:cNvPr>
          <p:cNvSpPr/>
          <p:nvPr/>
        </p:nvSpPr>
        <p:spPr>
          <a:xfrm>
            <a:off x="2384783" y="4958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BF57D378-C007-4AF5-92F3-401D0D679814}"/>
              </a:ext>
            </a:extLst>
          </p:cNvPr>
          <p:cNvSpPr/>
          <p:nvPr/>
        </p:nvSpPr>
        <p:spPr>
          <a:xfrm>
            <a:off x="1473283" y="4932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1" name="표 8">
            <a:extLst>
              <a:ext uri="{FF2B5EF4-FFF2-40B4-BE49-F238E27FC236}">
                <a16:creationId xmlns:a16="http://schemas.microsoft.com/office/drawing/2014/main" id="{F4F147F4-C24E-4E53-8E80-018A47DE2C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336800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05C43E33-B897-42C2-9A8C-62C0E555045D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F0E191F-CEA5-4731-92F9-D1371861EA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A4839DAC-B012-4789-BB78-1C9D3937F798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A81B4F1D-27E8-4470-BDA8-9F78B409BECE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DDE8859D-093B-4F20-898E-22CBBF06CA5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514010711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81769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93" name="표 8">
            <a:extLst>
              <a:ext uri="{FF2B5EF4-FFF2-40B4-BE49-F238E27FC236}">
                <a16:creationId xmlns:a16="http://schemas.microsoft.com/office/drawing/2014/main" id="{61BF1A29-6546-4F81-BA9E-DFCC9AF3B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360165"/>
              </p:ext>
            </p:extLst>
          </p:nvPr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RS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86DBE699-5C91-43CE-84DE-9DDE60160935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5209C5A-B61E-4B7E-B37A-83F6C2C57CE0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52BE39B2-3D0F-4A9C-A1B2-A563AD900E9D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8AA34EF4-1942-486F-A2E1-8EA5299702D3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3DCEBD9-24EC-46F0-B558-33F860E59516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E3B2D492-79B7-499B-B70E-D3EAFB697C8A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B2D1F4F-2350-480A-BCD2-0540C29ED43F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91E5925A-8876-466B-BABA-5E5AFC5EBB76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BBD96F8E-1636-48A2-8945-FB66B7880C65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0DF7DB35-7FF6-442B-BDE1-329EA7CE7361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B86D0F3C-C646-476F-B3A5-5E751B77C01F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연결선 131">
                <a:extLst>
                  <a:ext uri="{FF2B5EF4-FFF2-40B4-BE49-F238E27FC236}">
                    <a16:creationId xmlns:a16="http://schemas.microsoft.com/office/drawing/2014/main" id="{A63F300B-C882-47AB-B7D8-5F171B992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473B9978-8351-48CD-8C88-36F0C28D39C6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4709DE2A-CC3C-4468-8887-4C8871F018BB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8" name="직선 연결선 127">
                <a:extLst>
                  <a:ext uri="{FF2B5EF4-FFF2-40B4-BE49-F238E27FC236}">
                    <a16:creationId xmlns:a16="http://schemas.microsoft.com/office/drawing/2014/main" id="{293A0A75-B957-40BD-8C99-833F242EDC02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>
                <a:extLst>
                  <a:ext uri="{FF2B5EF4-FFF2-40B4-BE49-F238E27FC236}">
                    <a16:creationId xmlns:a16="http://schemas.microsoft.com/office/drawing/2014/main" id="{607C1741-334B-4284-A850-4B4E5F7B3E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3DB30302-FAD7-4C47-8AE9-298CDC892A3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F43622D7-5B2D-4F50-9B9F-9D14839D59D0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9E60B39-DD3B-4F34-A25D-70AC9BD0F74F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A02D94CE-FC3B-4930-B302-D0B7D2B369A6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3F9FB1BC-A35F-4F20-BCC6-B8988A66E0F4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B46CD3CA-A2E4-4D04-AB5A-B201AC41B3E6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DB2E24C7-F364-43E3-A377-8D9FD3A880D6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6B4ED84-6B63-408B-BABD-E9660F627702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DB17E664-70E3-40B3-8B0C-19507BDE5AE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5" name="직선 연결선 124">
                <a:extLst>
                  <a:ext uri="{FF2B5EF4-FFF2-40B4-BE49-F238E27FC236}">
                    <a16:creationId xmlns:a16="http://schemas.microsoft.com/office/drawing/2014/main" id="{A26AAEEA-5C4E-4969-A9ED-B51FFA25327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직선 연결선 125">
                <a:extLst>
                  <a:ext uri="{FF2B5EF4-FFF2-40B4-BE49-F238E27FC236}">
                    <a16:creationId xmlns:a16="http://schemas.microsoft.com/office/drawing/2014/main" id="{60F0AA73-0F75-42EC-BF50-21BADA9ABB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C085222E-031A-44A7-8553-5EF091FEA357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4877FD7-5F53-4E65-B2C0-D64B5BDDF7C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2" name="직선 연결선 121">
                <a:extLst>
                  <a:ext uri="{FF2B5EF4-FFF2-40B4-BE49-F238E27FC236}">
                    <a16:creationId xmlns:a16="http://schemas.microsoft.com/office/drawing/2014/main" id="{B3DB5BF3-647B-4503-AD3A-2D061CB1D9C1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직선 연결선 122">
                <a:extLst>
                  <a:ext uri="{FF2B5EF4-FFF2-40B4-BE49-F238E27FC236}">
                    <a16:creationId xmlns:a16="http://schemas.microsoft.com/office/drawing/2014/main" id="{BDD0B5BC-BCC2-4263-BDD5-47D3C2A89A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D11FE49C-3C9C-40C8-B360-C39BCC11C6C5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9ECED189-F6D4-4A7B-A27F-73ADEBFCBD9B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939AA46-A38C-4FF7-8359-4992548387D8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37C3B3FB-BFE3-4918-9681-1BA822C55FD8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A4CBC09F-A3E0-4229-B374-2C6F3E411CEF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DE652009-61BA-40E5-BB13-AC5A99333460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22069D35-0DD5-4933-99B4-CC8CCE48D442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2AB8E1C8-B25C-4C58-96C2-9B6D2870899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C865ACB3-2026-4EF5-92CD-E3BD77DF2611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9945A0FD-C178-4996-9033-2F004F3C14E3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93826172-D45F-4146-A297-7DF93FD12484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AE6F5F41-B565-428B-A6EE-2E4F012B0276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2BF339A6-FCE2-4332-9769-838618E39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044FA516-B834-4C18-A0B0-E5136C705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전체보기 목록 | 환경 | 키즈현대">
              <a:extLst>
                <a:ext uri="{FF2B5EF4-FFF2-40B4-BE49-F238E27FC236}">
                  <a16:creationId xmlns:a16="http://schemas.microsoft.com/office/drawing/2014/main" id="{C1B1E33B-DDD5-4BD1-9DF5-E91BE02DC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7D608ADA-B49D-47D0-B3B7-2EB61A8CA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6D5E380-5F58-4C07-AF63-804A970524B3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706BC021-D440-4CDA-B5D0-1964C4B49DCB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2653E18-B0E4-4B15-97C2-7FCACF03FA1F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C0D4F36-AECE-4F8D-98AC-75BFE1B5B1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8966ACE-2E7B-4594-9816-B47F224434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A8AB4FA-DEF9-4313-A3D7-E90DC7C12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C477E41-E5A5-45A4-A5B5-52239C844D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D504092-787A-4C79-AC11-3690C271C6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1CA51FF-6BBD-4966-90D3-83B798620E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09CDF0AB-CB09-4F2F-AC84-650CA1B4423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061F612A-BD80-43F6-9410-AB954A606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60C50503-775A-4F83-B9E5-0E27F151B4F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FEE59F86-22F4-48C5-B2B9-EA59B2E196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442797E8-BED5-4511-9290-F129342555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79661AF-2D7A-4B17-B2C1-8B108E7D56C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orporate Sustainability Reporting Directive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F8A262CE-E8B7-4816-B7E4-B9ED4D96EDB0}"/>
              </a:ext>
            </a:extLst>
          </p:cNvPr>
          <p:cNvSpPr/>
          <p:nvPr/>
        </p:nvSpPr>
        <p:spPr>
          <a:xfrm>
            <a:off x="498718" y="1925541"/>
            <a:ext cx="8195695" cy="667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지속가능성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S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유럽 연합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활동하는 상장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일정 규모 이상의 회사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상으로 요구되는 지속가능성 관련 보고의 범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형식 등에 대한 규정을 제공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존의 비재무적 보고 지침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NFRD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대체하여 강화한 것으로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측면에서의 보고 요구사항을 정의하고 있으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체적인 보고 기준은 유럽 지속가능성 보고 기준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RS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통해 기술하고 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788DD7F0-488F-484F-AD64-6373A912F474}"/>
              </a:ext>
            </a:extLst>
          </p:cNvPr>
          <p:cNvSpPr/>
          <p:nvPr/>
        </p:nvSpPr>
        <p:spPr>
          <a:xfrm>
            <a:off x="6816080" y="1595900"/>
            <a:ext cx="1878333" cy="23647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대상 확인하기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7841D0E-06DE-4FC8-8449-3262DDB6549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711277215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TNF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25481" y="2492883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Nature-related Financial Disclosures)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9543" y="2819356"/>
            <a:ext cx="8195695" cy="4827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(Taskforce on Natur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자연자본 정보 공시에 대한 국제적인 이니셔티브이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 발전에 대한 의제가 기후변화에서 자연으로 확대되는 가운데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 FI, UNDP, WWF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 국제기구의 주도로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1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조직되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NFD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 및 금융기관의 자연자본 위험 유발 여부와 대응현황에 대한 공시 체계 개발을 목적으로 합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318675"/>
              </p:ext>
            </p:extLst>
          </p:nvPr>
        </p:nvGraphicFramePr>
        <p:xfrm>
          <a:off x="518004" y="3348906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33206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9AF2B12F-3831-41EF-B035-ED55CEC50AF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936E7F20-5351-4947-B585-F30ED41758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DF4517F2-F6B7-411F-8584-7B536AF9DF2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5" name="그림 64">
              <a:extLst>
                <a:ext uri="{FF2B5EF4-FFF2-40B4-BE49-F238E27FC236}">
                  <a16:creationId xmlns:a16="http://schemas.microsoft.com/office/drawing/2014/main" id="{D736D187-7FD5-4322-92CF-CC8D8A25CD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3937A2B0-EFA0-48FF-B871-396351F6210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1D76C7EF-B2C7-4A82-AA91-58D4A7E3258C}"/>
              </a:ext>
            </a:extLst>
          </p:cNvPr>
          <p:cNvGrpSpPr/>
          <p:nvPr/>
        </p:nvGrpSpPr>
        <p:grpSpPr>
          <a:xfrm>
            <a:off x="341695" y="1612190"/>
            <a:ext cx="8642428" cy="920676"/>
            <a:chOff x="341695" y="1612190"/>
            <a:chExt cx="8642428" cy="920676"/>
          </a:xfrm>
        </p:grpSpPr>
        <p:sp>
          <p:nvSpPr>
            <p:cNvPr id="63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F46073AB-5165-49DE-9E32-EA306932567E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10AB7CBD-F0BB-47CD-A39D-1498A59BDAD3}"/>
                </a:ext>
              </a:extLst>
            </p:cNvPr>
            <p:cNvSpPr/>
            <p:nvPr/>
          </p:nvSpPr>
          <p:spPr>
            <a:xfrm>
              <a:off x="469824" y="2202180"/>
              <a:ext cx="1233688" cy="252210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F197D328-7982-4D12-8180-C8D6AC796AA5}"/>
                </a:ext>
              </a:extLst>
            </p:cNvPr>
            <p:cNvSpPr/>
            <p:nvPr/>
          </p:nvSpPr>
          <p:spPr>
            <a:xfrm>
              <a:off x="1776659" y="2218192"/>
              <a:ext cx="847884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2CCD3340-7166-4380-B690-70C2A39636D3}"/>
                </a:ext>
              </a:extLst>
            </p:cNvPr>
            <p:cNvSpPr/>
            <p:nvPr/>
          </p:nvSpPr>
          <p:spPr>
            <a:xfrm>
              <a:off x="2702939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0392C9B8-8749-4D5B-83AF-6AA7E250A0E9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연결선 70">
              <a:extLst>
                <a:ext uri="{FF2B5EF4-FFF2-40B4-BE49-F238E27FC236}">
                  <a16:creationId xmlns:a16="http://schemas.microsoft.com/office/drawing/2014/main" id="{A882BA87-04DC-4AA6-B701-B1967F4BBE15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53286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사각형: 둥근 모서리 71">
              <a:extLst>
                <a:ext uri="{FF2B5EF4-FFF2-40B4-BE49-F238E27FC236}">
                  <a16:creationId xmlns:a16="http://schemas.microsoft.com/office/drawing/2014/main" id="{1F88E253-5C63-4259-AAB0-7C6A6623BA2B}"/>
                </a:ext>
              </a:extLst>
            </p:cNvPr>
            <p:cNvSpPr/>
            <p:nvPr/>
          </p:nvSpPr>
          <p:spPr>
            <a:xfrm>
              <a:off x="3655068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DB9F8FF6-9E99-4A88-8647-878335A7D89C}"/>
                </a:ext>
              </a:extLst>
            </p:cNvPr>
            <p:cNvSpPr/>
            <p:nvPr/>
          </p:nvSpPr>
          <p:spPr>
            <a:xfrm>
              <a:off x="4607197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5" name="사각형: 둥근 모서리 74">
              <a:extLst>
                <a:ext uri="{FF2B5EF4-FFF2-40B4-BE49-F238E27FC236}">
                  <a16:creationId xmlns:a16="http://schemas.microsoft.com/office/drawing/2014/main" id="{5C3F7B3F-C006-403B-9D55-43A0197F94A3}"/>
                </a:ext>
              </a:extLst>
            </p:cNvPr>
            <p:cNvSpPr/>
            <p:nvPr/>
          </p:nvSpPr>
          <p:spPr>
            <a:xfrm>
              <a:off x="5559326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6" name="사각형: 둥근 모서리 75">
              <a:extLst>
                <a:ext uri="{FF2B5EF4-FFF2-40B4-BE49-F238E27FC236}">
                  <a16:creationId xmlns:a16="http://schemas.microsoft.com/office/drawing/2014/main" id="{B2655A41-D580-42DE-8CD1-F99A069E7296}"/>
                </a:ext>
              </a:extLst>
            </p:cNvPr>
            <p:cNvSpPr/>
            <p:nvPr/>
          </p:nvSpPr>
          <p:spPr>
            <a:xfrm>
              <a:off x="6511142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2030079A-071F-405D-B971-78F5D5B3540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78" name="그림 77">
            <a:extLst>
              <a:ext uri="{FF2B5EF4-FFF2-40B4-BE49-F238E27FC236}">
                <a16:creationId xmlns:a16="http://schemas.microsoft.com/office/drawing/2014/main" id="{5A944E90-1304-46F2-BA57-0FC75B1C2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478" y="3792623"/>
            <a:ext cx="8201096" cy="342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603035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TNF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Natur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(Taskforce on Natur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자연자본 정보 공시에 대한 국제적인 이니셔티브이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 발전에 대한 의제가 기후변화에서 자연으로 확대되는 가운데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 FI, UNDP, WWF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 국제기구의 주도로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1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조직되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NFD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 및 금융기관의 자연자본 위험 유발 여부와 대응현황에 대한 공시 체계 개발을 목적으로 합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953461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2" name="표 11">
            <a:extLst>
              <a:ext uri="{FF2B5EF4-FFF2-40B4-BE49-F238E27FC236}">
                <a16:creationId xmlns:a16="http://schemas.microsoft.com/office/drawing/2014/main" id="{136C5F9D-5C7E-4E3E-A6CB-6BA323236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416200"/>
              </p:ext>
            </p:extLst>
          </p:nvPr>
        </p:nvGraphicFramePr>
        <p:xfrm>
          <a:off x="476303" y="3513727"/>
          <a:ext cx="8215560" cy="27797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19016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896544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19641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troducing the TNFD framework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 및 설명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102076"/>
                  </a:ext>
                </a:extLst>
              </a:tr>
              <a:tr h="128785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229535"/>
                  </a:ext>
                </a:extLst>
              </a:tr>
              <a:tr h="219641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he Draft TNFD Recommended Disclosure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권고안 초안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837027"/>
                  </a:ext>
                </a:extLst>
              </a:tr>
              <a:tr h="969938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 요구사항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권고안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TCFD 4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 핵심요소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적용 지침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자본 위험 및 기회 관련 지배구조 공시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자본 의존도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 및 기회가 조직의 사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및 재무계획에 미치는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재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향과 잠재 영향 공시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및 영향 관리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자본 의존도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회를 식별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하는 체계 공시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자본 의존도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회를 평가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하기 위한 지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표 공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9671030"/>
                  </a:ext>
                </a:extLst>
              </a:tr>
              <a:tr h="128785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227977"/>
                  </a:ext>
                </a:extLst>
              </a:tr>
              <a:tr h="219641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he LEAP Approach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AP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접근법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519655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 및 기회 평가를 위한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AP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근법</a:t>
                      </a:r>
                      <a:br>
                        <a:rPr lang="en-US" altLang="ko-KR" sz="9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과의 접점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Locate)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존 및 영향 진단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Evaluate)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 평가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Assess)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연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본 관련 전략 및 공시 준비 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Prepare)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606590"/>
                  </a:ext>
                </a:extLst>
              </a:tr>
              <a:tr h="128785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</a:tbl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AA73BE14-191F-4940-B52E-0392DE3F1569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권고안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내용</a:t>
            </a: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5518CA28-3AAC-4CAE-98B2-226D58874BED}"/>
              </a:ext>
            </a:extLst>
          </p:cNvPr>
          <p:cNvSpPr/>
          <p:nvPr/>
        </p:nvSpPr>
        <p:spPr>
          <a:xfrm>
            <a:off x="6702492" y="3173095"/>
            <a:ext cx="1980000" cy="2479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권고안 바로가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93C3F2E-75ED-49A9-B0FE-216F8A6A7EE3}"/>
              </a:ext>
            </a:extLst>
          </p:cNvPr>
          <p:cNvSpPr txBox="1"/>
          <p:nvPr/>
        </p:nvSpPr>
        <p:spPr>
          <a:xfrm>
            <a:off x="4785606" y="6211116"/>
            <a:ext cx="397469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.4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버전으로 공개되어 있으며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3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최종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정안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발표 예정</a:t>
            </a: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C64B9272-C700-4438-9A39-3F0279CE436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052F6900-9929-41E9-84EF-E48CA62B72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BD48F6C8-BD1E-4C2C-B682-D620EAA22C7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A418CCCB-84C6-4D21-A318-4021B2F0C8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FF3F42A7-5DEC-4ED2-9984-D7CC2D01E92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3C3F3E07-8A1E-4E1B-A6E8-056F3896B50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526533720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SEC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3181F312-2CC0-4849-B257-21E94FF369FA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6343A517-EC17-47B6-B9CD-086BD928344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2E8504BE-6475-4101-9AE9-22E78356309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DA19798E-E6DD-499F-924A-B0B9315CE31D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F466A40F-D079-4542-B923-CF1ED4CDAAC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A02288C7-6ABD-466E-976D-1F10DFE78D1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FEB6C9C5-09D6-4FAE-A5FB-BC0D2E25521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0211014C-68C4-4287-B9C8-C4094CA6E3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FE036854-B0C6-450E-A738-625A41A922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9B9893CA-B27E-4E49-9691-3FD19BDB1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19C8BBF-44B8-46A8-B44F-8B3CC3AADF2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7AEFE8F4-0C3C-4F3F-BE25-5EBAA735CE28}"/>
              </a:ext>
            </a:extLst>
          </p:cNvPr>
          <p:cNvGrpSpPr/>
          <p:nvPr/>
        </p:nvGrpSpPr>
        <p:grpSpPr>
          <a:xfrm>
            <a:off x="445317" y="3153721"/>
            <a:ext cx="8220331" cy="3069420"/>
            <a:chOff x="418943" y="1613550"/>
            <a:chExt cx="8220331" cy="4407738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16029FE8-755A-4C20-A66B-784B6A4861C2}"/>
                </a:ext>
              </a:extLst>
            </p:cNvPr>
            <p:cNvSpPr/>
            <p:nvPr/>
          </p:nvSpPr>
          <p:spPr>
            <a:xfrm>
              <a:off x="418943" y="1650219"/>
              <a:ext cx="5092036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인사이트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32976C00-A3C9-4D0E-9579-806A7EAA1110}"/>
                </a:ext>
              </a:extLst>
            </p:cNvPr>
            <p:cNvSpPr/>
            <p:nvPr/>
          </p:nvSpPr>
          <p:spPr>
            <a:xfrm>
              <a:off x="440619" y="1924902"/>
              <a:ext cx="8161072" cy="4096386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586E4D22-3850-4F99-BF14-5698A4CDBFF8}"/>
                </a:ext>
              </a:extLst>
            </p:cNvPr>
            <p:cNvGrpSpPr/>
            <p:nvPr/>
          </p:nvGrpSpPr>
          <p:grpSpPr>
            <a:xfrm>
              <a:off x="2423353" y="2429234"/>
              <a:ext cx="3930013" cy="756071"/>
              <a:chOff x="3010743" y="2119302"/>
              <a:chExt cx="3930013" cy="75607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69B64FF9-DA0B-405C-9814-6F056DCB3485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관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실사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리스크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33E89560-DF58-42AB-B849-0AA0FDE475E6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‘S(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’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리스크 완화를 위한 공급망 전략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EE24E768-4639-441B-82ED-E3757A100B13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6060D4D5-C09C-4F67-94EA-715EDEE4FFD2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</a:t>
                </a: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130610F-4E40-46AE-A0B9-75E6705237C1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4C96BD29-0BE2-4111-9D8D-498E4B72656C}"/>
                  </a:ext>
                </a:extLst>
              </p:cNvPr>
              <p:cNvSpPr/>
              <p:nvPr/>
            </p:nvSpPr>
            <p:spPr>
              <a:xfrm>
                <a:off x="3977792" y="2440602"/>
                <a:ext cx="73253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</a:p>
            </p:txBody>
          </p:sp>
        </p:grp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A6F13D16-5FD9-4687-B92F-A0C5C9C5C3C8}"/>
                </a:ext>
              </a:extLst>
            </p:cNvPr>
            <p:cNvGrpSpPr/>
            <p:nvPr/>
          </p:nvGrpSpPr>
          <p:grpSpPr>
            <a:xfrm>
              <a:off x="599488" y="2136659"/>
              <a:ext cx="1820374" cy="1075495"/>
              <a:chOff x="3925318" y="3675504"/>
              <a:chExt cx="1124954" cy="765997"/>
            </a:xfrm>
          </p:grpSpPr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95AC86E0-87AF-482C-9B5C-D7F806265110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62" name="직선 연결선 161">
                <a:extLst>
                  <a:ext uri="{FF2B5EF4-FFF2-40B4-BE49-F238E27FC236}">
                    <a16:creationId xmlns:a16="http://schemas.microsoft.com/office/drawing/2014/main" id="{80FE92EA-435D-48E9-8BB4-D1FBFB868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직선 연결선 162">
                <a:extLst>
                  <a:ext uri="{FF2B5EF4-FFF2-40B4-BE49-F238E27FC236}">
                    <a16:creationId xmlns:a16="http://schemas.microsoft.com/office/drawing/2014/main" id="{6559DC21-DF75-4B0D-909A-2871DA8208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6E40680C-3B88-44B2-BF07-0E6DEC279E98}"/>
                </a:ext>
              </a:extLst>
            </p:cNvPr>
            <p:cNvGrpSpPr/>
            <p:nvPr/>
          </p:nvGrpSpPr>
          <p:grpSpPr>
            <a:xfrm>
              <a:off x="2998868" y="3397119"/>
              <a:ext cx="764659" cy="231036"/>
              <a:chOff x="1483869" y="7479163"/>
              <a:chExt cx="764659" cy="231036"/>
            </a:xfrm>
          </p:grpSpPr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A567A0E0-CDD8-4702-8714-C2BD68FAA518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20391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EDC0BDF5-254D-4A3E-8EE1-013E8762FB5F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esson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A352BDA8-B731-4D07-BCA3-1CA2B40D6D86}"/>
                </a:ext>
              </a:extLst>
            </p:cNvPr>
            <p:cNvGrpSpPr/>
            <p:nvPr/>
          </p:nvGrpSpPr>
          <p:grpSpPr>
            <a:xfrm>
              <a:off x="2424814" y="3698999"/>
              <a:ext cx="5275929" cy="745513"/>
              <a:chOff x="1410704" y="4990597"/>
              <a:chExt cx="5492992" cy="745513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F7B33716-1B70-4C1D-933A-CBA55512CA32}"/>
                  </a:ext>
                </a:extLst>
              </p:cNvPr>
              <p:cNvSpPr/>
              <p:nvPr/>
            </p:nvSpPr>
            <p:spPr>
              <a:xfrm>
                <a:off x="1410704" y="4990597"/>
                <a:ext cx="5492992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defTabSz="2437985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알기 쉬운 탄소국경조정제도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CBAM) –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잠정합의안 주요 내용 및 기업의 대응방안  </a:t>
                </a:r>
                <a:endPara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85CDB5A3-9C7E-40D9-9732-1AB16375299C}"/>
                  </a:ext>
                </a:extLst>
              </p:cNvPr>
              <p:cNvSpPr/>
              <p:nvPr/>
            </p:nvSpPr>
            <p:spPr>
              <a:xfrm>
                <a:off x="1424954" y="5523801"/>
                <a:ext cx="20877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0A1CC6E-CE68-4AD2-A4C3-2B91F59DD863}"/>
                </a:ext>
              </a:extLst>
            </p:cNvPr>
            <p:cNvGrpSpPr/>
            <p:nvPr/>
          </p:nvGrpSpPr>
          <p:grpSpPr>
            <a:xfrm>
              <a:off x="2523772" y="4004569"/>
              <a:ext cx="1574676" cy="155552"/>
              <a:chOff x="3287688" y="7159620"/>
              <a:chExt cx="1069338" cy="218101"/>
            </a:xfrm>
          </p:grpSpPr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A0A7B54D-1617-46D1-9F18-3FE7D01C2FA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01F18C6E-1F60-4C30-8BD7-3B63DC15288E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6AEA1494-5521-4E78-B7E4-A05D9968955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0EBC87C9-176D-46D3-ABAC-406DBD952848}"/>
                </a:ext>
              </a:extLst>
            </p:cNvPr>
            <p:cNvGrpSpPr/>
            <p:nvPr/>
          </p:nvGrpSpPr>
          <p:grpSpPr>
            <a:xfrm>
              <a:off x="599488" y="3419097"/>
              <a:ext cx="1820374" cy="1075495"/>
              <a:chOff x="3925318" y="3675504"/>
              <a:chExt cx="1124954" cy="765997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5F3EC512-77FA-4DD1-B9FB-C543532B9C46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52" name="직선 연결선 151">
                <a:extLst>
                  <a:ext uri="{FF2B5EF4-FFF2-40B4-BE49-F238E27FC236}">
                    <a16:creationId xmlns:a16="http://schemas.microsoft.com/office/drawing/2014/main" id="{B08FC3AF-6945-4B52-A494-AD6451388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직선 연결선 152">
                <a:extLst>
                  <a:ext uri="{FF2B5EF4-FFF2-40B4-BE49-F238E27FC236}">
                    <a16:creationId xmlns:a16="http://schemas.microsoft.com/office/drawing/2014/main" id="{692270C6-84C4-4BF9-AF89-DAE2D8E6834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E0B76454-3AE3-4A75-9C13-A024322BCA44}"/>
                </a:ext>
              </a:extLst>
            </p:cNvPr>
            <p:cNvGrpSpPr/>
            <p:nvPr/>
          </p:nvGrpSpPr>
          <p:grpSpPr>
            <a:xfrm>
              <a:off x="2403976" y="2123186"/>
              <a:ext cx="764659" cy="231036"/>
              <a:chOff x="1483869" y="7479163"/>
              <a:chExt cx="764659" cy="231036"/>
            </a:xfrm>
          </p:grpSpPr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C3A55689-AD0D-4999-9956-DA2A409C09EF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2CFB9699-DCEB-4C5E-8157-6A51FE1E27B4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2EF697B0-E83A-41EA-9C66-D77C4CE14925}"/>
                </a:ext>
              </a:extLst>
            </p:cNvPr>
            <p:cNvSpPr/>
            <p:nvPr/>
          </p:nvSpPr>
          <p:spPr>
            <a:xfrm>
              <a:off x="4193697" y="4007231"/>
              <a:ext cx="2151688" cy="1607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 #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기준</a:t>
              </a: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8E18647-6323-48DA-B76A-A1CDCC696924}"/>
                </a:ext>
              </a:extLst>
            </p:cNvPr>
            <p:cNvSpPr/>
            <p:nvPr/>
          </p:nvSpPr>
          <p:spPr>
            <a:xfrm>
              <a:off x="1533434" y="4283627"/>
              <a:ext cx="824131" cy="1481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0F604A11-3B24-40E8-B324-45E1AAAEB568}"/>
                </a:ext>
              </a:extLst>
            </p:cNvPr>
            <p:cNvGrpSpPr/>
            <p:nvPr/>
          </p:nvGrpSpPr>
          <p:grpSpPr>
            <a:xfrm>
              <a:off x="1349598" y="3804003"/>
              <a:ext cx="317115" cy="317115"/>
              <a:chOff x="1519093" y="5661249"/>
              <a:chExt cx="504056" cy="504056"/>
            </a:xfrm>
          </p:grpSpPr>
          <p:sp>
            <p:nvSpPr>
              <p:cNvPr id="147" name="타원 146">
                <a:extLst>
                  <a:ext uri="{FF2B5EF4-FFF2-40B4-BE49-F238E27FC236}">
                    <a16:creationId xmlns:a16="http://schemas.microsoft.com/office/drawing/2014/main" id="{87332095-6893-4F76-9D0D-6C8A1868992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이등변 삼각형 147">
                <a:extLst>
                  <a:ext uri="{FF2B5EF4-FFF2-40B4-BE49-F238E27FC236}">
                    <a16:creationId xmlns:a16="http://schemas.microsoft.com/office/drawing/2014/main" id="{D4F9F28D-1D1C-4982-A0D2-0E4E3D0F18C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D126C3B-CF73-4CA0-B84E-01C910DAC4C6}"/>
                </a:ext>
              </a:extLst>
            </p:cNvPr>
            <p:cNvSpPr/>
            <p:nvPr/>
          </p:nvSpPr>
          <p:spPr>
            <a:xfrm>
              <a:off x="539412" y="2082496"/>
              <a:ext cx="7932852" cy="1194183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92EB0FA4-9659-429F-9330-28B446BA4BC5}"/>
                </a:ext>
              </a:extLst>
            </p:cNvPr>
            <p:cNvGrpSpPr/>
            <p:nvPr/>
          </p:nvGrpSpPr>
          <p:grpSpPr>
            <a:xfrm>
              <a:off x="2419861" y="4959632"/>
              <a:ext cx="3930013" cy="756071"/>
              <a:chOff x="3010743" y="2119302"/>
              <a:chExt cx="3930013" cy="756071"/>
            </a:xfrm>
          </p:grpSpPr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5AABC431-6476-452A-8E6C-C9FB1824DB8B}"/>
                  </a:ext>
                </a:extLst>
              </p:cNvPr>
              <p:cNvSpPr/>
              <p:nvPr/>
            </p:nvSpPr>
            <p:spPr>
              <a:xfrm>
                <a:off x="4789068" y="2440602"/>
                <a:ext cx="2151688" cy="16078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 # 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기준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98D8672-3582-445A-87AF-CF1625D12183}"/>
                  </a:ext>
                </a:extLst>
              </p:cNvPr>
              <p:cNvSpPr/>
              <p:nvPr/>
            </p:nvSpPr>
            <p:spPr>
              <a:xfrm>
                <a:off x="3010743" y="2119302"/>
                <a:ext cx="3732255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F94F41D8-62FE-427D-8275-F6F92D33768B}"/>
                  </a:ext>
                </a:extLst>
              </p:cNvPr>
              <p:cNvSpPr/>
              <p:nvPr/>
            </p:nvSpPr>
            <p:spPr>
              <a:xfrm>
                <a:off x="3038708" y="2663064"/>
                <a:ext cx="2005243" cy="212309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9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.06.30 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C2E001C7-8827-4020-9046-DD0AE10FE889}"/>
                  </a:ext>
                </a:extLst>
              </p:cNvPr>
              <p:cNvSpPr/>
              <p:nvPr/>
            </p:nvSpPr>
            <p:spPr>
              <a:xfrm>
                <a:off x="3117755" y="2440602"/>
                <a:ext cx="360929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98AA277C-195E-4789-93A5-1DB475EC3C2F}"/>
                  </a:ext>
                </a:extLst>
              </p:cNvPr>
              <p:cNvSpPr/>
              <p:nvPr/>
            </p:nvSpPr>
            <p:spPr>
              <a:xfrm>
                <a:off x="3552209" y="2440602"/>
                <a:ext cx="722744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40A2622C-58F6-40DC-88AB-6DC64A17CD38}"/>
                  </a:ext>
                </a:extLst>
              </p:cNvPr>
              <p:cNvSpPr/>
              <p:nvPr/>
            </p:nvSpPr>
            <p:spPr>
              <a:xfrm>
                <a:off x="4340966" y="2440602"/>
                <a:ext cx="369361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0" name="그룹 119">
              <a:extLst>
                <a:ext uri="{FF2B5EF4-FFF2-40B4-BE49-F238E27FC236}">
                  <a16:creationId xmlns:a16="http://schemas.microsoft.com/office/drawing/2014/main" id="{1EE2B7AE-3C82-4A95-BCB4-C3013506318E}"/>
                </a:ext>
              </a:extLst>
            </p:cNvPr>
            <p:cNvGrpSpPr/>
            <p:nvPr/>
          </p:nvGrpSpPr>
          <p:grpSpPr>
            <a:xfrm>
              <a:off x="595996" y="4667057"/>
              <a:ext cx="1820374" cy="1075495"/>
              <a:chOff x="3925318" y="3675504"/>
              <a:chExt cx="1124954" cy="765997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BDB91236-6E19-4FD8-83F9-1C4C17DA3413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5" name="직선 연결선 134">
                <a:extLst>
                  <a:ext uri="{FF2B5EF4-FFF2-40B4-BE49-F238E27FC236}">
                    <a16:creationId xmlns:a16="http://schemas.microsoft.com/office/drawing/2014/main" id="{D1FD4AB3-74AA-4855-86AC-CB5D5B9D5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72B23B6B-DDF3-4FD2-B020-3112C0735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39F9A19A-9D14-489E-9D0B-202955F0ED84}"/>
                </a:ext>
              </a:extLst>
            </p:cNvPr>
            <p:cNvGrpSpPr/>
            <p:nvPr/>
          </p:nvGrpSpPr>
          <p:grpSpPr>
            <a:xfrm>
              <a:off x="2400484" y="4653584"/>
              <a:ext cx="764659" cy="231036"/>
              <a:chOff x="1483869" y="7479163"/>
              <a:chExt cx="764659" cy="231036"/>
            </a:xfrm>
          </p:grpSpPr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17BB3C3B-384B-4779-A81B-F7EAD3AB90BA}"/>
                  </a:ext>
                </a:extLst>
              </p:cNvPr>
              <p:cNvSpPr/>
              <p:nvPr/>
            </p:nvSpPr>
            <p:spPr>
              <a:xfrm>
                <a:off x="1579068" y="7501594"/>
                <a:ext cx="556172" cy="18617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0C5830E-FD2A-4166-897B-CFB163F220D6}"/>
                  </a:ext>
                </a:extLst>
              </p:cNvPr>
              <p:cNvSpPr/>
              <p:nvPr/>
            </p:nvSpPr>
            <p:spPr>
              <a:xfrm>
                <a:off x="1483869" y="7479163"/>
                <a:ext cx="764659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Report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2" name="그룹 121">
              <a:extLst>
                <a:ext uri="{FF2B5EF4-FFF2-40B4-BE49-F238E27FC236}">
                  <a16:creationId xmlns:a16="http://schemas.microsoft.com/office/drawing/2014/main" id="{55E90889-FD1D-45E5-966A-B51C57C424A3}"/>
                </a:ext>
              </a:extLst>
            </p:cNvPr>
            <p:cNvGrpSpPr/>
            <p:nvPr/>
          </p:nvGrpSpPr>
          <p:grpSpPr>
            <a:xfrm>
              <a:off x="8099274" y="3382036"/>
              <a:ext cx="540000" cy="576000"/>
              <a:chOff x="-2020480" y="1176136"/>
              <a:chExt cx="1216800" cy="956948"/>
            </a:xfrm>
          </p:grpSpPr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675FDAAB-EAC7-443E-BAD9-67DE28D184FC}"/>
                  </a:ext>
                </a:extLst>
              </p:cNvPr>
              <p:cNvSpPr/>
              <p:nvPr/>
            </p:nvSpPr>
            <p:spPr>
              <a:xfrm>
                <a:off x="-2020480" y="1176136"/>
                <a:ext cx="1216800" cy="95694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ko-KR" sz="700" b="1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07116B44-248D-4ECD-923E-78EAC5695B54}"/>
                  </a:ext>
                </a:extLst>
              </p:cNvPr>
              <p:cNvSpPr/>
              <p:nvPr/>
            </p:nvSpPr>
            <p:spPr>
              <a:xfrm>
                <a:off x="-1981326" y="1787888"/>
                <a:ext cx="1157289" cy="2606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온라인문의</a:t>
                </a:r>
              </a:p>
            </p:txBody>
          </p:sp>
          <p:pic>
            <p:nvPicPr>
              <p:cNvPr id="130" name="그림 129">
                <a:extLst>
                  <a:ext uri="{FF2B5EF4-FFF2-40B4-BE49-F238E27FC236}">
                    <a16:creationId xmlns:a16="http://schemas.microsoft.com/office/drawing/2014/main" id="{F2E62DF5-2AF0-471F-8ABA-D47079E529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27181" y="1298831"/>
                <a:ext cx="449001" cy="383626"/>
              </a:xfrm>
              <a:prstGeom prst="rect">
                <a:avLst/>
              </a:prstGeom>
            </p:spPr>
          </p:pic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D8FBF68F-5DD9-4CCD-8561-3E9D98EF99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1906736" y="2133084"/>
                <a:ext cx="10081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EF66246-5A7A-4531-9486-57343D8CDDDC}"/>
                </a:ext>
              </a:extLst>
            </p:cNvPr>
            <p:cNvSpPr/>
            <p:nvPr/>
          </p:nvSpPr>
          <p:spPr>
            <a:xfrm>
              <a:off x="2514522" y="3424468"/>
              <a:ext cx="530588" cy="195775"/>
            </a:xfrm>
            <a:prstGeom prst="rect">
              <a:avLst/>
            </a:prstGeom>
            <a:solidFill>
              <a:srgbClr val="C0460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ick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C21155F-4748-4AFB-84D8-062E89C14E26}"/>
                </a:ext>
              </a:extLst>
            </p:cNvPr>
            <p:cNvSpPr/>
            <p:nvPr/>
          </p:nvSpPr>
          <p:spPr>
            <a:xfrm>
              <a:off x="428844" y="1613550"/>
              <a:ext cx="1204522" cy="216540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70" name="표 10">
            <a:extLst>
              <a:ext uri="{FF2B5EF4-FFF2-40B4-BE49-F238E27FC236}">
                <a16:creationId xmlns:a16="http://schemas.microsoft.com/office/drawing/2014/main" id="{52C6D022-3108-40BD-B35F-2FB7FDF9CC69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6" cy="6070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2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5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11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1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 → 해당 토픽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링되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116277"/>
                  </a:ext>
                </a:extLst>
              </a:tr>
              <a:tr h="8084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영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해당 토픽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우선순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으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ID:M005, M01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2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3751003"/>
                  </a:ext>
                </a:extLst>
              </a:tr>
              <a:tr h="610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대표 이미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이미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정의된 이미지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※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작업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이미지 사이즈 통일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64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 플래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 컨텐츠가 공개 대상으로 설정된 사람에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질 때 플래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64985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1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8247"/>
                  </a:ext>
                </a:extLst>
              </a:tr>
              <a:tr h="2617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496163"/>
                  </a:ext>
                </a:extLst>
              </a:tr>
              <a:tr h="269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가 영상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468155"/>
                  </a:ext>
                </a:extLst>
              </a:tr>
            </a:tbl>
          </a:graphicData>
        </a:graphic>
      </p:graphicFrame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99215E05-AD56-4FC1-960C-E7115FFC2DFA}"/>
              </a:ext>
            </a:extLst>
          </p:cNvPr>
          <p:cNvSpPr/>
          <p:nvPr/>
        </p:nvSpPr>
        <p:spPr>
          <a:xfrm>
            <a:off x="423909" y="31228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4E4B4008-0D79-449B-ACE5-828B2709E4A1}"/>
              </a:ext>
            </a:extLst>
          </p:cNvPr>
          <p:cNvSpPr/>
          <p:nvPr/>
        </p:nvSpPr>
        <p:spPr>
          <a:xfrm>
            <a:off x="1447709" y="31174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C9782AA-864B-4C61-87A0-97FAFC96C689}"/>
              </a:ext>
            </a:extLst>
          </p:cNvPr>
          <p:cNvSpPr/>
          <p:nvPr/>
        </p:nvSpPr>
        <p:spPr>
          <a:xfrm>
            <a:off x="365705" y="3327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648C397E-3F6B-4EB0-B5C4-0203C0A70781}"/>
              </a:ext>
            </a:extLst>
          </p:cNvPr>
          <p:cNvSpPr/>
          <p:nvPr/>
        </p:nvSpPr>
        <p:spPr>
          <a:xfrm>
            <a:off x="518105" y="34796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5B0126F7-C821-4C1F-86F2-9881D3B10726}"/>
              </a:ext>
            </a:extLst>
          </p:cNvPr>
          <p:cNvSpPr/>
          <p:nvPr/>
        </p:nvSpPr>
        <p:spPr>
          <a:xfrm>
            <a:off x="1463916" y="36511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A84E440-7B2D-4E01-B16E-748462E52986}"/>
              </a:ext>
            </a:extLst>
          </p:cNvPr>
          <p:cNvSpPr/>
          <p:nvPr/>
        </p:nvSpPr>
        <p:spPr>
          <a:xfrm>
            <a:off x="2465520" y="3448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7" name="표 10">
            <a:extLst>
              <a:ext uri="{FF2B5EF4-FFF2-40B4-BE49-F238E27FC236}">
                <a16:creationId xmlns:a16="http://schemas.microsoft.com/office/drawing/2014/main" id="{971E8732-7508-41E1-BC67-8C1CDF84CE30}"/>
              </a:ext>
            </a:extLst>
          </p:cNvPr>
          <p:cNvGraphicFramePr>
            <a:graphicFrameLocks noGrp="1"/>
          </p:cNvGraphicFramePr>
          <p:nvPr/>
        </p:nvGraphicFramePr>
        <p:xfrm>
          <a:off x="9661923" y="3566213"/>
          <a:ext cx="2442961" cy="14855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692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96035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4768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eport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4768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ewsletter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984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edia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917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sson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96419F6A-7A27-4F03-A681-780AC52A0A79}"/>
              </a:ext>
            </a:extLst>
          </p:cNvPr>
          <p:cNvSpPr/>
          <p:nvPr/>
        </p:nvSpPr>
        <p:spPr>
          <a:xfrm>
            <a:off x="2432856" y="43698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78DE782E-FE20-4439-8C05-FA8FE9B64A1E}"/>
              </a:ext>
            </a:extLst>
          </p:cNvPr>
          <p:cNvSpPr/>
          <p:nvPr/>
        </p:nvSpPr>
        <p:spPr>
          <a:xfrm>
            <a:off x="2369056" y="4578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D5C7480F-25A4-43DB-B04F-3F889B15964D}"/>
              </a:ext>
            </a:extLst>
          </p:cNvPr>
          <p:cNvSpPr/>
          <p:nvPr/>
        </p:nvSpPr>
        <p:spPr>
          <a:xfrm>
            <a:off x="2377095" y="47724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96481CB9-FBF4-4F2E-84C1-DEDDBA7DF3F1}"/>
              </a:ext>
            </a:extLst>
          </p:cNvPr>
          <p:cNvSpPr/>
          <p:nvPr/>
        </p:nvSpPr>
        <p:spPr>
          <a:xfrm>
            <a:off x="4149388" y="4764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13B8F568-1FC6-4A33-A059-BE5B3B1399EA}"/>
              </a:ext>
            </a:extLst>
          </p:cNvPr>
          <p:cNvSpPr/>
          <p:nvPr/>
        </p:nvSpPr>
        <p:spPr>
          <a:xfrm>
            <a:off x="2384783" y="4958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BF57D378-C007-4AF5-92F3-401D0D679814}"/>
              </a:ext>
            </a:extLst>
          </p:cNvPr>
          <p:cNvSpPr/>
          <p:nvPr/>
        </p:nvSpPr>
        <p:spPr>
          <a:xfrm>
            <a:off x="1473283" y="4932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5503BA4-EDAC-4840-89FD-1F661B07082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Natur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0385959B-1C2D-4827-A849-7991F83D8EF2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(Taskforce on Natur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자연자본 정보 공시에 대한 국제적인 이니셔티브이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 발전에 대한 의제가 기후변화에서 자연으로 확대되는 가운데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 FI, UNDP, WWF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 국제기구의 주도로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1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조직되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NFD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 및 금융기관의 자연자본 위험 유발 여부와 대응현황에 대한 공시 체계 개발을 목적으로 합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8" name="표 8">
            <a:extLst>
              <a:ext uri="{FF2B5EF4-FFF2-40B4-BE49-F238E27FC236}">
                <a16:creationId xmlns:a16="http://schemas.microsoft.com/office/drawing/2014/main" id="{4DE94467-6D48-4727-A653-29A348DE5E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9289190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2BA8CB2C-231A-4A7A-A9FE-78FB219CC8EB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DC354317-1772-44F0-BE0D-146115A1B6C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330967122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725996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93" name="표 8">
            <a:extLst>
              <a:ext uri="{FF2B5EF4-FFF2-40B4-BE49-F238E27FC236}">
                <a16:creationId xmlns:a16="http://schemas.microsoft.com/office/drawing/2014/main" id="{61BF1A29-6546-4F81-BA9E-DFCC9AF3B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252703"/>
              </p:ext>
            </p:extLst>
          </p:nvPr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86DBE699-5C91-43CE-84DE-9DDE60160935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5209C5A-B61E-4B7E-B37A-83F6C2C57CE0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52BE39B2-3D0F-4A9C-A1B2-A563AD900E9D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8AA34EF4-1942-486F-A2E1-8EA5299702D3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3DCEBD9-24EC-46F0-B558-33F860E59516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E3B2D492-79B7-499B-B70E-D3EAFB697C8A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B2D1F4F-2350-480A-BCD2-0540C29ED43F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91E5925A-8876-466B-BABA-5E5AFC5EBB76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BBD96F8E-1636-48A2-8945-FB66B7880C65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0DF7DB35-7FF6-442B-BDE1-329EA7CE7361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B86D0F3C-C646-476F-B3A5-5E751B77C01F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연결선 131">
                <a:extLst>
                  <a:ext uri="{FF2B5EF4-FFF2-40B4-BE49-F238E27FC236}">
                    <a16:creationId xmlns:a16="http://schemas.microsoft.com/office/drawing/2014/main" id="{A63F300B-C882-47AB-B7D8-5F171B992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473B9978-8351-48CD-8C88-36F0C28D39C6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4709DE2A-CC3C-4468-8887-4C8871F018BB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8" name="직선 연결선 127">
                <a:extLst>
                  <a:ext uri="{FF2B5EF4-FFF2-40B4-BE49-F238E27FC236}">
                    <a16:creationId xmlns:a16="http://schemas.microsoft.com/office/drawing/2014/main" id="{293A0A75-B957-40BD-8C99-833F242EDC02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>
                <a:extLst>
                  <a:ext uri="{FF2B5EF4-FFF2-40B4-BE49-F238E27FC236}">
                    <a16:creationId xmlns:a16="http://schemas.microsoft.com/office/drawing/2014/main" id="{607C1741-334B-4284-A850-4B4E5F7B3E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3DB30302-FAD7-4C47-8AE9-298CDC892A3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F43622D7-5B2D-4F50-9B9F-9D14839D59D0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9E60B39-DD3B-4F34-A25D-70AC9BD0F74F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A02D94CE-FC3B-4930-B302-D0B7D2B369A6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3F9FB1BC-A35F-4F20-BCC6-B8988A66E0F4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B46CD3CA-A2E4-4D04-AB5A-B201AC41B3E6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DB2E24C7-F364-43E3-A377-8D9FD3A880D6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6B4ED84-6B63-408B-BABD-E9660F627702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DB17E664-70E3-40B3-8B0C-19507BDE5AE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5" name="직선 연결선 124">
                <a:extLst>
                  <a:ext uri="{FF2B5EF4-FFF2-40B4-BE49-F238E27FC236}">
                    <a16:creationId xmlns:a16="http://schemas.microsoft.com/office/drawing/2014/main" id="{A26AAEEA-5C4E-4969-A9ED-B51FFA25327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직선 연결선 125">
                <a:extLst>
                  <a:ext uri="{FF2B5EF4-FFF2-40B4-BE49-F238E27FC236}">
                    <a16:creationId xmlns:a16="http://schemas.microsoft.com/office/drawing/2014/main" id="{60F0AA73-0F75-42EC-BF50-21BADA9ABB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C085222E-031A-44A7-8553-5EF091FEA357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4877FD7-5F53-4E65-B2C0-D64B5BDDF7C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2" name="직선 연결선 121">
                <a:extLst>
                  <a:ext uri="{FF2B5EF4-FFF2-40B4-BE49-F238E27FC236}">
                    <a16:creationId xmlns:a16="http://schemas.microsoft.com/office/drawing/2014/main" id="{B3DB5BF3-647B-4503-AD3A-2D061CB1D9C1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직선 연결선 122">
                <a:extLst>
                  <a:ext uri="{FF2B5EF4-FFF2-40B4-BE49-F238E27FC236}">
                    <a16:creationId xmlns:a16="http://schemas.microsoft.com/office/drawing/2014/main" id="{BDD0B5BC-BCC2-4263-BDD5-47D3C2A89A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D11FE49C-3C9C-40C8-B360-C39BCC11C6C5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9ECED189-F6D4-4A7B-A27F-73ADEBFCBD9B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939AA46-A38C-4FF7-8359-4992548387D8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37C3B3FB-BFE3-4918-9681-1BA822C55FD8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A4CBC09F-A3E0-4229-B374-2C6F3E411CEF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DE652009-61BA-40E5-BB13-AC5A99333460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22069D35-0DD5-4933-99B4-CC8CCE48D442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2AB8E1C8-B25C-4C58-96C2-9B6D2870899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C865ACB3-2026-4EF5-92CD-E3BD77DF2611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9945A0FD-C178-4996-9033-2F004F3C14E3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93826172-D45F-4146-A297-7DF93FD12484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AE6F5F41-B565-428B-A6EE-2E4F012B0276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2BF339A6-FCE2-4332-9769-838618E39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044FA516-B834-4C18-A0B0-E5136C705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전체보기 목록 | 환경 | 키즈현대">
              <a:extLst>
                <a:ext uri="{FF2B5EF4-FFF2-40B4-BE49-F238E27FC236}">
                  <a16:creationId xmlns:a16="http://schemas.microsoft.com/office/drawing/2014/main" id="{C1B1E33B-DDD5-4BD1-9DF5-E91BE02DC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7D608ADA-B49D-47D0-B3B7-2EB61A8CA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6D5E380-5F58-4C07-AF63-804A970524B3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706BC021-D440-4CDA-B5D0-1964C4B49DCB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2653E18-B0E4-4B15-97C2-7FCACF03FA1F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C0D4F36-AECE-4F8D-98AC-75BFE1B5B1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8966ACE-2E7B-4594-9816-B47F224434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A8AB4FA-DEF9-4313-A3D7-E90DC7C12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C477E41-E5A5-45A4-A5B5-52239C844D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D504092-787A-4C79-AC11-3690C271C6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1CA51FF-6BBD-4966-90D3-83B798620E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09CDF0AB-CB09-4F2F-AC84-650CA1B4423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061F612A-BD80-43F6-9410-AB954A606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60C50503-775A-4F83-B9E5-0E27F151B4F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FEE59F86-22F4-48C5-B2B9-EA59B2E196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442797E8-BED5-4511-9290-F129342555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F97DAD3-55FD-4CE7-A45F-987570521BF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Natur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5B8F9F75-DF22-49D9-A5CC-94E9999E7FDB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(Taskforce on Natur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자연자본 정보 공시에 대한 국제적인 이니셔티브이며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 발전에 대한 의제가 기후변화에서 자연으로 확대되는 가운데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NEP FI, UNDP, WWF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 국제기구의 주도로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1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조직되었습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NFD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 및 금융기관의 자연자본 위험 유발 여부와 대응현황에 대한 공시 체계 개발을 목적으로 합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CFBFC8C2-2658-485C-9551-EFA99DDA4B0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13584844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790629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TCF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35334" y="2578024"/>
            <a:ext cx="5193832" cy="26714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en-US" altLang="ko-KR" sz="10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Climate-related Financial Disclosures)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788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86797" y="2828561"/>
            <a:ext cx="8195695" cy="48030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(Taskforce on Climat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과 금융기관의 기후 위험에 대한 정보 공개의 필요성이 강조됨에 따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변화와 관련된 위험과 기회를 평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하는 방법을 지원하기 위해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20 FSB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안정위원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에 따라 설립되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CF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고안은 기후변화 재무 정보 공시의 기본</a:t>
            </a:r>
          </a:p>
          <a:p>
            <a:pPr algn="l" latinLnBrk="0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프레임워크를 제공하고 있으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세계 국가들과 기관으로부터 지지를 받고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7680234"/>
              </p:ext>
            </p:extLst>
          </p:nvPr>
        </p:nvGraphicFramePr>
        <p:xfrm>
          <a:off x="533949" y="3366762"/>
          <a:ext cx="8198025" cy="2756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2756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84561" y="33260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30EAC3AF-EE22-4C2D-8CBF-285F15019BA6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9332269F-DABB-4401-BCCE-993405D3C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80188BF7-5DDB-407E-9A97-9B8AF8D7AEC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A6FBF5C7-CD57-48C7-8E8D-9FE8827F2D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111FA92A-81AD-4025-8156-8E273F86D45C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81B0FB43-1879-4C8E-A94C-9B5F6B7B5B8A}"/>
              </a:ext>
            </a:extLst>
          </p:cNvPr>
          <p:cNvSpPr/>
          <p:nvPr/>
        </p:nvSpPr>
        <p:spPr bwMode="auto">
          <a:xfrm>
            <a:off x="341695" y="641114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FD37FFE-CCC8-4586-92A3-309D72F52DA8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3B1131F6-8382-4B35-A23B-B02A8B5D80F6}"/>
              </a:ext>
            </a:extLst>
          </p:cNvPr>
          <p:cNvGrpSpPr/>
          <p:nvPr/>
        </p:nvGrpSpPr>
        <p:grpSpPr>
          <a:xfrm>
            <a:off x="341695" y="1612190"/>
            <a:ext cx="8642428" cy="920676"/>
            <a:chOff x="341695" y="1612190"/>
            <a:chExt cx="8642428" cy="920676"/>
          </a:xfrm>
        </p:grpSpPr>
        <p:sp>
          <p:nvSpPr>
            <p:cNvPr id="66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A2002949-23E5-404E-A12C-04A7A4A798BD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70792" y="1612190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>
                <a:lnSpc>
                  <a:spcPct val="120000"/>
                </a:lnSpc>
              </a:pPr>
              <a:r>
                <a:rPr lang="en-US" altLang="ko-KR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latinLnBrk="0">
                <a:lnSpc>
                  <a:spcPct val="12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공시 기관별 기준서의 프레임워크를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 기준서의 해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례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컨텐츠를 제공합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D1E9318F-F04D-41BD-872E-60E9DBE9D3E6}"/>
                </a:ext>
              </a:extLst>
            </p:cNvPr>
            <p:cNvSpPr/>
            <p:nvPr/>
          </p:nvSpPr>
          <p:spPr>
            <a:xfrm>
              <a:off x="469824" y="2202180"/>
              <a:ext cx="1233688" cy="252210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보고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3D5A8BE1-A320-4ABA-B403-8C9273570AE9}"/>
                </a:ext>
              </a:extLst>
            </p:cNvPr>
            <p:cNvSpPr/>
            <p:nvPr/>
          </p:nvSpPr>
          <p:spPr>
            <a:xfrm>
              <a:off x="1776659" y="2218192"/>
              <a:ext cx="847884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0" name="사각형: 둥근 모서리 69">
              <a:extLst>
                <a:ext uri="{FF2B5EF4-FFF2-40B4-BE49-F238E27FC236}">
                  <a16:creationId xmlns:a16="http://schemas.microsoft.com/office/drawing/2014/main" id="{84C8A8E8-D504-42F4-815D-6FA9CF24D118}"/>
                </a:ext>
              </a:extLst>
            </p:cNvPr>
            <p:cNvSpPr/>
            <p:nvPr/>
          </p:nvSpPr>
          <p:spPr>
            <a:xfrm>
              <a:off x="2702939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1" name="직선 연결선 70">
              <a:extLst>
                <a:ext uri="{FF2B5EF4-FFF2-40B4-BE49-F238E27FC236}">
                  <a16:creationId xmlns:a16="http://schemas.microsoft.com/office/drawing/2014/main" id="{28192452-B551-4B30-A31A-D77716D1802D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087433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C3B818B8-EC5C-43AF-BC8A-124991E048CE}"/>
                </a:ext>
              </a:extLst>
            </p:cNvPr>
            <p:cNvCxnSpPr>
              <a:cxnSpLocks/>
            </p:cNvCxnSpPr>
            <p:nvPr/>
          </p:nvCxnSpPr>
          <p:spPr>
            <a:xfrm>
              <a:off x="341695" y="253286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7A9FBE9B-AB76-4347-8D94-6E762563EE4C}"/>
                </a:ext>
              </a:extLst>
            </p:cNvPr>
            <p:cNvSpPr/>
            <p:nvPr/>
          </p:nvSpPr>
          <p:spPr>
            <a:xfrm>
              <a:off x="3655068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5" name="사각형: 둥근 모서리 74">
              <a:extLst>
                <a:ext uri="{FF2B5EF4-FFF2-40B4-BE49-F238E27FC236}">
                  <a16:creationId xmlns:a16="http://schemas.microsoft.com/office/drawing/2014/main" id="{B9FE31E7-5D00-4873-8A8F-F6EFED37FF86}"/>
                </a:ext>
              </a:extLst>
            </p:cNvPr>
            <p:cNvSpPr/>
            <p:nvPr/>
          </p:nvSpPr>
          <p:spPr>
            <a:xfrm>
              <a:off x="4607197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C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6" name="사각형: 둥근 모서리 75">
              <a:extLst>
                <a:ext uri="{FF2B5EF4-FFF2-40B4-BE49-F238E27FC236}">
                  <a16:creationId xmlns:a16="http://schemas.microsoft.com/office/drawing/2014/main" id="{8C66AF70-E282-47BD-8FD9-6B1FE39B8679}"/>
                </a:ext>
              </a:extLst>
            </p:cNvPr>
            <p:cNvSpPr/>
            <p:nvPr/>
          </p:nvSpPr>
          <p:spPr>
            <a:xfrm>
              <a:off x="5559326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rgbClr val="404040"/>
            </a:solidFill>
            <a:ln w="3175" cap="flat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31CC76B1-350A-4945-A6DD-D7719E761D7F}"/>
                </a:ext>
              </a:extLst>
            </p:cNvPr>
            <p:cNvSpPr/>
            <p:nvPr/>
          </p:nvSpPr>
          <p:spPr>
            <a:xfrm>
              <a:off x="6511142" y="2218192"/>
              <a:ext cx="873733" cy="240543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NFD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45105C0-396C-4E36-B968-D62FB480DD04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54" name="그림 53">
            <a:extLst>
              <a:ext uri="{FF2B5EF4-FFF2-40B4-BE49-F238E27FC236}">
                <a16:creationId xmlns:a16="http://schemas.microsoft.com/office/drawing/2014/main" id="{62512EDA-2F09-457F-A5B8-8F82818543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334" y="3662500"/>
            <a:ext cx="8198025" cy="374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64283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1114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TCF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Climat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603C3206-0DD8-4BC9-8587-621A6FF4FC40}"/>
              </a:ext>
            </a:extLst>
          </p:cNvPr>
          <p:cNvGrpSpPr/>
          <p:nvPr/>
        </p:nvGrpSpPr>
        <p:grpSpPr>
          <a:xfrm>
            <a:off x="8835174" y="1507823"/>
            <a:ext cx="152360" cy="4788000"/>
            <a:chOff x="9201470" y="1601344"/>
            <a:chExt cx="188139" cy="4198758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A7C86F87-60D1-4748-A294-31693F3510C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00D2CFF4-52CE-4D95-B591-20AA5420907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454131EB-8F27-4B4F-9713-B4A6F3EECF4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D67C8B30-798C-4FE2-92C9-D8B9113FC3F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805A8D2C-0109-4311-A026-D873E34A1D1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8A6E8D4-39E2-47EA-9EAD-88456D8A53A6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(Taskforce on Climat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과 금융기관의 기후 위험에 대한 정보 공개의 필요성이 강조됨에 따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변화와 관련된 위험과 기회를 평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하는 방법을 지원하기 위해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20 FSB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안정위원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에 따라 설립되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CF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고안은 기후변화 재무 정보 공시의 기본</a:t>
            </a:r>
          </a:p>
          <a:p>
            <a:pPr algn="l" latinLnBrk="0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프레임워크를 제공하고 있으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세계 국가들과 기관으로부터 지지를 받고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2" name="표 8">
            <a:extLst>
              <a:ext uri="{FF2B5EF4-FFF2-40B4-BE49-F238E27FC236}">
                <a16:creationId xmlns:a16="http://schemas.microsoft.com/office/drawing/2014/main" id="{FE0F616D-7175-49F7-B41D-8A2BC18CC425}"/>
              </a:ext>
            </a:extLst>
          </p:cNvPr>
          <p:cNvGraphicFramePr>
            <a:graphicFrameLocks noGrp="1"/>
          </p:cNvGraphicFramePr>
          <p:nvPr/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A6CDFF5A-23FE-41C6-990D-9906127EB58E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4" name="표 11">
            <a:extLst>
              <a:ext uri="{FF2B5EF4-FFF2-40B4-BE49-F238E27FC236}">
                <a16:creationId xmlns:a16="http://schemas.microsoft.com/office/drawing/2014/main" id="{16ED4310-796F-4F53-B5D5-87517DBFA7BC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3483224"/>
          <a:ext cx="8215560" cy="28720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19016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4896544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</a:tblGrid>
              <a:tr h="206480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troduction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개 및 배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102076"/>
                  </a:ext>
                </a:extLst>
              </a:tr>
              <a:tr h="119067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229535"/>
                  </a:ext>
                </a:extLst>
              </a:tr>
              <a:tr h="206480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ecommendations and Guidanc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고안과 관련 지침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837027"/>
                  </a:ext>
                </a:extLst>
              </a:tr>
              <a:tr h="896747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는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지 주제에 대한 정보를 재무 공시자료에 제공할 것을 권고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의 감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b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진의 역할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기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기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가 기후변화 위험과 기회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b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및 재무계획에 미치는 영향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c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나리오에 따른 전략의 적정성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및 영향 관리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 위험의 식별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프로세스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b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 위험관리 프로세스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              c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로세스의 전사적 통합 여부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표 및 목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a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험과 기회를 평가하기 위한 지표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) Scope 1,2,3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실가스 배출량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    c)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기후변화 관련 목표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9671030"/>
                  </a:ext>
                </a:extLst>
              </a:tr>
              <a:tr h="119067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227977"/>
                  </a:ext>
                </a:extLst>
              </a:tr>
              <a:tr h="206480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upplemental Guidance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특정 섹터를 위한 보충 지침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480442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 및 특정 </a:t>
                      </a:r>
                      <a:r>
                        <a:rPr lang="ko-KR" altLang="en-US" sz="90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금융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섹터의 경우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섹터별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중요 고려사항 강조를 위해 보충 지침 제공</a:t>
                      </a:r>
                      <a:br>
                        <a:rPr lang="en-US" altLang="ko-KR" sz="9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은행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험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산소유사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산운용사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9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금융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통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자재와 건축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농업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식품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606590"/>
                  </a:ext>
                </a:extLst>
              </a:tr>
              <a:tr h="119067"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10000"/>
                        </a:lnSpc>
                      </a:pPr>
                      <a:endParaRPr lang="ko-KR" altLang="en-US" sz="3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866030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D16DC332-0144-43BB-A950-087866128EBB}"/>
              </a:ext>
            </a:extLst>
          </p:cNvPr>
          <p:cNvSpPr txBox="1"/>
          <p:nvPr/>
        </p:nvSpPr>
        <p:spPr>
          <a:xfrm>
            <a:off x="544227" y="3212976"/>
            <a:ext cx="26162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권고안 </a:t>
            </a: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내용</a:t>
            </a: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FB655715-E506-48C9-AE7D-73A0DBD68BFB}"/>
              </a:ext>
            </a:extLst>
          </p:cNvPr>
          <p:cNvSpPr/>
          <p:nvPr/>
        </p:nvSpPr>
        <p:spPr>
          <a:xfrm>
            <a:off x="6556584" y="3173095"/>
            <a:ext cx="2124000" cy="2479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권고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번역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바로보기</a:t>
            </a: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4C47CBEB-A700-49AB-B426-2ADB866CED96}"/>
              </a:ext>
            </a:extLst>
          </p:cNvPr>
          <p:cNvSpPr/>
          <p:nvPr/>
        </p:nvSpPr>
        <p:spPr>
          <a:xfrm>
            <a:off x="4799856" y="3173095"/>
            <a:ext cx="1692000" cy="2479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권고안 바로보기</a:t>
            </a: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73685DD1-977F-4D78-A221-AE7B7CD78271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63A8EB21-0422-4DE0-8F73-B7C2E77D29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6FB1CDFF-AA8A-4267-9521-81EC78541854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1F3E0236-EF61-476E-A562-F0508943E4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F270175-6640-4DB3-9022-541838B7EE2F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3F8C966A-2C13-4536-9C9F-1B3B5806544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A811E17-0B88-4A96-A1E5-F843ED066B7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808272611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5209C5A-B61E-4B7E-B37A-83F6C2C57CE0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52BE39B2-3D0F-4A9C-A1B2-A563AD900E9D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8AA34EF4-1942-486F-A2E1-8EA5299702D3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3DCEBD9-24EC-46F0-B558-33F860E59516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E3B2D492-79B7-499B-B70E-D3EAFB697C8A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B2D1F4F-2350-480A-BCD2-0540C29ED43F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91E5925A-8876-466B-BABA-5E5AFC5EBB76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BBD96F8E-1636-48A2-8945-FB66B7880C65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0DF7DB35-7FF6-442B-BDE1-329EA7CE7361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B86D0F3C-C646-476F-B3A5-5E751B77C01F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연결선 131">
                <a:extLst>
                  <a:ext uri="{FF2B5EF4-FFF2-40B4-BE49-F238E27FC236}">
                    <a16:creationId xmlns:a16="http://schemas.microsoft.com/office/drawing/2014/main" id="{A63F300B-C882-47AB-B7D8-5F171B992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473B9978-8351-48CD-8C88-36F0C28D39C6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4709DE2A-CC3C-4468-8887-4C8871F018BB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8" name="직선 연결선 127">
                <a:extLst>
                  <a:ext uri="{FF2B5EF4-FFF2-40B4-BE49-F238E27FC236}">
                    <a16:creationId xmlns:a16="http://schemas.microsoft.com/office/drawing/2014/main" id="{293A0A75-B957-40BD-8C99-833F242EDC02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>
                <a:extLst>
                  <a:ext uri="{FF2B5EF4-FFF2-40B4-BE49-F238E27FC236}">
                    <a16:creationId xmlns:a16="http://schemas.microsoft.com/office/drawing/2014/main" id="{607C1741-334B-4284-A850-4B4E5F7B3E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3DB30302-FAD7-4C47-8AE9-298CDC892A3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F43622D7-5B2D-4F50-9B9F-9D14839D59D0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9E60B39-DD3B-4F34-A25D-70AC9BD0F74F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A02D94CE-FC3B-4930-B302-D0B7D2B369A6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3F9FB1BC-A35F-4F20-BCC6-B8988A66E0F4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B46CD3CA-A2E4-4D04-AB5A-B201AC41B3E6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DB2E24C7-F364-43E3-A377-8D9FD3A880D6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6B4ED84-6B63-408B-BABD-E9660F627702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DB17E664-70E3-40B3-8B0C-19507BDE5AE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5" name="직선 연결선 124">
                <a:extLst>
                  <a:ext uri="{FF2B5EF4-FFF2-40B4-BE49-F238E27FC236}">
                    <a16:creationId xmlns:a16="http://schemas.microsoft.com/office/drawing/2014/main" id="{A26AAEEA-5C4E-4969-A9ED-B51FFA25327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직선 연결선 125">
                <a:extLst>
                  <a:ext uri="{FF2B5EF4-FFF2-40B4-BE49-F238E27FC236}">
                    <a16:creationId xmlns:a16="http://schemas.microsoft.com/office/drawing/2014/main" id="{60F0AA73-0F75-42EC-BF50-21BADA9ABB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C085222E-031A-44A7-8553-5EF091FEA357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4877FD7-5F53-4E65-B2C0-D64B5BDDF7C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2" name="직선 연결선 121">
                <a:extLst>
                  <a:ext uri="{FF2B5EF4-FFF2-40B4-BE49-F238E27FC236}">
                    <a16:creationId xmlns:a16="http://schemas.microsoft.com/office/drawing/2014/main" id="{B3DB5BF3-647B-4503-AD3A-2D061CB1D9C1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직선 연결선 122">
                <a:extLst>
                  <a:ext uri="{FF2B5EF4-FFF2-40B4-BE49-F238E27FC236}">
                    <a16:creationId xmlns:a16="http://schemas.microsoft.com/office/drawing/2014/main" id="{BDD0B5BC-BCC2-4263-BDD5-47D3C2A89A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D11FE49C-3C9C-40C8-B360-C39BCC11C6C5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9ECED189-F6D4-4A7B-A27F-73ADEBFCBD9B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939AA46-A38C-4FF7-8359-4992548387D8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37C3B3FB-BFE3-4918-9681-1BA822C55FD8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A4CBC09F-A3E0-4229-B374-2C6F3E411CEF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DE652009-61BA-40E5-BB13-AC5A99333460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22069D35-0DD5-4933-99B4-CC8CCE48D442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2AB8E1C8-B25C-4C58-96C2-9B6D2870899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C865ACB3-2026-4EF5-92CD-E3BD77DF2611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9945A0FD-C178-4996-9033-2F004F3C14E3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93826172-D45F-4146-A297-7DF93FD12484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AE6F5F41-B565-428B-A6EE-2E4F012B0276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2BF339A6-FCE2-4332-9769-838618E39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044FA516-B834-4C18-A0B0-E5136C705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전체보기 목록 | 환경 | 키즈현대">
              <a:extLst>
                <a:ext uri="{FF2B5EF4-FFF2-40B4-BE49-F238E27FC236}">
                  <a16:creationId xmlns:a16="http://schemas.microsoft.com/office/drawing/2014/main" id="{C1B1E33B-DDD5-4BD1-9DF5-E91BE02DC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7D608ADA-B49D-47D0-B3B7-2EB61A8CA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6D5E380-5F58-4C07-AF63-804A970524B3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706BC021-D440-4CDA-B5D0-1964C4B49DCB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2653E18-B0E4-4B15-97C2-7FCACF03FA1F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C0D4F36-AECE-4F8D-98AC-75BFE1B5B1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8966ACE-2E7B-4594-9816-B47F224434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A8AB4FA-DEF9-4313-A3D7-E90DC7C12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C477E41-E5A5-45A4-A5B5-52239C844D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D504092-787A-4C79-AC11-3690C271C6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1CA51FF-6BBD-4966-90D3-83B798620E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09CDF0AB-CB09-4F2F-AC84-650CA1B4423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061F612A-BD80-43F6-9410-AB954A606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60C50503-775A-4F83-B9E5-0E27F151B4F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FEE59F86-22F4-48C5-B2B9-EA59B2E196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442797E8-BED5-4511-9290-F129342555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4A24A8F-73F1-4E55-BC61-B2C29272D3E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Climat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42FCCBD7-2F24-44AE-B08F-6DE900BCA1FB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(Taskforce on Climat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과 금융기관의 기후 위험에 대한 정보 공개의 필요성이 강조됨에 따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변화와 관련된 위험과 기회를 평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하는 방법을 지원하기 위해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20 FSB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안정위원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에 따라 설립되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CF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고안은 기후변화 재무 정보 공시의 기본</a:t>
            </a:r>
          </a:p>
          <a:p>
            <a:pPr algn="l" latinLnBrk="0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프레임워크를 제공하고 있으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세계 국가들과 기관으로부터 지지를 받고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53" name="표 8">
            <a:extLst>
              <a:ext uri="{FF2B5EF4-FFF2-40B4-BE49-F238E27FC236}">
                <a16:creationId xmlns:a16="http://schemas.microsoft.com/office/drawing/2014/main" id="{064BB004-3538-49FA-A157-B154BE5B10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009651"/>
              </p:ext>
            </p:extLst>
          </p:nvPr>
        </p:nvGraphicFramePr>
        <p:xfrm>
          <a:off x="496390" y="2726437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69941763-FD26-4F9A-904A-F3DD1F2332DB}"/>
              </a:ext>
            </a:extLst>
          </p:cNvPr>
          <p:cNvSpPr/>
          <p:nvPr/>
        </p:nvSpPr>
        <p:spPr>
          <a:xfrm>
            <a:off x="463171" y="2655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5684D187-1748-45DF-A880-F72329D0003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913817420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78239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의 구성과 주요 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문 보기 링크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581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으로 하단 영역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컨텐츠 보기 대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토픽으로 설정한 최신동향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포함 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진 미포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~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최신순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츨력항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유형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 분류하여 발간일 최신순으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~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크기에 따라 조정필요</a:t>
                      </a:r>
                      <a: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우선순위 설정한 컨텐츠가 있으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가 우선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명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6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ISSB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93" name="표 8">
            <a:extLst>
              <a:ext uri="{FF2B5EF4-FFF2-40B4-BE49-F238E27FC236}">
                <a16:creationId xmlns:a16="http://schemas.microsoft.com/office/drawing/2014/main" id="{61BF1A29-6546-4F81-BA9E-DFCC9AF3B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564055"/>
              </p:ext>
            </p:extLst>
          </p:nvPr>
        </p:nvGraphicFramePr>
        <p:xfrm>
          <a:off x="496390" y="2736309"/>
          <a:ext cx="8198025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2675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732675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프레임워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보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설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보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86DBE699-5C91-43CE-84DE-9DDE60160935}"/>
              </a:ext>
            </a:extLst>
          </p:cNvPr>
          <p:cNvSpPr/>
          <p:nvPr/>
        </p:nvSpPr>
        <p:spPr>
          <a:xfrm>
            <a:off x="463171" y="26653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5209C5A-B61E-4B7E-B37A-83F6C2C57CE0}"/>
              </a:ext>
            </a:extLst>
          </p:cNvPr>
          <p:cNvGrpSpPr/>
          <p:nvPr/>
        </p:nvGrpSpPr>
        <p:grpSpPr>
          <a:xfrm>
            <a:off x="491160" y="3211918"/>
            <a:ext cx="8203256" cy="2966990"/>
            <a:chOff x="491159" y="2762644"/>
            <a:chExt cx="8362971" cy="3418768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52BE39B2-3D0F-4A9C-A1B2-A563AD900E9D}"/>
                </a:ext>
              </a:extLst>
            </p:cNvPr>
            <p:cNvSpPr/>
            <p:nvPr/>
          </p:nvSpPr>
          <p:spPr>
            <a:xfrm>
              <a:off x="491160" y="3044738"/>
              <a:ext cx="2650727" cy="31359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8AA34EF4-1942-486F-A2E1-8EA5299702D3}"/>
                </a:ext>
              </a:extLst>
            </p:cNvPr>
            <p:cNvSpPr/>
            <p:nvPr/>
          </p:nvSpPr>
          <p:spPr>
            <a:xfrm>
              <a:off x="491159" y="2762644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동향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3DCEBD9-24EC-46F0-B558-33F860E59516}"/>
                </a:ext>
              </a:extLst>
            </p:cNvPr>
            <p:cNvSpPr/>
            <p:nvPr/>
          </p:nvSpPr>
          <p:spPr>
            <a:xfrm>
              <a:off x="3319171" y="3028898"/>
              <a:ext cx="2650727" cy="31525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E3B2D492-79B7-499B-B70E-D3EAFB697C8A}"/>
                </a:ext>
              </a:extLst>
            </p:cNvPr>
            <p:cNvSpPr/>
            <p:nvPr/>
          </p:nvSpPr>
          <p:spPr>
            <a:xfrm>
              <a:off x="6147183" y="3034234"/>
              <a:ext cx="2650727" cy="31469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44000" tIns="109720" rIns="144000" bIns="109720" numCol="1" spcCol="38100" rtlCol="0" anchor="t">
              <a:noAutofit/>
            </a:bodyPr>
            <a:lstStyle/>
            <a:p>
              <a:pPr>
                <a:lnSpc>
                  <a:spcPct val="130000"/>
                </a:lnSpc>
              </a:pP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AB2D1F4F-2350-480A-BCD2-0540C29ED43F}"/>
                </a:ext>
              </a:extLst>
            </p:cNvPr>
            <p:cNvSpPr/>
            <p:nvPr/>
          </p:nvSpPr>
          <p:spPr>
            <a:xfrm>
              <a:off x="3279826" y="2776900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상모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&gt; 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91E5925A-8876-466B-BABA-5E5AFC5EBB76}"/>
                </a:ext>
              </a:extLst>
            </p:cNvPr>
            <p:cNvSpPr/>
            <p:nvPr/>
          </p:nvSpPr>
          <p:spPr>
            <a:xfrm>
              <a:off x="6132479" y="2764131"/>
              <a:ext cx="2650727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모음  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BBD96F8E-1636-48A2-8945-FB66B7880C65}"/>
                </a:ext>
              </a:extLst>
            </p:cNvPr>
            <p:cNvGrpSpPr/>
            <p:nvPr/>
          </p:nvGrpSpPr>
          <p:grpSpPr>
            <a:xfrm>
              <a:off x="621607" y="3186392"/>
              <a:ext cx="864096" cy="551455"/>
              <a:chOff x="623392" y="4609098"/>
              <a:chExt cx="1368152" cy="685030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0DF7DB35-7FF6-442B-BDE1-329EA7CE7361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31" name="직선 연결선 130">
                <a:extLst>
                  <a:ext uri="{FF2B5EF4-FFF2-40B4-BE49-F238E27FC236}">
                    <a16:creationId xmlns:a16="http://schemas.microsoft.com/office/drawing/2014/main" id="{B86D0F3C-C646-476F-B3A5-5E751B77C01F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연결선 131">
                <a:extLst>
                  <a:ext uri="{FF2B5EF4-FFF2-40B4-BE49-F238E27FC236}">
                    <a16:creationId xmlns:a16="http://schemas.microsoft.com/office/drawing/2014/main" id="{A63F300B-C882-47AB-B7D8-5F171B992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473B9978-8351-48CD-8C88-36F0C28D39C6}"/>
                </a:ext>
              </a:extLst>
            </p:cNvPr>
            <p:cNvGrpSpPr/>
            <p:nvPr/>
          </p:nvGrpSpPr>
          <p:grpSpPr>
            <a:xfrm>
              <a:off x="621607" y="3877953"/>
              <a:ext cx="864096" cy="551455"/>
              <a:chOff x="623392" y="4609098"/>
              <a:chExt cx="1368152" cy="685030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4709DE2A-CC3C-4468-8887-4C8871F018BB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8" name="직선 연결선 127">
                <a:extLst>
                  <a:ext uri="{FF2B5EF4-FFF2-40B4-BE49-F238E27FC236}">
                    <a16:creationId xmlns:a16="http://schemas.microsoft.com/office/drawing/2014/main" id="{293A0A75-B957-40BD-8C99-833F242EDC02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>
                <a:extLst>
                  <a:ext uri="{FF2B5EF4-FFF2-40B4-BE49-F238E27FC236}">
                    <a16:creationId xmlns:a16="http://schemas.microsoft.com/office/drawing/2014/main" id="{607C1741-334B-4284-A850-4B4E5F7B3E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3DB30302-FAD7-4C47-8AE9-298CDC892A34}"/>
                </a:ext>
              </a:extLst>
            </p:cNvPr>
            <p:cNvSpPr/>
            <p:nvPr/>
          </p:nvSpPr>
          <p:spPr>
            <a:xfrm>
              <a:off x="1541924" y="3187324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국도 탄소국경조정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화당 의원까지 나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F43622D7-5B2D-4F50-9B9F-9D14839D59D0}"/>
                </a:ext>
              </a:extLst>
            </p:cNvPr>
            <p:cNvSpPr/>
            <p:nvPr/>
          </p:nvSpPr>
          <p:spPr>
            <a:xfrm>
              <a:off x="1541924" y="3896373"/>
              <a:ext cx="1524627" cy="334499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배출권 거래제  개편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범위는 늘고 무상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59E60B39-DD3B-4F34-A25D-70AC9BD0F74F}"/>
                </a:ext>
              </a:extLst>
            </p:cNvPr>
            <p:cNvSpPr/>
            <p:nvPr/>
          </p:nvSpPr>
          <p:spPr>
            <a:xfrm>
              <a:off x="590528" y="4520845"/>
              <a:ext cx="2609148" cy="144925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t">
              <a:noAutofit/>
            </a:bodyPr>
            <a:lstStyle/>
            <a:p>
              <a:pPr defTabSz="2437985">
                <a:lnSpc>
                  <a:spcPct val="15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니 최대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철강사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상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없는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..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850" b="1" spc="-2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림벌채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법안에 대한 미국의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 알루미늄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 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생산량 늘어나면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200000"/>
                </a:lnSpc>
              </a:pP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새 정부 에너지정책 토론회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“</a:t>
              </a:r>
              <a:r>
                <a:rPr lang="ko-KR" altLang="en-US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원정 </a:t>
              </a:r>
              <a:r>
                <a:rPr lang="en-US" altLang="ko-KR" sz="850" b="1" spc="-2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A02D94CE-FC3B-4930-B302-D0B7D2B369A6}"/>
                </a:ext>
              </a:extLst>
            </p:cNvPr>
            <p:cNvSpPr/>
            <p:nvPr/>
          </p:nvSpPr>
          <p:spPr>
            <a:xfrm>
              <a:off x="3442423" y="4169895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알기 쉬운 탄소국경제도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합의안 주요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3F9FB1BC-A35F-4F20-BCC6-B8988A66E0F4}"/>
                </a:ext>
              </a:extLst>
            </p:cNvPr>
            <p:cNvSpPr/>
            <p:nvPr/>
          </p:nvSpPr>
          <p:spPr>
            <a:xfrm>
              <a:off x="3450211" y="4359514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28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B46CD3CA-A2E4-4D04-AB5A-B201AC41B3E6}"/>
                </a:ext>
              </a:extLst>
            </p:cNvPr>
            <p:cNvSpPr/>
            <p:nvPr/>
          </p:nvSpPr>
          <p:spPr>
            <a:xfrm>
              <a:off x="3452377" y="5692410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품 탄소발자국 측정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DB2E24C7-F364-43E3-A377-8D9FD3A880D6}"/>
                </a:ext>
              </a:extLst>
            </p:cNvPr>
            <p:cNvSpPr/>
            <p:nvPr/>
          </p:nvSpPr>
          <p:spPr>
            <a:xfrm>
              <a:off x="3460165" y="5882029"/>
              <a:ext cx="2490034" cy="19550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2023.06.01</a:t>
              </a: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6B4ED84-6B63-408B-BABD-E9660F627702}"/>
                </a:ext>
              </a:extLst>
            </p:cNvPr>
            <p:cNvGrpSpPr/>
            <p:nvPr/>
          </p:nvGrpSpPr>
          <p:grpSpPr>
            <a:xfrm>
              <a:off x="3467347" y="3147571"/>
              <a:ext cx="2386224" cy="1016002"/>
              <a:chOff x="623392" y="4609098"/>
              <a:chExt cx="1368152" cy="685030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DB17E664-70E3-40B3-8B0C-19507BDE5AE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5" name="직선 연결선 124">
                <a:extLst>
                  <a:ext uri="{FF2B5EF4-FFF2-40B4-BE49-F238E27FC236}">
                    <a16:creationId xmlns:a16="http://schemas.microsoft.com/office/drawing/2014/main" id="{A26AAEEA-5C4E-4969-A9ED-B51FFA25327D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직선 연결선 125">
                <a:extLst>
                  <a:ext uri="{FF2B5EF4-FFF2-40B4-BE49-F238E27FC236}">
                    <a16:creationId xmlns:a16="http://schemas.microsoft.com/office/drawing/2014/main" id="{60F0AA73-0F75-42EC-BF50-21BADA9ABB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C085222E-031A-44A7-8553-5EF091FEA357}"/>
                </a:ext>
              </a:extLst>
            </p:cNvPr>
            <p:cNvGrpSpPr/>
            <p:nvPr/>
          </p:nvGrpSpPr>
          <p:grpSpPr>
            <a:xfrm>
              <a:off x="3458422" y="4697058"/>
              <a:ext cx="2386224" cy="948429"/>
              <a:chOff x="623392" y="4609098"/>
              <a:chExt cx="1368152" cy="685030"/>
            </a:xfrm>
          </p:grpSpPr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4877FD7-5F53-4E65-B2C0-D64B5BDDF7CE}"/>
                  </a:ext>
                </a:extLst>
              </p:cNvPr>
              <p:cNvSpPr/>
              <p:nvPr/>
            </p:nvSpPr>
            <p:spPr>
              <a:xfrm>
                <a:off x="623392" y="4609098"/>
                <a:ext cx="1368152" cy="680858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122" name="직선 연결선 121">
                <a:extLst>
                  <a:ext uri="{FF2B5EF4-FFF2-40B4-BE49-F238E27FC236}">
                    <a16:creationId xmlns:a16="http://schemas.microsoft.com/office/drawing/2014/main" id="{B3DB5BF3-647B-4503-AD3A-2D061CB1D9C1}"/>
                  </a:ext>
                </a:extLst>
              </p:cNvPr>
              <p:cNvCxnSpPr/>
              <p:nvPr/>
            </p:nvCxnSpPr>
            <p:spPr>
              <a:xfrm>
                <a:off x="623392" y="4609098"/>
                <a:ext cx="1368152" cy="68085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직선 연결선 122">
                <a:extLst>
                  <a:ext uri="{FF2B5EF4-FFF2-40B4-BE49-F238E27FC236}">
                    <a16:creationId xmlns:a16="http://schemas.microsoft.com/office/drawing/2014/main" id="{BDD0B5BC-BCC2-4263-BDD5-47D3C2A89A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3392" y="4609098"/>
                <a:ext cx="1368152" cy="68503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D11FE49C-3C9C-40C8-B360-C39BCC11C6C5}"/>
                </a:ext>
              </a:extLst>
            </p:cNvPr>
            <p:cNvGrpSpPr/>
            <p:nvPr/>
          </p:nvGrpSpPr>
          <p:grpSpPr>
            <a:xfrm>
              <a:off x="6182210" y="3085045"/>
              <a:ext cx="1496181" cy="252554"/>
              <a:chOff x="6111987" y="1768086"/>
              <a:chExt cx="883137" cy="252554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9ECED189-F6D4-4A7B-A27F-73ADEBFCBD9B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939AA46-A38C-4FF7-8359-4992548387D8}"/>
                  </a:ext>
                </a:extLst>
              </p:cNvPr>
              <p:cNvSpPr/>
              <p:nvPr/>
            </p:nvSpPr>
            <p:spPr>
              <a:xfrm>
                <a:off x="6111987" y="1778526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37C3B3FB-BFE3-4918-9681-1BA822C55FD8}"/>
                </a:ext>
              </a:extLst>
            </p:cNvPr>
            <p:cNvGrpSpPr/>
            <p:nvPr/>
          </p:nvGrpSpPr>
          <p:grpSpPr>
            <a:xfrm>
              <a:off x="6182210" y="4101770"/>
              <a:ext cx="1496181" cy="252554"/>
              <a:chOff x="6111987" y="1768086"/>
              <a:chExt cx="883137" cy="252554"/>
            </a:xfrm>
          </p:grpSpPr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A4CBC09F-A3E0-4229-B374-2C6F3E411CEF}"/>
                  </a:ext>
                </a:extLst>
              </p:cNvPr>
              <p:cNvSpPr/>
              <p:nvPr/>
            </p:nvSpPr>
            <p:spPr>
              <a:xfrm>
                <a:off x="6172158" y="1768086"/>
                <a:ext cx="762796" cy="252554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DE652009-61BA-40E5-BB13-AC5A99333460}"/>
                  </a:ext>
                </a:extLst>
              </p:cNvPr>
              <p:cNvSpPr/>
              <p:nvPr/>
            </p:nvSpPr>
            <p:spPr>
              <a:xfrm>
                <a:off x="6111987" y="1786657"/>
                <a:ext cx="883137" cy="231036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보고서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학술자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22069D35-0DD5-4933-99B4-CC8CCE48D442}"/>
                </a:ext>
              </a:extLst>
            </p:cNvPr>
            <p:cNvGrpSpPr/>
            <p:nvPr/>
          </p:nvGrpSpPr>
          <p:grpSpPr>
            <a:xfrm>
              <a:off x="6194328" y="5239055"/>
              <a:ext cx="1496181" cy="252555"/>
              <a:chOff x="6119140" y="1873082"/>
              <a:chExt cx="883137" cy="252555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2AB8E1C8-B25C-4C58-96C2-9B6D28708990}"/>
                  </a:ext>
                </a:extLst>
              </p:cNvPr>
              <p:cNvSpPr/>
              <p:nvPr/>
            </p:nvSpPr>
            <p:spPr>
              <a:xfrm>
                <a:off x="6172158" y="1873082"/>
                <a:ext cx="762796" cy="252555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C865ACB3-2026-4EF5-92CD-E3BD77DF2611}"/>
                  </a:ext>
                </a:extLst>
              </p:cNvPr>
              <p:cNvSpPr/>
              <p:nvPr/>
            </p:nvSpPr>
            <p:spPr>
              <a:xfrm>
                <a:off x="6119140" y="1876218"/>
                <a:ext cx="883137" cy="231035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109720" rIns="144000" bIns="109720" numCol="1" spcCol="38100" rtlCol="0" anchor="ctr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관련 법령</a:t>
                </a:r>
              </a:p>
            </p:txBody>
          </p:sp>
        </p:grpSp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9945A0FD-C178-4996-9033-2F004F3C14E3}"/>
                </a:ext>
              </a:extLst>
            </p:cNvPr>
            <p:cNvSpPr/>
            <p:nvPr/>
          </p:nvSpPr>
          <p:spPr>
            <a:xfrm>
              <a:off x="6256982" y="3344573"/>
              <a:ext cx="2490034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TI (Carbon Tracker Initiative)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SBTi (Science Based Targets Initiative)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93826172-D45F-4146-A297-7DF93FD12484}"/>
                </a:ext>
              </a:extLst>
            </p:cNvPr>
            <p:cNvSpPr/>
            <p:nvPr/>
          </p:nvSpPr>
          <p:spPr>
            <a:xfrm>
              <a:off x="6256981" y="4391582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럽 탄소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경세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증가하는 피해와 이득 감소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저소득국가의 </a:t>
              </a: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탄소세장려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“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세금환급과 탄소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AE6F5F41-B565-428B-A6EE-2E4F012B0276}"/>
                </a:ext>
              </a:extLst>
            </p:cNvPr>
            <p:cNvSpPr/>
            <p:nvPr/>
          </p:nvSpPr>
          <p:spPr>
            <a:xfrm>
              <a:off x="6253245" y="5422444"/>
              <a:ext cx="2597149" cy="714417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위기 대응을 위한 탄소중립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녹색성장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</a:p>
            <a:p>
              <a:pPr defTabSz="2437985">
                <a:lnSpc>
                  <a:spcPct val="18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온실가스 배출권의 할당 및 거래에 관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…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1" name="Picture 2" descr="2023년 시범도입! EU의 탄소국경조정제도란? – 한국에너지공단 블로그">
              <a:extLst>
                <a:ext uri="{FF2B5EF4-FFF2-40B4-BE49-F238E27FC236}">
                  <a16:creationId xmlns:a16="http://schemas.microsoft.com/office/drawing/2014/main" id="{2BF339A6-FCE2-4332-9769-838618E39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136" y="3195309"/>
              <a:ext cx="903695" cy="532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4" descr="특집] 탄소배출권거래제 시행 5년, 현주소는">
              <a:extLst>
                <a:ext uri="{FF2B5EF4-FFF2-40B4-BE49-F238E27FC236}">
                  <a16:creationId xmlns:a16="http://schemas.microsoft.com/office/drawing/2014/main" id="{044FA516-B834-4C18-A0B0-E5136C705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10" y="3878028"/>
              <a:ext cx="881873" cy="551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전체보기 목록 | 환경 | 키즈현대">
              <a:extLst>
                <a:ext uri="{FF2B5EF4-FFF2-40B4-BE49-F238E27FC236}">
                  <a16:creationId xmlns:a16="http://schemas.microsoft.com/office/drawing/2014/main" id="{C1B1E33B-DDD5-4BD1-9DF5-E91BE02DC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0165" y="4661235"/>
              <a:ext cx="2419508" cy="1031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8" descr="EU, 탄소국경세 제도 도입 합의…내년 10월 시범 운용 - 매일경제">
              <a:extLst>
                <a:ext uri="{FF2B5EF4-FFF2-40B4-BE49-F238E27FC236}">
                  <a16:creationId xmlns:a16="http://schemas.microsoft.com/office/drawing/2014/main" id="{7D608ADA-B49D-47D0-B3B7-2EB61A8CA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377" y="3134648"/>
              <a:ext cx="2386225" cy="1022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6D5E380-5F58-4C07-AF63-804A970524B3}"/>
              </a:ext>
            </a:extLst>
          </p:cNvPr>
          <p:cNvSpPr/>
          <p:nvPr/>
        </p:nvSpPr>
        <p:spPr>
          <a:xfrm>
            <a:off x="468270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706BC021-D440-4CDA-B5D0-1964C4B49DCB}"/>
              </a:ext>
            </a:extLst>
          </p:cNvPr>
          <p:cNvSpPr/>
          <p:nvPr/>
        </p:nvSpPr>
        <p:spPr>
          <a:xfrm>
            <a:off x="3192682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2653E18-B0E4-4B15-97C2-7FCACF03FA1F}"/>
              </a:ext>
            </a:extLst>
          </p:cNvPr>
          <p:cNvSpPr/>
          <p:nvPr/>
        </p:nvSpPr>
        <p:spPr>
          <a:xfrm>
            <a:off x="5930957" y="3100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C0D4F36-AECE-4F8D-98AC-75BFE1B5B1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81211" y="386400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8966ACE-2E7B-4594-9816-B47F224434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81211" y="4462343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A8AB4FA-DEF9-4313-A3D7-E90DC7C12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3980" y="4821076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C477E41-E5A5-45A4-A5B5-52239C844D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980" y="5079810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D504092-787A-4C79-AC11-3690C271C66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403980" y="5338544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1CA51FF-6BBD-4966-90D3-83B798620E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03980" y="5597277"/>
            <a:ext cx="758811" cy="25563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28</a:t>
            </a: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09CDF0AB-CB09-4F2F-AC84-650CA1B4423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061F612A-BD80-43F6-9410-AB954A606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60C50503-775A-4F83-B9E5-0E27F151B4F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FEE59F86-22F4-48C5-B2B9-EA59B2E196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442797E8-BED5-4511-9290-F129342555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EE7445F-7B3A-4A78-86F7-583B5222586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0792" y="1521158"/>
            <a:ext cx="519383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Taskforce on Climate-related Financial Disclosures)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64DB5187-3BB3-4E57-B404-A5F6515E5005}"/>
              </a:ext>
            </a:extLst>
          </p:cNvPr>
          <p:cNvSpPr/>
          <p:nvPr/>
        </p:nvSpPr>
        <p:spPr>
          <a:xfrm>
            <a:off x="498718" y="1925541"/>
            <a:ext cx="8195695" cy="58593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(Taskforce on Climate-related Financial Disclosure)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과 금융기관의 기후 위험에 대한 정보 공개의 필요성이 강조됨에 따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변화와 관련된 위험과 기회를 평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하는 방법을 지원하기 위해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20 FSB(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융안정위원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에 따라 설립되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TCF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고안은 기후변화 재무 정보 공시의 기본</a:t>
            </a:r>
          </a:p>
          <a:p>
            <a:pPr algn="l" latinLnBrk="0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프레임워크를 제공하고 있으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세계 국가들과 기관으로부터 지지를 받고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598755BD-FD2D-4153-8EAD-A0D9533935B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594998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71443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B92A537-E4B5-4F6E-AC0C-DC326FB06E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45785" y="1601514"/>
            <a:ext cx="1741141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News</a:t>
            </a:r>
          </a:p>
        </p:txBody>
      </p:sp>
      <p:sp>
        <p:nvSpPr>
          <p:cNvPr id="4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CC16BCB-D05D-4647-A9A8-5A60F81B25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54111" y="1687772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48CF8DA-CCB4-4C7D-9559-DAAD5F87C4D9}"/>
              </a:ext>
            </a:extLst>
          </p:cNvPr>
          <p:cNvCxnSpPr>
            <a:cxnSpLocks/>
          </p:cNvCxnSpPr>
          <p:nvPr/>
        </p:nvCxnSpPr>
        <p:spPr>
          <a:xfrm>
            <a:off x="529920" y="1987099"/>
            <a:ext cx="46299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93B845A1-36F8-41D3-B8D8-4F908A0EE83A}"/>
              </a:ext>
            </a:extLst>
          </p:cNvPr>
          <p:cNvSpPr/>
          <p:nvPr/>
        </p:nvSpPr>
        <p:spPr>
          <a:xfrm>
            <a:off x="529921" y="2101567"/>
            <a:ext cx="4629975" cy="3282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5" name="직선 연결선 94">
            <a:extLst>
              <a:ext uri="{FF2B5EF4-FFF2-40B4-BE49-F238E27FC236}">
                <a16:creationId xmlns:a16="http://schemas.microsoft.com/office/drawing/2014/main" id="{8DA43CD1-722C-4893-AF3D-A3B48CF4F3E3}"/>
              </a:ext>
            </a:extLst>
          </p:cNvPr>
          <p:cNvCxnSpPr>
            <a:cxnSpLocks/>
          </p:cNvCxnSpPr>
          <p:nvPr/>
        </p:nvCxnSpPr>
        <p:spPr>
          <a:xfrm>
            <a:off x="5375920" y="1987099"/>
            <a:ext cx="33843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B13D4AE-867F-4C02-8C78-FE2DC0F43A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33578" y="1615206"/>
            <a:ext cx="1741141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Calendar</a:t>
            </a:r>
          </a:p>
        </p:txBody>
      </p:sp>
      <p:sp>
        <p:nvSpPr>
          <p:cNvPr id="9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270889F-BAD7-4E45-A6AA-520C60533F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83449" y="1683298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DD9A17EB-88E5-4825-ADCA-59EA45DB2CF4}"/>
              </a:ext>
            </a:extLst>
          </p:cNvPr>
          <p:cNvSpPr/>
          <p:nvPr/>
        </p:nvSpPr>
        <p:spPr>
          <a:xfrm>
            <a:off x="5380515" y="2107678"/>
            <a:ext cx="3379782" cy="327651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E77B5C45-AD2C-488F-B971-92E8721E5BF6}"/>
              </a:ext>
            </a:extLst>
          </p:cNvPr>
          <p:cNvCxnSpPr/>
          <p:nvPr/>
        </p:nvCxnSpPr>
        <p:spPr>
          <a:xfrm>
            <a:off x="341695" y="1268760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E55748E5-F960-4304-B106-81DAFE467F71}"/>
              </a:ext>
            </a:extLst>
          </p:cNvPr>
          <p:cNvSpPr/>
          <p:nvPr/>
        </p:nvSpPr>
        <p:spPr>
          <a:xfrm>
            <a:off x="5467144" y="2176163"/>
            <a:ext cx="745934" cy="21602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5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3ABC51E1-2B93-4F6C-886B-053326627122}"/>
              </a:ext>
            </a:extLst>
          </p:cNvPr>
          <p:cNvSpPr/>
          <p:nvPr/>
        </p:nvSpPr>
        <p:spPr>
          <a:xfrm>
            <a:off x="6257646" y="2176163"/>
            <a:ext cx="745934" cy="21602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E0A610C7-799C-4F90-8512-FBBD313A7326}"/>
              </a:ext>
            </a:extLst>
          </p:cNvPr>
          <p:cNvSpPr/>
          <p:nvPr/>
        </p:nvSpPr>
        <p:spPr>
          <a:xfrm>
            <a:off x="7055527" y="2176163"/>
            <a:ext cx="745934" cy="21602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07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5" name="표 49">
            <a:extLst>
              <a:ext uri="{FF2B5EF4-FFF2-40B4-BE49-F238E27FC236}">
                <a16:creationId xmlns:a16="http://schemas.microsoft.com/office/drawing/2014/main" id="{28AA2E4D-A0B6-4F8A-8528-9CFE3F45D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390626"/>
              </p:ext>
            </p:extLst>
          </p:nvPr>
        </p:nvGraphicFramePr>
        <p:xfrm>
          <a:off x="5460034" y="2523113"/>
          <a:ext cx="3228254" cy="24449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1950">
                  <a:extLst>
                    <a:ext uri="{9D8B030D-6E8A-4147-A177-3AD203B41FA5}">
                      <a16:colId xmlns:a16="http://schemas.microsoft.com/office/drawing/2014/main" val="916111925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706951086"/>
                    </a:ext>
                  </a:extLst>
                </a:gridCol>
              </a:tblGrid>
              <a:tr h="4889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r>
                        <a:rPr lang="ko-KR" altLang="en-US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월 중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ISSB ESG 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최종안 발표 예정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936109"/>
                  </a:ext>
                </a:extLst>
              </a:tr>
              <a:tr h="4889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.02</a:t>
                      </a:r>
                      <a:endParaRPr lang="ko-KR" altLang="en-US" sz="95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대한상의 </a:t>
                      </a:r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카데미 </a:t>
                      </a:r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Advance] 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과정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5094986"/>
                  </a:ext>
                </a:extLst>
              </a:tr>
              <a:tr h="4889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.3</a:t>
                      </a:r>
                      <a:endParaRPr lang="ko-KR" altLang="en-US" sz="95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950" b="0" u="none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ESG </a:t>
                      </a:r>
                      <a:r>
                        <a:rPr lang="ko-KR" altLang="en-US" sz="950" b="0" u="none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 제정과 기업의 대응 전략 세미나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3988919"/>
                  </a:ext>
                </a:extLst>
              </a:tr>
              <a:tr h="4889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.15</a:t>
                      </a:r>
                      <a:endParaRPr lang="ko-KR" altLang="en-US" sz="95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한국 생산성본부 산업별 온라인 </a:t>
                      </a:r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미나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69269"/>
                  </a:ext>
                </a:extLst>
              </a:tr>
              <a:tr h="4889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.28</a:t>
                      </a:r>
                      <a:endParaRPr lang="ko-KR" altLang="en-US" sz="95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제 </a:t>
                      </a:r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4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 대한상의 </a:t>
                      </a:r>
                      <a:r>
                        <a:rPr lang="en-US" altLang="ko-KR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50" b="0" kern="1200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온라인 포럼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5025501"/>
                  </a:ext>
                </a:extLst>
              </a:tr>
            </a:tbl>
          </a:graphicData>
        </a:graphic>
      </p:graphicFrame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888EA5DC-A0E7-4556-B2B9-E4F3F4CC58CE}"/>
              </a:ext>
            </a:extLst>
          </p:cNvPr>
          <p:cNvSpPr/>
          <p:nvPr/>
        </p:nvSpPr>
        <p:spPr>
          <a:xfrm>
            <a:off x="6009243" y="2691925"/>
            <a:ext cx="292267" cy="156320"/>
          </a:xfrm>
          <a:prstGeom prst="roundRect">
            <a:avLst>
              <a:gd name="adj" fmla="val 1016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표</a:t>
            </a: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B4F46D9B-1367-407D-B439-36E35C4D5E42}"/>
              </a:ext>
            </a:extLst>
          </p:cNvPr>
          <p:cNvSpPr/>
          <p:nvPr/>
        </p:nvSpPr>
        <p:spPr>
          <a:xfrm>
            <a:off x="6009243" y="3175419"/>
            <a:ext cx="292267" cy="156320"/>
          </a:xfrm>
          <a:prstGeom prst="roundRect">
            <a:avLst>
              <a:gd name="adj" fmla="val 1016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800" b="1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ko-KR" altLang="en-US" sz="8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01210067-05C5-4ED4-9201-72A74DAFE4AF}"/>
              </a:ext>
            </a:extLst>
          </p:cNvPr>
          <p:cNvSpPr/>
          <p:nvPr/>
        </p:nvSpPr>
        <p:spPr>
          <a:xfrm>
            <a:off x="6009243" y="3670454"/>
            <a:ext cx="292267" cy="156320"/>
          </a:xfrm>
          <a:prstGeom prst="roundRect">
            <a:avLst>
              <a:gd name="adj" fmla="val 1016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행사</a:t>
            </a: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F3781C9B-A2A0-4651-B5DD-E40CF73B316A}"/>
              </a:ext>
            </a:extLst>
          </p:cNvPr>
          <p:cNvSpPr/>
          <p:nvPr/>
        </p:nvSpPr>
        <p:spPr>
          <a:xfrm>
            <a:off x="6009243" y="4155066"/>
            <a:ext cx="292267" cy="156320"/>
          </a:xfrm>
          <a:prstGeom prst="roundRect">
            <a:avLst>
              <a:gd name="adj" fmla="val 1016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행사</a:t>
            </a: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6906318F-E437-4B18-9334-3E10B8EA9CB2}"/>
              </a:ext>
            </a:extLst>
          </p:cNvPr>
          <p:cNvSpPr/>
          <p:nvPr/>
        </p:nvSpPr>
        <p:spPr>
          <a:xfrm>
            <a:off x="6009243" y="4642488"/>
            <a:ext cx="292267" cy="156320"/>
          </a:xfrm>
          <a:prstGeom prst="roundRect">
            <a:avLst>
              <a:gd name="adj" fmla="val 10168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행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41F22757-2A33-4437-B614-E658860A43B0}"/>
              </a:ext>
            </a:extLst>
          </p:cNvPr>
          <p:cNvSpPr/>
          <p:nvPr/>
        </p:nvSpPr>
        <p:spPr>
          <a:xfrm>
            <a:off x="468446" y="1631060"/>
            <a:ext cx="4751394" cy="3814159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3687F065-8DCA-4AE8-9CE3-1AA67F2154D0}"/>
              </a:ext>
            </a:extLst>
          </p:cNvPr>
          <p:cNvSpPr/>
          <p:nvPr/>
        </p:nvSpPr>
        <p:spPr>
          <a:xfrm>
            <a:off x="430098" y="1566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8" name="표 10">
            <a:extLst>
              <a:ext uri="{FF2B5EF4-FFF2-40B4-BE49-F238E27FC236}">
                <a16:creationId xmlns:a16="http://schemas.microsoft.com/office/drawing/2014/main" id="{40AC9E8A-648F-4D67-A21E-876F48960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764358"/>
              </p:ext>
            </p:extLst>
          </p:nvPr>
        </p:nvGraphicFramePr>
        <p:xfrm>
          <a:off x="9267391" y="759197"/>
          <a:ext cx="2922885" cy="2042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8819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뉴스</a:t>
                      </a:r>
                      <a:endParaRPr lang="en-US" altLang="ko-KR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09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최신순으로 기사 컨텐츠 자동 출력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발간일자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미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발간일자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5224089"/>
                  </a:ext>
                </a:extLst>
              </a:tr>
              <a:tr h="8819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Calendar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ESG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정 조회 화면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Y001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O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등록 된 일정 리스트 출력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당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익월 순 출력되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당월 체크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 가까운 일정 최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3A008A9E-A19C-430E-804A-361D425A897F}"/>
              </a:ext>
            </a:extLst>
          </p:cNvPr>
          <p:cNvSpPr/>
          <p:nvPr/>
        </p:nvSpPr>
        <p:spPr>
          <a:xfrm>
            <a:off x="5276321" y="1636520"/>
            <a:ext cx="3616835" cy="3814159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471269A3-74D3-4D80-9395-9778826AE420}"/>
              </a:ext>
            </a:extLst>
          </p:cNvPr>
          <p:cNvSpPr/>
          <p:nvPr/>
        </p:nvSpPr>
        <p:spPr>
          <a:xfrm>
            <a:off x="5253398" y="1566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90B8A234-6BE7-4975-BD03-8482AB9158A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grpSp>
          <p:nvGrpSpPr>
            <p:cNvPr id="57" name="그룹 56">
              <a:extLst>
                <a:ext uri="{FF2B5EF4-FFF2-40B4-BE49-F238E27FC236}">
                  <a16:creationId xmlns:a16="http://schemas.microsoft.com/office/drawing/2014/main" id="{A3587CAE-9ACC-46F3-B6AF-B5D960F024AD}"/>
                </a:ext>
              </a:extLst>
            </p:cNvPr>
            <p:cNvGrpSpPr/>
            <p:nvPr/>
          </p:nvGrpSpPr>
          <p:grpSpPr>
            <a:xfrm>
              <a:off x="344648" y="693623"/>
              <a:ext cx="8542517" cy="575137"/>
              <a:chOff x="344648" y="693623"/>
              <a:chExt cx="8542517" cy="575137"/>
            </a:xfrm>
          </p:grpSpPr>
          <p:pic>
            <p:nvPicPr>
              <p:cNvPr id="58" name="그림 57">
                <a:extLst>
                  <a:ext uri="{FF2B5EF4-FFF2-40B4-BE49-F238E27FC236}">
                    <a16:creationId xmlns:a16="http://schemas.microsoft.com/office/drawing/2014/main" id="{B0CE9BC5-ADCA-440B-BD60-2214F708B3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78733"/>
              <a:stretch/>
            </p:blipFill>
            <p:spPr>
              <a:xfrm>
                <a:off x="344648" y="693623"/>
                <a:ext cx="1839227" cy="575137"/>
              </a:xfrm>
              <a:prstGeom prst="rect">
                <a:avLst/>
              </a:prstGeom>
            </p:spPr>
          </p:pic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66B9BF06-3EFB-49BF-967A-D53857102E1B}"/>
                  </a:ext>
                </a:extLst>
              </p:cNvPr>
              <p:cNvSpPr/>
              <p:nvPr/>
            </p:nvSpPr>
            <p:spPr>
              <a:xfrm>
                <a:off x="2413653" y="1049803"/>
                <a:ext cx="5359944" cy="17395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진단〮계획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                      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실행                          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〮인증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               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자료〮동향</a:t>
                </a:r>
                <a:endPara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66" name="그림 65">
                <a:extLst>
                  <a:ext uri="{FF2B5EF4-FFF2-40B4-BE49-F238E27FC236}">
                    <a16:creationId xmlns:a16="http://schemas.microsoft.com/office/drawing/2014/main" id="{454FA122-6460-425E-AFB6-48D1FEAF56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87650" t="49932" r="1838"/>
              <a:stretch/>
            </p:blipFill>
            <p:spPr>
              <a:xfrm>
                <a:off x="7978084" y="958332"/>
                <a:ext cx="909081" cy="287959"/>
              </a:xfrm>
              <a:prstGeom prst="rect">
                <a:avLst/>
              </a:prstGeom>
            </p:spPr>
          </p:pic>
        </p:grp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69C41B82-B9AD-4B4E-9038-9BE9DF098A8D}"/>
                </a:ext>
              </a:extLst>
            </p:cNvPr>
            <p:cNvSpPr/>
            <p:nvPr/>
          </p:nvSpPr>
          <p:spPr>
            <a:xfrm>
              <a:off x="5646245" y="724074"/>
              <a:ext cx="3134818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그아웃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마이페이지  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Q&amp;A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 About Us          </a:t>
              </a:r>
              <a:endPara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40033799-69C9-420C-A979-1C5C506386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5060" y="2118820"/>
            <a:ext cx="4568402" cy="289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9200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15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가기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  <a:hlinkClick r:id="" action="ppaction://noaction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" action="ppaction://noaction"/>
                        </a:rPr>
                        <a:t>https://esg.krx.co.kr/contents/02/02020000/ESG02020000.jsp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76A6911-5232-4392-933A-7C8250EFD37F}"/>
              </a:ext>
            </a:extLst>
          </p:cNvPr>
          <p:cNvSpPr txBox="1"/>
          <p:nvPr/>
        </p:nvSpPr>
        <p:spPr>
          <a:xfrm>
            <a:off x="570299" y="1958777"/>
            <a:ext cx="22119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기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29A68E6-D670-4B31-8356-F752DD2B4C7E}"/>
              </a:ext>
            </a:extLst>
          </p:cNvPr>
          <p:cNvSpPr txBox="1"/>
          <p:nvPr/>
        </p:nvSpPr>
        <p:spPr>
          <a:xfrm>
            <a:off x="570299" y="5616984"/>
            <a:ext cx="276423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등급 조회</a:t>
            </a:r>
          </a:p>
        </p:txBody>
      </p:sp>
      <p:graphicFrame>
        <p:nvGraphicFramePr>
          <p:cNvPr id="77" name="표 6">
            <a:extLst>
              <a:ext uri="{FF2B5EF4-FFF2-40B4-BE49-F238E27FC236}">
                <a16:creationId xmlns:a16="http://schemas.microsoft.com/office/drawing/2014/main" id="{CD879458-85E9-43B2-82C7-5335656788F4}"/>
              </a:ext>
            </a:extLst>
          </p:cNvPr>
          <p:cNvGraphicFramePr>
            <a:graphicFrameLocks noGrp="1"/>
          </p:cNvGraphicFramePr>
          <p:nvPr/>
        </p:nvGraphicFramePr>
        <p:xfrm>
          <a:off x="633424" y="2160540"/>
          <a:ext cx="7972212" cy="33009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606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052311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507550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1912745">
                  <a:extLst>
                    <a:ext uri="{9D8B030D-6E8A-4147-A177-3AD203B41FA5}">
                      <a16:colId xmlns:a16="http://schemas.microsoft.com/office/drawing/2014/main" val="1448163722"/>
                    </a:ext>
                  </a:extLst>
                </a:gridCol>
              </a:tblGrid>
              <a:tr h="241645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85549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CGS </a:t>
                      </a:r>
                      <a:b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 기업과 자본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시장의 지속가능한 발전을 위해 기업 및 금융회사 지배구조 개선을 위한 다각도 지원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 투자를 위한 세부 원칙과 기준 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정 지원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및 분석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 및 의안분석 자문 서비스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://www.cgs.or.kr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80210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양한 출처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보고서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종 정보공개 시스템 등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정보를 종합하여 책임투자를 위한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정보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문서비스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솔루션을 제공</a:t>
                      </a: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자의 합리적 의사결정과 책임투자 지원을 위한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재무적 성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와 리스크 평가 제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://www.kesgresearch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123359"/>
                  </a:ext>
                </a:extLst>
              </a:tr>
              <a:tr h="700839">
                <a:tc rowSpan="2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SCI </a:t>
                      </a:r>
                      <a:b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organ Stanley Capital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ternational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건스텐리의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회사로서 글로벌 투자를 위한 의사결정 지원 도구 및 서비스를 제공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가별 상장기업들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에 대한 관리 수준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측정하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SCI ESG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등급으로 제공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msci.com/zh/esg-ratings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70083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</a:t>
                      </a:r>
                      <a:b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rbon Disclosure Project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의 환경 지속가능성을 측정하여 탄소배출 등급을 평가</a:t>
                      </a: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년 수천개의 기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도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을 지원하여 기후 변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물 안보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및 산림에 대한 위험과 기회를 측정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글로벌 환경 공시 시스템을 운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cdp.net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DC4CE681-DF87-4BCB-8B0A-0AE043E8FD39}"/>
              </a:ext>
            </a:extLst>
          </p:cNvPr>
          <p:cNvSpPr txBox="1"/>
          <p:nvPr/>
        </p:nvSpPr>
        <p:spPr>
          <a:xfrm>
            <a:off x="625035" y="5858876"/>
            <a:ext cx="8193156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한국거래소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KRX)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RX EGS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털을 통해 국내 상장기업들의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등급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경영보고서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배구조보고서 등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 제공 중</a:t>
            </a:r>
            <a:endParaRPr lang="en-US" altLang="ko-KR" sz="9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666985" latinLnBrk="1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RX ESG 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털 내 </a:t>
            </a: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'ESG 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등급 조회</a:t>
            </a: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'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바로가기 </a:t>
            </a:r>
          </a:p>
        </p:txBody>
      </p:sp>
      <p:sp>
        <p:nvSpPr>
          <p:cNvPr id="7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0D01DB3-0C55-4B9C-928F-896E42425F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과 평가 등급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71F59F3A-795E-4DEA-8822-1FE42DF7F6D7}"/>
              </a:ext>
            </a:extLst>
          </p:cNvPr>
          <p:cNvSpPr/>
          <p:nvPr/>
        </p:nvSpPr>
        <p:spPr>
          <a:xfrm>
            <a:off x="6874697" y="26665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7DD2CC66-7AFB-4445-94F1-D3B241611673}"/>
              </a:ext>
            </a:extLst>
          </p:cNvPr>
          <p:cNvSpPr/>
          <p:nvPr/>
        </p:nvSpPr>
        <p:spPr>
          <a:xfrm>
            <a:off x="3149957" y="60727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26678E8A-EE57-4629-AD43-2F8CF5CAAFF2}"/>
              </a:ext>
            </a:extLst>
          </p:cNvPr>
          <p:cNvGrpSpPr/>
          <p:nvPr/>
        </p:nvGrpSpPr>
        <p:grpSpPr>
          <a:xfrm>
            <a:off x="199908" y="580005"/>
            <a:ext cx="11944011" cy="6096975"/>
            <a:chOff x="199908" y="580005"/>
            <a:chExt cx="11944011" cy="6096975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D2F46F79-4219-4074-B6C3-1AE2E9A68EC2}"/>
                </a:ext>
              </a:extLst>
            </p:cNvPr>
            <p:cNvSpPr/>
            <p:nvPr/>
          </p:nvSpPr>
          <p:spPr>
            <a:xfrm>
              <a:off x="199908" y="580005"/>
              <a:ext cx="11944011" cy="6096975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9941F5FD-A722-4425-9F66-645D2444A7FC}"/>
                </a:ext>
              </a:extLst>
            </p:cNvPr>
            <p:cNvSpPr/>
            <p:nvPr/>
          </p:nvSpPr>
          <p:spPr>
            <a:xfrm>
              <a:off x="5530275" y="3183210"/>
              <a:ext cx="973748" cy="45173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en-US" altLang="ko-KR" sz="1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OLD</a:t>
              </a:r>
              <a:endParaRPr lang="ko-KR" altLang="en-US" sz="1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6810194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별 중요평가항목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별 평가 가중치 항목에 대한 설명이 정리된 화면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IC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체계에 따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, 2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dustry Group, 7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dustry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분류하여 선택할 수 있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체계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ICS Structure.xl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참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 및 사례를 클릭하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 및 사례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뷰어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항목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7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0D01DB3-0C55-4B9C-928F-896E42425F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21158"/>
            <a:ext cx="4645088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항목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E23F6BA8-7BD3-4FFF-9B46-D61F3E311FEE}"/>
              </a:ext>
            </a:extLst>
          </p:cNvPr>
          <p:cNvSpPr/>
          <p:nvPr/>
        </p:nvSpPr>
        <p:spPr>
          <a:xfrm>
            <a:off x="498718" y="1925541"/>
            <a:ext cx="8195695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l" latinLnBrk="0"/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항목은 산업별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기관별로 다를 수 있지만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반적으로 사용되는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주요 평가항목을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정리하여 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(Global Reporting Initiatives) 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항 및 사례와 연결해서 </a:t>
            </a:r>
            <a:r>
              <a:rPr lang="ko-KR" altLang="en-US" sz="900" b="0" kern="1200" spc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공하오니</a:t>
            </a:r>
            <a:r>
              <a:rPr lang="ko-KR" altLang="en-US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참고하시기 바랍니다</a:t>
            </a:r>
            <a:r>
              <a:rPr lang="en-US" altLang="ko-KR" sz="900" b="0" kern="1200" spc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b="0" kern="1200" spc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2" name="표 11">
            <a:extLst>
              <a:ext uri="{FF2B5EF4-FFF2-40B4-BE49-F238E27FC236}">
                <a16:creationId xmlns:a16="http://schemas.microsoft.com/office/drawing/2014/main" id="{F98AE707-DAE6-470B-BBAD-0EAC35F5AD16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3171319"/>
          <a:ext cx="8215560" cy="30643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14960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270030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  <a:gridCol w="2700300">
                  <a:extLst>
                    <a:ext uri="{9D8B030D-6E8A-4147-A177-3AD203B41FA5}">
                      <a16:colId xmlns:a16="http://schemas.microsoft.com/office/drawing/2014/main" val="47368855"/>
                    </a:ext>
                  </a:extLst>
                </a:gridCol>
              </a:tblGrid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0] Ener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섹터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517995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[1010] Energ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산업그룹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776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[101010] Energy Equipment &amp; Service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너지 장비 및 서비스 산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309137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HG Emission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456960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Water &amp; Wastewater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r>
                        <a:rPr lang="en-US" altLang="ko-KR" sz="90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2##-#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441790"/>
                  </a:ext>
                </a:extLst>
              </a:tr>
              <a:tr h="456960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Waste &amp; Hazardous Materials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6962"/>
                  </a:ext>
                </a:extLst>
              </a:tr>
              <a:tr h="456960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cological Impac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280217"/>
                  </a:ext>
                </a:extLst>
              </a:tr>
              <a:tr h="456960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mployee Health &amp; Safet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r>
                        <a:rPr lang="en-US" altLang="ko-KR" sz="90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2##-#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051588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4A9EE55-706D-43EC-AB43-A3A361D58EC5}"/>
              </a:ext>
            </a:extLst>
          </p:cNvPr>
          <p:cNvSpPr txBox="1"/>
          <p:nvPr/>
        </p:nvSpPr>
        <p:spPr>
          <a:xfrm>
            <a:off x="544226" y="2492896"/>
            <a:ext cx="4176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주요 지표   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 GICS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체계에 따라 산업별 주요 지표 제공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360D1B-B78C-4A64-BBA6-5FAAA1657A80}"/>
              </a:ext>
            </a:extLst>
          </p:cNvPr>
          <p:cNvSpPr txBox="1"/>
          <p:nvPr/>
        </p:nvSpPr>
        <p:spPr>
          <a:xfrm>
            <a:off x="1313003" y="2944400"/>
            <a:ext cx="108012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ko-KR" altLang="en-US" sz="900" b="1" u="sng" dirty="0">
                <a:latin typeface="+mn-ea"/>
              </a:rPr>
              <a:t>산업분류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D2E6B7-AEC2-4094-BE9A-3F474C45E565}"/>
              </a:ext>
            </a:extLst>
          </p:cNvPr>
          <p:cNvSpPr txBox="1"/>
          <p:nvPr/>
        </p:nvSpPr>
        <p:spPr>
          <a:xfrm>
            <a:off x="4108960" y="2944400"/>
            <a:ext cx="108012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ko-KR" altLang="en-US" sz="900" b="1" u="sng" dirty="0">
                <a:latin typeface="+mn-ea"/>
              </a:rPr>
              <a:t>중요 평가항목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DE8D4C-9186-4E2A-A454-D531AE0D90E3}"/>
              </a:ext>
            </a:extLst>
          </p:cNvPr>
          <p:cNvSpPr txBox="1"/>
          <p:nvPr/>
        </p:nvSpPr>
        <p:spPr>
          <a:xfrm>
            <a:off x="6763528" y="2944400"/>
            <a:ext cx="108012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ko-KR" sz="900" b="1" u="sng" dirty="0">
                <a:latin typeface="+mn-ea"/>
              </a:rPr>
              <a:t>GRI </a:t>
            </a:r>
            <a:r>
              <a:rPr lang="ko-KR" altLang="en-US" sz="900" b="1" u="sng" dirty="0">
                <a:latin typeface="+mn-ea"/>
              </a:rPr>
              <a:t>조항 및 사례</a:t>
            </a: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B8D3AC5C-20D9-4744-BBEB-C95CEC25ED88}"/>
              </a:ext>
            </a:extLst>
          </p:cNvPr>
          <p:cNvGrpSpPr/>
          <p:nvPr/>
        </p:nvGrpSpPr>
        <p:grpSpPr>
          <a:xfrm>
            <a:off x="5840934" y="2619360"/>
            <a:ext cx="864000" cy="180000"/>
            <a:chOff x="1487488" y="2256552"/>
            <a:chExt cx="1727968" cy="288000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ADBCFDDA-C680-4163-B049-ED99589533EC}"/>
                </a:ext>
              </a:extLst>
            </p:cNvPr>
            <p:cNvSpPr/>
            <p:nvPr/>
          </p:nvSpPr>
          <p:spPr>
            <a:xfrm>
              <a:off x="1487488" y="2256552"/>
              <a:ext cx="1727968" cy="28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섹터</a:t>
              </a:r>
            </a:p>
          </p:txBody>
        </p:sp>
        <p:sp>
          <p:nvSpPr>
            <p:cNvPr id="31" name="이등변 삼각형 30">
              <a:extLst>
                <a:ext uri="{FF2B5EF4-FFF2-40B4-BE49-F238E27FC236}">
                  <a16:creationId xmlns:a16="http://schemas.microsoft.com/office/drawing/2014/main" id="{F82279CF-EA57-48C8-B976-2FB9B03777A3}"/>
                </a:ext>
              </a:extLst>
            </p:cNvPr>
            <p:cNvSpPr/>
            <p:nvPr/>
          </p:nvSpPr>
          <p:spPr>
            <a:xfrm flipV="1">
              <a:off x="2988608" y="2329633"/>
              <a:ext cx="144000" cy="144000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34B4FFE-0C6F-4E6F-8EDF-3200B90AD12E}"/>
              </a:ext>
            </a:extLst>
          </p:cNvPr>
          <p:cNvGrpSpPr/>
          <p:nvPr/>
        </p:nvGrpSpPr>
        <p:grpSpPr>
          <a:xfrm>
            <a:off x="6832594" y="2619360"/>
            <a:ext cx="864000" cy="180000"/>
            <a:chOff x="1487488" y="2256552"/>
            <a:chExt cx="1727968" cy="288000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38087BB3-3A48-4672-ACE4-6B647E39EF8C}"/>
                </a:ext>
              </a:extLst>
            </p:cNvPr>
            <p:cNvSpPr/>
            <p:nvPr/>
          </p:nvSpPr>
          <p:spPr>
            <a:xfrm>
              <a:off x="1487488" y="2256552"/>
              <a:ext cx="1727968" cy="28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산업그룹</a:t>
              </a:r>
            </a:p>
          </p:txBody>
        </p:sp>
        <p:sp>
          <p:nvSpPr>
            <p:cNvPr id="34" name="이등변 삼각형 33">
              <a:extLst>
                <a:ext uri="{FF2B5EF4-FFF2-40B4-BE49-F238E27FC236}">
                  <a16:creationId xmlns:a16="http://schemas.microsoft.com/office/drawing/2014/main" id="{3F26AC23-91AB-40C2-9F61-8C42FD0ACC1F}"/>
                </a:ext>
              </a:extLst>
            </p:cNvPr>
            <p:cNvSpPr/>
            <p:nvPr/>
          </p:nvSpPr>
          <p:spPr>
            <a:xfrm flipV="1">
              <a:off x="2988608" y="2329633"/>
              <a:ext cx="144000" cy="144000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693FAAD5-B070-4B59-BBC7-221000770D98}"/>
              </a:ext>
            </a:extLst>
          </p:cNvPr>
          <p:cNvGrpSpPr/>
          <p:nvPr/>
        </p:nvGrpSpPr>
        <p:grpSpPr>
          <a:xfrm>
            <a:off x="7804832" y="2619360"/>
            <a:ext cx="864000" cy="180000"/>
            <a:chOff x="1487488" y="2256552"/>
            <a:chExt cx="1727968" cy="288000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512F57A7-43EE-4DC7-B08F-2BB17F46AD59}"/>
                </a:ext>
              </a:extLst>
            </p:cNvPr>
            <p:cNvSpPr/>
            <p:nvPr/>
          </p:nvSpPr>
          <p:spPr>
            <a:xfrm>
              <a:off x="1487488" y="2256552"/>
              <a:ext cx="1727968" cy="28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산업분류</a:t>
              </a:r>
            </a:p>
          </p:txBody>
        </p:sp>
        <p:sp>
          <p:nvSpPr>
            <p:cNvPr id="37" name="이등변 삼각형 36">
              <a:extLst>
                <a:ext uri="{FF2B5EF4-FFF2-40B4-BE49-F238E27FC236}">
                  <a16:creationId xmlns:a16="http://schemas.microsoft.com/office/drawing/2014/main" id="{D8536E84-0A7F-4835-B1E8-207E490C578C}"/>
                </a:ext>
              </a:extLst>
            </p:cNvPr>
            <p:cNvSpPr/>
            <p:nvPr/>
          </p:nvSpPr>
          <p:spPr>
            <a:xfrm flipV="1">
              <a:off x="2988608" y="2329633"/>
              <a:ext cx="144000" cy="144000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D18EDE07-9386-4BAB-A4BD-12497A96A913}"/>
              </a:ext>
            </a:extLst>
          </p:cNvPr>
          <p:cNvSpPr txBox="1"/>
          <p:nvPr/>
        </p:nvSpPr>
        <p:spPr>
          <a:xfrm>
            <a:off x="4943872" y="2603290"/>
            <a:ext cx="12534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9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ICS </a:t>
            </a:r>
            <a:r>
              <a:rPr kumimoji="0" lang="ko-KR" altLang="en-US" sz="9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류체계</a:t>
            </a:r>
            <a:endParaRPr lang="ko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3992FE7-87A6-48FA-8723-594506189846}"/>
              </a:ext>
            </a:extLst>
          </p:cNvPr>
          <p:cNvSpPr txBox="1"/>
          <p:nvPr/>
        </p:nvSpPr>
        <p:spPr>
          <a:xfrm>
            <a:off x="9480376" y="4119463"/>
            <a:ext cx="2445353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주요 지표 테이블의 전체 내용은</a:t>
            </a: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별도의 파일로 제공 예정</a:t>
            </a:r>
            <a:endParaRPr kumimoji="0" lang="en-US" altLang="ko-KR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RI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항 사례 매핑 정보 포함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AF02F9F1-630B-487B-9C85-77FF54C32BE6}"/>
              </a:ext>
            </a:extLst>
          </p:cNvPr>
          <p:cNvSpPr/>
          <p:nvPr/>
        </p:nvSpPr>
        <p:spPr>
          <a:xfrm>
            <a:off x="4931459" y="24790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FB3C04A2-7A99-410E-93FD-0AD4E1D876A2}"/>
              </a:ext>
            </a:extLst>
          </p:cNvPr>
          <p:cNvSpPr/>
          <p:nvPr/>
        </p:nvSpPr>
        <p:spPr>
          <a:xfrm>
            <a:off x="6023519" y="39868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2FBCBD32-EA60-4E2A-A2D9-981A4D45695B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0CB9E83B-617F-46AA-82E6-1A84298B2E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EDC56D90-9054-4E81-BAE7-5EE14CB7FB8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9816A34D-684D-4B27-A23A-48518A63FF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489F5156-B06A-4A8A-B1BD-985767281E7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477BC830-0E09-4BDC-8E3C-C5F1EBB975F3}"/>
              </a:ext>
            </a:extLst>
          </p:cNvPr>
          <p:cNvGrpSpPr/>
          <p:nvPr/>
        </p:nvGrpSpPr>
        <p:grpSpPr>
          <a:xfrm>
            <a:off x="199908" y="580005"/>
            <a:ext cx="11944011" cy="6096975"/>
            <a:chOff x="199908" y="580005"/>
            <a:chExt cx="11944011" cy="6096975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97B5AB7D-72AE-40B8-BAE2-3404F824B1A0}"/>
                </a:ext>
              </a:extLst>
            </p:cNvPr>
            <p:cNvSpPr/>
            <p:nvPr/>
          </p:nvSpPr>
          <p:spPr>
            <a:xfrm>
              <a:off x="199908" y="580005"/>
              <a:ext cx="11944011" cy="6096975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FB414DB3-1241-48C4-B860-30160C52086E}"/>
                </a:ext>
              </a:extLst>
            </p:cNvPr>
            <p:cNvSpPr/>
            <p:nvPr/>
          </p:nvSpPr>
          <p:spPr>
            <a:xfrm>
              <a:off x="5530275" y="3183210"/>
              <a:ext cx="973748" cy="45173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en-US" altLang="ko-KR" sz="1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OLD</a:t>
              </a:r>
              <a:endParaRPr lang="ko-KR" altLang="en-US" sz="1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641235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별 중요평가항목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별 평가 가중치 항목에 대한 설명이 정리된 화면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항 및 사례를 클릭하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항 및 사례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뷰어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항목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23" name="표 11">
            <a:extLst>
              <a:ext uri="{FF2B5EF4-FFF2-40B4-BE49-F238E27FC236}">
                <a16:creationId xmlns:a16="http://schemas.microsoft.com/office/drawing/2014/main" id="{DB7E40CC-12CC-4348-B20E-8BD54030FFFB}"/>
              </a:ext>
            </a:extLst>
          </p:cNvPr>
          <p:cNvGraphicFramePr>
            <a:graphicFrameLocks noGrp="1"/>
          </p:cNvGraphicFramePr>
          <p:nvPr/>
        </p:nvGraphicFramePr>
        <p:xfrm>
          <a:off x="472728" y="1710536"/>
          <a:ext cx="8215560" cy="44844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14960">
                  <a:extLst>
                    <a:ext uri="{9D8B030D-6E8A-4147-A177-3AD203B41FA5}">
                      <a16:colId xmlns:a16="http://schemas.microsoft.com/office/drawing/2014/main" val="4253577895"/>
                    </a:ext>
                  </a:extLst>
                </a:gridCol>
                <a:gridCol w="2700300">
                  <a:extLst>
                    <a:ext uri="{9D8B030D-6E8A-4147-A177-3AD203B41FA5}">
                      <a16:colId xmlns:a16="http://schemas.microsoft.com/office/drawing/2014/main" val="889864950"/>
                    </a:ext>
                  </a:extLst>
                </a:gridCol>
                <a:gridCol w="2700300">
                  <a:extLst>
                    <a:ext uri="{9D8B030D-6E8A-4147-A177-3AD203B41FA5}">
                      <a16:colId xmlns:a16="http://schemas.microsoft.com/office/drawing/2014/main" val="47368855"/>
                    </a:ext>
                  </a:extLst>
                </a:gridCol>
              </a:tblGrid>
              <a:tr h="320119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usiness Ethic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64824"/>
                  </a:ext>
                </a:extLst>
              </a:tr>
              <a:tr h="37875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anagement of the Legal &amp; Regulatory Environ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35400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ritical Incident Risk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6962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[101020] Oil, Gas &amp; Consumable Fuel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일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스 및 소비 연료 산업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280217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HG Emission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r>
                        <a:rPr lang="en-US" altLang="ko-KR" sz="90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051588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ir Quality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r>
                        <a:rPr lang="en-US" altLang="ko-KR" sz="90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2##-#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277652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Water &amp; Wastewater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r>
                        <a:rPr lang="en-US" altLang="ko-KR" sz="90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 2##-# 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례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32480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Waste &amp; Hazardous Materials Management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##-#</a:t>
                      </a:r>
                      <a:r>
                        <a:rPr lang="ko-KR" altLang="en-US" sz="9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례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84562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cological Impacts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76386"/>
                  </a:ext>
                </a:extLst>
              </a:tr>
              <a:tr h="473194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130746"/>
                  </a:ext>
                </a:extLst>
              </a:tr>
            </a:tbl>
          </a:graphicData>
        </a:graphic>
      </p:graphicFrame>
      <p:grpSp>
        <p:nvGrpSpPr>
          <p:cNvPr id="19" name="그룹 18">
            <a:extLst>
              <a:ext uri="{FF2B5EF4-FFF2-40B4-BE49-F238E27FC236}">
                <a16:creationId xmlns:a16="http://schemas.microsoft.com/office/drawing/2014/main" id="{2D88BBA4-C1BE-4DD2-8B28-5A781AF4FA6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1F444249-EEC6-4C94-A195-6CFAA0D080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810051BE-4D15-4E24-B7CA-C3368AE8BBD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B499CA78-B01B-4300-A842-DE237C2174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48B05CD5-0FFE-4111-AC16-D4656DADACC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D9E20E83-C3FF-468A-BDE1-06BBBDA9E943}"/>
              </a:ext>
            </a:extLst>
          </p:cNvPr>
          <p:cNvGrpSpPr/>
          <p:nvPr/>
        </p:nvGrpSpPr>
        <p:grpSpPr>
          <a:xfrm>
            <a:off x="199908" y="580005"/>
            <a:ext cx="11944011" cy="6096975"/>
            <a:chOff x="199908" y="580005"/>
            <a:chExt cx="11944011" cy="6096975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FF20A924-2BE5-497E-8D51-C5357C342075}"/>
                </a:ext>
              </a:extLst>
            </p:cNvPr>
            <p:cNvSpPr/>
            <p:nvPr/>
          </p:nvSpPr>
          <p:spPr>
            <a:xfrm>
              <a:off x="199908" y="580005"/>
              <a:ext cx="11944011" cy="6096975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4B3C0DC6-C326-42CC-84F1-1304EDD84570}"/>
                </a:ext>
              </a:extLst>
            </p:cNvPr>
            <p:cNvSpPr/>
            <p:nvPr/>
          </p:nvSpPr>
          <p:spPr>
            <a:xfrm>
              <a:off x="5530275" y="3183210"/>
              <a:ext cx="973748" cy="45173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en-US" altLang="ko-KR" sz="1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OLD</a:t>
              </a:r>
              <a:endParaRPr lang="ko-KR" altLang="en-US" sz="1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594644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76A6911-5232-4392-933A-7C8250EFD37F}"/>
              </a:ext>
            </a:extLst>
          </p:cNvPr>
          <p:cNvSpPr txBox="1"/>
          <p:nvPr/>
        </p:nvSpPr>
        <p:spPr>
          <a:xfrm>
            <a:off x="557653" y="2893101"/>
            <a:ext cx="22119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기관</a:t>
            </a:r>
          </a:p>
        </p:txBody>
      </p:sp>
      <p:graphicFrame>
        <p:nvGraphicFramePr>
          <p:cNvPr id="77" name="표 6">
            <a:extLst>
              <a:ext uri="{FF2B5EF4-FFF2-40B4-BE49-F238E27FC236}">
                <a16:creationId xmlns:a16="http://schemas.microsoft.com/office/drawing/2014/main" id="{CD879458-85E9-43B2-82C7-533565678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494163"/>
              </p:ext>
            </p:extLst>
          </p:nvPr>
        </p:nvGraphicFramePr>
        <p:xfrm>
          <a:off x="528428" y="3477840"/>
          <a:ext cx="7972212" cy="2711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606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002708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557153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1912745">
                  <a:extLst>
                    <a:ext uri="{9D8B030D-6E8A-4147-A177-3AD203B41FA5}">
                      <a16:colId xmlns:a16="http://schemas.microsoft.com/office/drawing/2014/main" val="1448163722"/>
                    </a:ext>
                  </a:extLst>
                </a:gridCol>
              </a:tblGrid>
              <a:tr h="246974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874357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CGS </a:t>
                      </a:r>
                      <a:b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 기업과 자본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시장의 지속가능한 발전을 위해 기업 및 금융회사 지배구조 개선을 위한 다각도 지원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 투자를 위한 세부 원칙과 기준 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정 지원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및 분석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 및 의안분석 자문 서비스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://www.cgs.or.kr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7162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양한 출처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보고서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종 정보공개 시스템 등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정보를 종합하여 책임투자를 위한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정보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문서비스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솔루션을 제공</a:t>
                      </a: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자의 합리적 의사결정과 책임투자 지원을 위한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재무적 성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배구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와 리스크 평가 제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://www.kesgresearch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907760"/>
                  </a:ext>
                </a:extLst>
              </a:tr>
              <a:tr h="8743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스틴베스트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와 데이터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펀드 운용 전략과 수탁자 책임 활동을 위한 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종합 리서치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amp;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문 서비스를 제공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자 관점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회사로서 데이터에 기반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석 정보 제공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체 개발한 평가모형으로 재무적 요소 뿐 아니라 비재무적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소까지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려한 지속가능한 투자 의사결정을 지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sustinvest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123359"/>
                  </a:ext>
                </a:extLst>
              </a:tr>
            </a:tbl>
          </a:graphicData>
        </a:graphic>
      </p:graphicFrame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71F59F3A-795E-4DEA-8822-1FE42DF7F6D7}"/>
              </a:ext>
            </a:extLst>
          </p:cNvPr>
          <p:cNvSpPr/>
          <p:nvPr/>
        </p:nvSpPr>
        <p:spPr>
          <a:xfrm>
            <a:off x="6874697" y="41488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BBA202-8EAB-4391-ADA0-AA1632B20961}"/>
              </a:ext>
            </a:extLst>
          </p:cNvPr>
          <p:cNvSpPr txBox="1"/>
          <p:nvPr/>
        </p:nvSpPr>
        <p:spPr>
          <a:xfrm>
            <a:off x="557653" y="3153444"/>
            <a:ext cx="81931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을 평가하는 다양한 국내외 기관 중 대표적인 기관을 소개합니다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031F31F-E64C-4C49-BE1F-A8D4EB7ED558}"/>
              </a:ext>
            </a:extLst>
          </p:cNvPr>
          <p:cNvSpPr/>
          <p:nvPr/>
        </p:nvSpPr>
        <p:spPr>
          <a:xfrm>
            <a:off x="8942283" y="-5509"/>
            <a:ext cx="3249717" cy="1756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페이지 병합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구성 변경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0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주요 평기기관 테이블에 몇 개 기관 소개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9.01&gt;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주요평가기관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주요평가요소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산업별 고려사항으로 탭 구분하여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  화면 구성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실행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공시 화면과 동일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주요평가요소 탭 내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수정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183p)</a:t>
            </a: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평가등급 조회 삭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185p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378DE845-CAA6-4759-B1FC-E994FD9BBF4E}"/>
              </a:ext>
            </a:extLst>
          </p:cNvPr>
          <p:cNvGrpSpPr/>
          <p:nvPr/>
        </p:nvGrpSpPr>
        <p:grpSpPr>
          <a:xfrm>
            <a:off x="352742" y="1551825"/>
            <a:ext cx="8634659" cy="1112122"/>
            <a:chOff x="332993" y="1552688"/>
            <a:chExt cx="8634659" cy="1300248"/>
          </a:xfrm>
        </p:grpSpPr>
        <p:sp>
          <p:nvSpPr>
            <p:cNvPr id="35" name="사각형: 둥근 모서리 34">
              <a:extLst>
                <a:ext uri="{FF2B5EF4-FFF2-40B4-BE49-F238E27FC236}">
                  <a16:creationId xmlns:a16="http://schemas.microsoft.com/office/drawing/2014/main" id="{A072ED1E-B4FC-4932-AD11-CC6F5E66C2FE}"/>
                </a:ext>
              </a:extLst>
            </p:cNvPr>
            <p:cNvSpPr/>
            <p:nvPr/>
          </p:nvSpPr>
          <p:spPr>
            <a:xfrm>
              <a:off x="427900" y="1942197"/>
              <a:ext cx="5884124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평가기관을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주요 평가항목을 정리하였습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cxnSp>
          <p:nvCxnSpPr>
            <p:cNvPr id="36" name="직선 연결선 35">
              <a:extLst>
                <a:ext uri="{FF2B5EF4-FFF2-40B4-BE49-F238E27FC236}">
                  <a16:creationId xmlns:a16="http://schemas.microsoft.com/office/drawing/2014/main" id="{65E4F0BC-4432-4C98-80D7-F36C388E425E}"/>
                </a:ext>
              </a:extLst>
            </p:cNvPr>
            <p:cNvCxnSpPr>
              <a:cxnSpLocks/>
            </p:cNvCxnSpPr>
            <p:nvPr/>
          </p:nvCxnSpPr>
          <p:spPr>
            <a:xfrm>
              <a:off x="352742" y="2246114"/>
              <a:ext cx="8462683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77F0E603-7D2C-4C77-86C8-B3577D14E7A8}"/>
                </a:ext>
              </a:extLst>
            </p:cNvPr>
            <p:cNvCxnSpPr>
              <a:cxnSpLocks/>
            </p:cNvCxnSpPr>
            <p:nvPr/>
          </p:nvCxnSpPr>
          <p:spPr>
            <a:xfrm>
              <a:off x="332993" y="285293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8412EB34-F938-4831-BDA2-15C5473CCD79}"/>
                </a:ext>
              </a:extLst>
            </p:cNvPr>
            <p:cNvSpPr/>
            <p:nvPr/>
          </p:nvSpPr>
          <p:spPr>
            <a:xfrm>
              <a:off x="47334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기관</a:t>
              </a: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0A1DCE45-CB28-4E72-8A1B-FCD58CC76C9E}"/>
                </a:ext>
              </a:extLst>
            </p:cNvPr>
            <p:cNvSpPr/>
            <p:nvPr/>
          </p:nvSpPr>
          <p:spPr>
            <a:xfrm>
              <a:off x="240678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 요소</a:t>
              </a: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F7DB33B5-98A2-483F-92A2-0B62CA10104E}"/>
                </a:ext>
              </a:extLst>
            </p:cNvPr>
            <p:cNvSpPr/>
            <p:nvPr/>
          </p:nvSpPr>
          <p:spPr>
            <a:xfrm>
              <a:off x="434022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고려사항</a:t>
              </a:r>
            </a:p>
          </p:txBody>
        </p:sp>
        <p:sp>
          <p:nvSpPr>
            <p:cNvPr id="41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0701957E-8FDC-4E58-88D8-D84512EBC8B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70792" y="1552688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2E392547-538E-4929-955A-D41C632D6AFA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766743592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77" name="표 6">
            <a:extLst>
              <a:ext uri="{FF2B5EF4-FFF2-40B4-BE49-F238E27FC236}">
                <a16:creationId xmlns:a16="http://schemas.microsoft.com/office/drawing/2014/main" id="{CD879458-85E9-43B2-82C7-533565678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658226"/>
              </p:ext>
            </p:extLst>
          </p:nvPr>
        </p:nvGraphicFramePr>
        <p:xfrm>
          <a:off x="460412" y="1712395"/>
          <a:ext cx="7972212" cy="7430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606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052311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507550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1912745">
                  <a:extLst>
                    <a:ext uri="{9D8B030D-6E8A-4147-A177-3AD203B41FA5}">
                      <a16:colId xmlns:a16="http://schemas.microsoft.com/office/drawing/2014/main" val="1448163722"/>
                    </a:ext>
                  </a:extLst>
                </a:gridCol>
              </a:tblGrid>
              <a:tr h="519206">
                <a:tc rowSpan="9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SCI </a:t>
                      </a:r>
                      <a:b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organ Stanley Capital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ternational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건스텐리의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회사로서 글로벌 투자를 위한 의사결정 지원 도구 및 서비스를 제공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가별 상장기업들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과 기회에 대한 관리 수준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측정하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SCI ESG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등급으로 제공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msci.com/zh/esg-ratings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71966"/>
                  </a:ext>
                </a:extLst>
              </a:tr>
              <a:tr h="519206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amp;P</a:t>
                      </a:r>
                      <a:b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tandard and Poor's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999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다우존스 지속가능경영지수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DJSI, Dow Jones Sustainability Indices)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개발해 매년 평가 결과 제공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계 상위 기업을 대상으로 경제적 성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및 사회 성과 등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종합적으로 고려해 지속가능성을 분석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피평가기업이 설문에 답변한 내용을 기반으로 평가하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통 평가 항목과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산업별 항목으로 구분하여 산업별 특성에 따라 가중치 부여 평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spglobal.com/esg/solutions/data-intelligence-esg-scores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871769"/>
                  </a:ext>
                </a:extLst>
              </a:tr>
              <a:tr h="519206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</a:t>
                      </a:r>
                      <a:b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arbon Disclosure Project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의 환경 지속가능성을 측정하여 탄소배출 등급을 평가</a:t>
                      </a: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년 수천개의 기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도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을 지원하여 기후 변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물 안보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및 산림에 대한 위험과 기회를 측정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글로벌 환경 공시 시스템을 운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tps://www.cdp.net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7483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coVadis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의 지속가능성을 평가하는 대표적인 국제 조사기구로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07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부터 공급망 내 기업 대상 환경 및 사회적 성과를 평가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16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여개 국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2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여개 산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7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여개 기업들을 대상으로 환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노동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윤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성 조달 등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지 주요 항목을 평가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엔글로벌콤팩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 원칙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제노동기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LO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협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GRI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엔 기업과 인권 이행 원칙 등 국제 지속가능성 기준에 기초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ecovadis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047822"/>
                  </a:ext>
                </a:extLst>
              </a:tr>
              <a:tr h="74835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ustainalytic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로벌 펀드 평가회사 모닝스타가 인수한 후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8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ustainalytics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방법론을 활용하여 모든 펀드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식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산 분석에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소 통합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개된 정보 기반으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크가 기업의 재무가치에 미치는 영향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축정하여 등급으로 제공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채권 가이드라인 검증기관으로 기업 및 금융기관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발생할 때 평가와 인증을 수행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sustainalytics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519206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TSE Russell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01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ESG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를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탕으로 한 지수인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FTSE4Good’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을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작하였으며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럽 시장을 대표하는 지수</a:t>
                      </a: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개된 정보를 기반으로 평가하여 분기별로 지수에 편입된 기업을 발표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주제별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이상의 지표 포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ftserussell.com/products/indices/ftse4good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065569"/>
                  </a:ext>
                </a:extLst>
              </a:tr>
              <a:tr h="633779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epRisk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98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설립된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데이터 평가기관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공지능과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머신러닝을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용하여 전 세계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만 개 이상의 기업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크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분석하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계 최대 실사 데이터베이스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Risk Platform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운영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GRI,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, UNGC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 글로벌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표준 의거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슈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8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하위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주제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크를 측정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reprisk.com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234270"/>
                  </a:ext>
                </a:extLst>
              </a:tr>
              <a:tr h="633779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igeo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iri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02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설립된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금융 분야 전문 기업으로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평가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데이터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석도구 등을 제공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19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신용평가기관 무디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oody’s)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인수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en-US" altLang="ko-KR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igeo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iris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체계는 환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및 거버넌스 요소가 서로 관련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있고 보완적이라는 시각에 따라 각 요소를 분리하지 않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moodys.com/web/en/us/capabilities/esg.html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433011"/>
                  </a:ext>
                </a:extLst>
              </a:tr>
              <a:tr h="748351">
                <a:tc v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loomberg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이상 전 세계 기업의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데이터를 제공하고 있으며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0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월 이후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Score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서비스도 제공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102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국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,7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이상의 기업에서 공개한 정보를 검증하여 블룸버그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터미널에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데이터를 공개하고 있음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데이터를 기반으로 자체 평가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Score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SCI, </a:t>
                      </a:r>
                      <a:r>
                        <a:rPr lang="en-US" altLang="ko-KR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ustainalytics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 </a:t>
                      </a:r>
                      <a:b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기관 자료와 함께 제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u="sng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tps://www.bloomberg.com/professional/product/esg-data/</a:t>
                      </a:r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796453"/>
                  </a:ext>
                </a:extLst>
              </a:tr>
            </a:tbl>
          </a:graphicData>
        </a:graphic>
      </p:graphicFrame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031F31F-E64C-4C49-BE1F-A8D4EB7ED558}"/>
              </a:ext>
            </a:extLst>
          </p:cNvPr>
          <p:cNvSpPr/>
          <p:nvPr/>
        </p:nvSpPr>
        <p:spPr>
          <a:xfrm>
            <a:off x="8942283" y="-5508"/>
            <a:ext cx="3218221" cy="10336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페이지 병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구성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25608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4139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당사 플랫폼 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른 하위 버튼도 동일하게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페이지명 확인하여 해당 페이지로 이동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“-”,”+”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 문항정보 보기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: “+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“+”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“-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변경되면서 상세 문항정보 열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9319" y="59854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2407049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77" name="표 6">
            <a:extLst>
              <a:ext uri="{FF2B5EF4-FFF2-40B4-BE49-F238E27FC236}">
                <a16:creationId xmlns:a16="http://schemas.microsoft.com/office/drawing/2014/main" id="{CD879458-85E9-43B2-82C7-533565678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6305310"/>
              </p:ext>
            </p:extLst>
          </p:nvPr>
        </p:nvGraphicFramePr>
        <p:xfrm>
          <a:off x="491586" y="3327384"/>
          <a:ext cx="7972212" cy="5218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8040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1573532">
                  <a:extLst>
                    <a:ext uri="{9D8B030D-6E8A-4147-A177-3AD203B41FA5}">
                      <a16:colId xmlns:a16="http://schemas.microsoft.com/office/drawing/2014/main" val="1448163722"/>
                    </a:ext>
                  </a:extLst>
                </a:gridCol>
              </a:tblGrid>
              <a:tr h="190604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별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 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가적인 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 정보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277922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</a:t>
                      </a:r>
                    </a:p>
                    <a:p>
                      <a:pPr algn="ctr" latinLnBrk="1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 변화로 인한 위험과 영향을 이해하고 대응하기 위한 지속적인 활동이 이뤄지고 있는지 평가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endParaRPr lang="en-US" altLang="ko-KR" sz="2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주요 평가</a:t>
                      </a:r>
                      <a:r>
                        <a:rPr lang="ko-KR" altLang="en-US" sz="7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</a:t>
                      </a:r>
                      <a:endParaRPr lang="en-US" altLang="ko-KR" sz="700" b="0" strike="sngStrike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47280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배출 또는 온실가스 배출은 지구 온난화와 기후 변화를 가속하는 주요 원인으로 지속가능한 경제와 사회적 이익 추구를 위해 적절히 관리가 필요</a:t>
                      </a:r>
                      <a:b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endParaRPr kumimoji="0" lang="en-US" altLang="ko-KR" sz="200" b="1" i="0" u="none" strike="noStrike" kern="1200" cap="none" spc="-3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74295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7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주요 평가항목</a:t>
                      </a:r>
                      <a:endParaRPr kumimoji="0" lang="en-US" altLang="ko-KR" sz="700" b="0" i="0" u="none" strike="noStrike" kern="1200" cap="none" spc="-3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681382"/>
                  </a:ext>
                </a:extLst>
              </a:tr>
              <a:tr h="4728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</a:t>
                      </a:r>
                    </a:p>
                    <a:p>
                      <a:pPr algn="ctr" latinLnBrk="1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적자원관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이 요구하는 노동 능력 </a:t>
                      </a:r>
                      <a:r>
                        <a:rPr lang="ko-KR" altLang="en-US" sz="7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준와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고도로 숙련된 인력을 유치</a:t>
                      </a:r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지</a:t>
                      </a:r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발하는 능력에 대한 평가</a:t>
                      </a:r>
                      <a:b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kumimoji="0" lang="en-US" altLang="ko-KR" sz="700" b="1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6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</a:t>
                      </a:r>
                      <a:r>
                        <a:rPr kumimoji="0" lang="en-US" altLang="ko-KR" sz="6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kumimoji="0" lang="ko-KR" altLang="en-US" sz="6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권</a:t>
                      </a:r>
                      <a:r>
                        <a:rPr kumimoji="0" lang="en-US" altLang="ko-KR" sz="6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kumimoji="0" lang="ko-KR" altLang="en-US" sz="6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항목</a:t>
                      </a:r>
                      <a:endParaRPr kumimoji="0" lang="en-US" altLang="ko-KR" sz="600" b="0" i="0" u="none" strike="noStrike" kern="1200" cap="none" spc="-3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7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7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endParaRPr lang="en-US" altLang="ko-KR" sz="7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br>
                        <a:rPr lang="en-US" altLang="ko-KR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endParaRPr lang="en-US" altLang="ko-KR" sz="7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0">
                        <a:lnSpc>
                          <a:spcPct val="120000"/>
                        </a:lnSpc>
                      </a:pPr>
                      <a:r>
                        <a:rPr lang="en-US" altLang="ko-KR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… </a:t>
                      </a:r>
                      <a:r>
                        <a:rPr lang="ko-KR" altLang="en-US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하 생략 </a:t>
                      </a:r>
                      <a:r>
                        <a:rPr lang="en-US" altLang="ko-KR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도로 정의된 </a:t>
                      </a:r>
                      <a:r>
                        <a:rPr lang="ko-KR" altLang="en-US" sz="700" b="0" i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액셀</a:t>
                      </a:r>
                      <a:r>
                        <a:rPr lang="ko-KR" altLang="en-US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 참고하여 평가항목 작성 필요</a:t>
                      </a:r>
                      <a:r>
                        <a:rPr lang="en-US" altLang="ko-KR" sz="700" b="0" i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…</a:t>
                      </a:r>
                      <a:endParaRPr kumimoji="0" lang="en-US" altLang="ko-KR" sz="700" b="0" i="0" u="none" strike="noStrike" kern="1200" cap="none" spc="-3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0" u="sng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083996"/>
                  </a:ext>
                </a:extLst>
              </a:tr>
            </a:tbl>
          </a:graphicData>
        </a:graphic>
      </p:graphicFrame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4BB7E4E-CFCE-423C-94AD-B14836AE8DEA}"/>
              </a:ext>
            </a:extLst>
          </p:cNvPr>
          <p:cNvSpPr/>
          <p:nvPr/>
        </p:nvSpPr>
        <p:spPr>
          <a:xfrm>
            <a:off x="7095287" y="5275052"/>
            <a:ext cx="1215670" cy="207687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환경 </a:t>
            </a:r>
            <a:r>
              <a:rPr lang="en-US" altLang="ko-KR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&gt; </a:t>
            </a:r>
            <a:r>
              <a:rPr lang="ko-KR" altLang="en-US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기후변화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73FDEB7-7F4E-45FE-9441-84A47CC3F877}"/>
              </a:ext>
            </a:extLst>
          </p:cNvPr>
          <p:cNvSpPr txBox="1"/>
          <p:nvPr/>
        </p:nvSpPr>
        <p:spPr>
          <a:xfrm>
            <a:off x="534043" y="3113804"/>
            <a:ext cx="81931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양한 평가기관에서 개별적인 </a:t>
            </a:r>
            <a:r>
              <a:rPr lang="ko-KR" altLang="en-US" sz="900" strike="sngStrike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방법론과 </a:t>
            </a:r>
            <a:r>
              <a:rPr lang="ko-KR" altLang="en-US" sz="900" strike="sngStrike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항목으로 평가를 수행하고 있으나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각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토픽에서 일반적으로 중요하게 고려하는 평가</a:t>
            </a:r>
            <a:r>
              <a:rPr lang="ko-KR" altLang="en-US" sz="900" strike="sngStrike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항목을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설명합니다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5CBBE743-4B5A-4FBF-9296-E4A3DF1212FC}"/>
              </a:ext>
            </a:extLst>
          </p:cNvPr>
          <p:cNvSpPr/>
          <p:nvPr/>
        </p:nvSpPr>
        <p:spPr>
          <a:xfrm>
            <a:off x="8972055" y="1"/>
            <a:ext cx="3218221" cy="10336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페이지 병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구성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696A5B02-B555-4651-8D37-F444B6D308A9}"/>
              </a:ext>
            </a:extLst>
          </p:cNvPr>
          <p:cNvSpPr/>
          <p:nvPr/>
        </p:nvSpPr>
        <p:spPr>
          <a:xfrm>
            <a:off x="7022333" y="51279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E761808F-5133-457F-97A1-A6EE1B2BA4DF}"/>
              </a:ext>
            </a:extLst>
          </p:cNvPr>
          <p:cNvSpPr/>
          <p:nvPr/>
        </p:nvSpPr>
        <p:spPr>
          <a:xfrm>
            <a:off x="8988732" y="1124744"/>
            <a:ext cx="3218221" cy="7671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주요 평가항목 박스 내에 문항 내용 추가</a:t>
            </a:r>
            <a:b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</a:br>
            <a:r>
              <a:rPr lang="en-US" altLang="ko-KR" sz="800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※ </a:t>
            </a:r>
            <a:r>
              <a:rPr lang="ko-KR" altLang="en-US" sz="800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세부 내용은 별도의 </a:t>
            </a:r>
            <a:r>
              <a:rPr lang="ko-KR" altLang="en-US" sz="800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액셀</a:t>
            </a:r>
            <a:r>
              <a:rPr lang="ko-KR" altLang="en-US" sz="800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참고하여 작성 필요</a:t>
            </a:r>
            <a:endParaRPr lang="en-US" altLang="ko-KR" sz="800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     (</a:t>
            </a:r>
            <a:r>
              <a:rPr lang="en-US" altLang="ko-KR" sz="800" b="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+mn-ea"/>
                <a:cs typeface="Arial"/>
              </a:rPr>
              <a:t>(</a:t>
            </a:r>
            <a:r>
              <a:rPr lang="ko-KR" altLang="en-US" sz="800" b="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+mn-ea"/>
                <a:cs typeface="Arial"/>
              </a:rPr>
              <a:t>현업 검수 후 전달 예정</a:t>
            </a:r>
            <a:r>
              <a:rPr lang="en-US" altLang="ko-KR" sz="800" b="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  <a:r>
              <a:rPr lang="ko-KR" altLang="en-US" sz="800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53C92190-4FA8-4996-834D-18A40571E235}"/>
              </a:ext>
            </a:extLst>
          </p:cNvPr>
          <p:cNvGrpSpPr/>
          <p:nvPr/>
        </p:nvGrpSpPr>
        <p:grpSpPr>
          <a:xfrm>
            <a:off x="2623503" y="4055347"/>
            <a:ext cx="4137154" cy="2739539"/>
            <a:chOff x="2760772" y="2777693"/>
            <a:chExt cx="4137154" cy="2739539"/>
          </a:xfrm>
        </p:grpSpPr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EBBCC0A8-596D-4F76-A7BA-2F2E8D30767F}"/>
                </a:ext>
              </a:extLst>
            </p:cNvPr>
            <p:cNvSpPr/>
            <p:nvPr/>
          </p:nvSpPr>
          <p:spPr>
            <a:xfrm>
              <a:off x="2760772" y="2777693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기후변화 거버넌스</a:t>
              </a:r>
              <a:endParaRPr lang="en-US" altLang="ko-KR" sz="8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  <a:p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F9B7E542-8EEE-4486-9763-2037615FDC03}"/>
                </a:ext>
              </a:extLst>
            </p:cNvPr>
            <p:cNvSpPr/>
            <p:nvPr/>
          </p:nvSpPr>
          <p:spPr>
            <a:xfrm>
              <a:off x="2799578" y="2834461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1 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F5526C58-9E2B-430B-B280-2CCD11A9ADBE}"/>
                </a:ext>
              </a:extLst>
            </p:cNvPr>
            <p:cNvSpPr/>
            <p:nvPr/>
          </p:nvSpPr>
          <p:spPr>
            <a:xfrm>
              <a:off x="2760772" y="3018514"/>
              <a:ext cx="4047688" cy="32913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이사회와 경영진은 기후 관련 문제와 탄소중립에 대한 책임과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감독을 수행하고</a:t>
              </a:r>
              <a:b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</a:b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있습니까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?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DD79FC45-869F-4D9F-BDB6-11C7ED63B742}"/>
                </a:ext>
              </a:extLst>
            </p:cNvPr>
            <p:cNvSpPr/>
            <p:nvPr/>
          </p:nvSpPr>
          <p:spPr>
            <a:xfrm>
              <a:off x="6586771" y="2834461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541D45D2-304F-4F7F-9783-F5FC36514B98}"/>
                </a:ext>
              </a:extLst>
            </p:cNvPr>
            <p:cNvSpPr/>
            <p:nvPr/>
          </p:nvSpPr>
          <p:spPr>
            <a:xfrm>
              <a:off x="2760772" y="3482273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기후변화 대응목표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039B1D24-E768-46EB-8BA9-300A2F350E3C}"/>
                </a:ext>
              </a:extLst>
            </p:cNvPr>
            <p:cNvSpPr/>
            <p:nvPr/>
          </p:nvSpPr>
          <p:spPr>
            <a:xfrm>
              <a:off x="2799578" y="3539041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2 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671B680E-AEF5-418B-A0BE-4CAB79A8F64D}"/>
                </a:ext>
              </a:extLst>
            </p:cNvPr>
            <p:cNvSpPr/>
            <p:nvPr/>
          </p:nvSpPr>
          <p:spPr>
            <a:xfrm>
              <a:off x="2760772" y="3723094"/>
              <a:ext cx="4047688" cy="32913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기후 및 환경 관련 중장기 목표를 설정하고 목표 이행을 위한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구체적인 전략과</a:t>
              </a:r>
              <a:b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</a:b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정책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,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배출량 감축 목표가 공개되어 있습니까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?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AAA58827-B68A-4849-A33F-74871B2607C2}"/>
                </a:ext>
              </a:extLst>
            </p:cNvPr>
            <p:cNvSpPr/>
            <p:nvPr/>
          </p:nvSpPr>
          <p:spPr>
            <a:xfrm>
              <a:off x="6586771" y="3539041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3" name="사각형: 둥근 모서리 42">
              <a:extLst>
                <a:ext uri="{FF2B5EF4-FFF2-40B4-BE49-F238E27FC236}">
                  <a16:creationId xmlns:a16="http://schemas.microsoft.com/office/drawing/2014/main" id="{674B29FD-33F1-471F-BF97-A4430E40DBE0}"/>
                </a:ext>
              </a:extLst>
            </p:cNvPr>
            <p:cNvSpPr/>
            <p:nvPr/>
          </p:nvSpPr>
          <p:spPr>
            <a:xfrm>
              <a:off x="2760772" y="4176642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환경 성과 연계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04FFEC25-83F5-4B5E-8532-D1BD0006A6EA}"/>
                </a:ext>
              </a:extLst>
            </p:cNvPr>
            <p:cNvSpPr/>
            <p:nvPr/>
          </p:nvSpPr>
          <p:spPr>
            <a:xfrm>
              <a:off x="2799578" y="4233410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3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5" name="사각형: 둥근 모서리 44">
              <a:extLst>
                <a:ext uri="{FF2B5EF4-FFF2-40B4-BE49-F238E27FC236}">
                  <a16:creationId xmlns:a16="http://schemas.microsoft.com/office/drawing/2014/main" id="{B8816EB4-3F2F-4D98-9AB0-4BC7406C24E8}"/>
                </a:ext>
              </a:extLst>
            </p:cNvPr>
            <p:cNvSpPr/>
            <p:nvPr/>
          </p:nvSpPr>
          <p:spPr>
            <a:xfrm>
              <a:off x="2760772" y="4417463"/>
              <a:ext cx="4047688" cy="32913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이사회와 경영진은 기후 관련 문제와 탄소중립에 대한 책임과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감독을 수행하고</a:t>
              </a:r>
              <a:b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</a:b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있습니까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?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7639EB0E-BC84-4835-9C81-FA00EE2F6B8B}"/>
                </a:ext>
              </a:extLst>
            </p:cNvPr>
            <p:cNvSpPr/>
            <p:nvPr/>
          </p:nvSpPr>
          <p:spPr>
            <a:xfrm>
              <a:off x="6586771" y="4233410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7" name="사각형: 둥근 모서리 46">
              <a:extLst>
                <a:ext uri="{FF2B5EF4-FFF2-40B4-BE49-F238E27FC236}">
                  <a16:creationId xmlns:a16="http://schemas.microsoft.com/office/drawing/2014/main" id="{82CBA47D-D46F-4EE5-96FA-45013166A9D4}"/>
                </a:ext>
              </a:extLst>
            </p:cNvPr>
            <p:cNvSpPr/>
            <p:nvPr/>
          </p:nvSpPr>
          <p:spPr>
            <a:xfrm>
              <a:off x="2760772" y="4890016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기후변화 위험관리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9507E991-42D2-4F75-BECE-374435EAD4CF}"/>
                </a:ext>
              </a:extLst>
            </p:cNvPr>
            <p:cNvSpPr/>
            <p:nvPr/>
          </p:nvSpPr>
          <p:spPr>
            <a:xfrm>
              <a:off x="2799578" y="4946784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4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CD81E688-102C-4D54-A336-D71B4FCA58C2}"/>
                </a:ext>
              </a:extLst>
            </p:cNvPr>
            <p:cNvSpPr/>
            <p:nvPr/>
          </p:nvSpPr>
          <p:spPr>
            <a:xfrm>
              <a:off x="6586771" y="4946784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+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E4274541-CA97-486C-8A26-0196C07D26F3}"/>
                </a:ext>
              </a:extLst>
            </p:cNvPr>
            <p:cNvSpPr/>
            <p:nvPr/>
          </p:nvSpPr>
          <p:spPr>
            <a:xfrm>
              <a:off x="2760772" y="5271206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시나리오 분석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FA791F5-2D0E-4130-A1DA-038CFE2C7A58}"/>
                </a:ext>
              </a:extLst>
            </p:cNvPr>
            <p:cNvSpPr/>
            <p:nvPr/>
          </p:nvSpPr>
          <p:spPr>
            <a:xfrm>
              <a:off x="2799578" y="5327974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5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8ED6171D-2DA2-42F1-8618-7B6987FB57F0}"/>
                </a:ext>
              </a:extLst>
            </p:cNvPr>
            <p:cNvSpPr/>
            <p:nvPr/>
          </p:nvSpPr>
          <p:spPr>
            <a:xfrm>
              <a:off x="6586771" y="5327974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+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3" name="사각형: 둥근 모서리 52">
              <a:extLst>
                <a:ext uri="{FF2B5EF4-FFF2-40B4-BE49-F238E27FC236}">
                  <a16:creationId xmlns:a16="http://schemas.microsoft.com/office/drawing/2014/main" id="{AA5A8930-D274-4789-979D-8892C53FC6DF}"/>
                </a:ext>
              </a:extLst>
            </p:cNvPr>
            <p:cNvSpPr/>
            <p:nvPr/>
          </p:nvSpPr>
          <p:spPr>
            <a:xfrm>
              <a:off x="6752964" y="4106470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B7E59685-C7D0-4D7F-940D-E2C805471035}"/>
              </a:ext>
            </a:extLst>
          </p:cNvPr>
          <p:cNvGrpSpPr/>
          <p:nvPr/>
        </p:nvGrpSpPr>
        <p:grpSpPr>
          <a:xfrm>
            <a:off x="352742" y="1577951"/>
            <a:ext cx="8662177" cy="1112122"/>
            <a:chOff x="332993" y="1552688"/>
            <a:chExt cx="8662177" cy="1300248"/>
          </a:xfrm>
        </p:grpSpPr>
        <p:sp>
          <p:nvSpPr>
            <p:cNvPr id="55" name="사각형: 둥근 모서리 54">
              <a:extLst>
                <a:ext uri="{FF2B5EF4-FFF2-40B4-BE49-F238E27FC236}">
                  <a16:creationId xmlns:a16="http://schemas.microsoft.com/office/drawing/2014/main" id="{1996E1C8-E37A-4642-8551-F1E0E8E619DA}"/>
                </a:ext>
              </a:extLst>
            </p:cNvPr>
            <p:cNvSpPr/>
            <p:nvPr/>
          </p:nvSpPr>
          <p:spPr>
            <a:xfrm>
              <a:off x="427900" y="1942197"/>
              <a:ext cx="5884124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평가기관을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주요 평가항목을 정리하였습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cxnSp>
          <p:nvCxnSpPr>
            <p:cNvPr id="56" name="직선 연결선 55">
              <a:extLst>
                <a:ext uri="{FF2B5EF4-FFF2-40B4-BE49-F238E27FC236}">
                  <a16:creationId xmlns:a16="http://schemas.microsoft.com/office/drawing/2014/main" id="{FD3ECC34-1D68-4D2B-932B-5F46B12A68F6}"/>
                </a:ext>
              </a:extLst>
            </p:cNvPr>
            <p:cNvCxnSpPr>
              <a:cxnSpLocks/>
            </p:cNvCxnSpPr>
            <p:nvPr/>
          </p:nvCxnSpPr>
          <p:spPr>
            <a:xfrm>
              <a:off x="352742" y="2246114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>
              <a:extLst>
                <a:ext uri="{FF2B5EF4-FFF2-40B4-BE49-F238E27FC236}">
                  <a16:creationId xmlns:a16="http://schemas.microsoft.com/office/drawing/2014/main" id="{A70BFEE3-3888-4F5F-AAF7-198E2437AA07}"/>
                </a:ext>
              </a:extLst>
            </p:cNvPr>
            <p:cNvCxnSpPr>
              <a:cxnSpLocks/>
            </p:cNvCxnSpPr>
            <p:nvPr/>
          </p:nvCxnSpPr>
          <p:spPr>
            <a:xfrm>
              <a:off x="332993" y="285293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사각형: 둥근 모서리 57">
              <a:extLst>
                <a:ext uri="{FF2B5EF4-FFF2-40B4-BE49-F238E27FC236}">
                  <a16:creationId xmlns:a16="http://schemas.microsoft.com/office/drawing/2014/main" id="{5E1FF680-5DDA-419E-ACD2-9F28CF2BE584}"/>
                </a:ext>
              </a:extLst>
            </p:cNvPr>
            <p:cNvSpPr/>
            <p:nvPr/>
          </p:nvSpPr>
          <p:spPr>
            <a:xfrm>
              <a:off x="47334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기관</a:t>
              </a:r>
            </a:p>
          </p:txBody>
        </p:sp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3660645C-A3CA-442B-869F-534D8724843F}"/>
                </a:ext>
              </a:extLst>
            </p:cNvPr>
            <p:cNvSpPr/>
            <p:nvPr/>
          </p:nvSpPr>
          <p:spPr>
            <a:xfrm>
              <a:off x="240678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 요소</a:t>
              </a:r>
            </a:p>
          </p:txBody>
        </p:sp>
        <p:sp>
          <p:nvSpPr>
            <p:cNvPr id="61" name="사각형: 둥근 모서리 60">
              <a:extLst>
                <a:ext uri="{FF2B5EF4-FFF2-40B4-BE49-F238E27FC236}">
                  <a16:creationId xmlns:a16="http://schemas.microsoft.com/office/drawing/2014/main" id="{F4210FCD-5DAC-4FCA-9949-AE74A893009E}"/>
                </a:ext>
              </a:extLst>
            </p:cNvPr>
            <p:cNvSpPr/>
            <p:nvPr/>
          </p:nvSpPr>
          <p:spPr>
            <a:xfrm>
              <a:off x="434022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고려사항</a:t>
              </a:r>
            </a:p>
          </p:txBody>
        </p:sp>
        <p:sp>
          <p:nvSpPr>
            <p:cNvPr id="6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535F790C-442A-47FA-BC2C-1E91A47B1304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70792" y="1552688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CD8F9255-D171-4388-AFC4-555E419D68C4}"/>
              </a:ext>
            </a:extLst>
          </p:cNvPr>
          <p:cNvSpPr txBox="1"/>
          <p:nvPr/>
        </p:nvSpPr>
        <p:spPr>
          <a:xfrm>
            <a:off x="557653" y="2893101"/>
            <a:ext cx="22119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평가요소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F0D1B33-578A-4B0B-86C1-BEEFE6B8DF44}"/>
              </a:ext>
            </a:extLst>
          </p:cNvPr>
          <p:cNvSpPr/>
          <p:nvPr/>
        </p:nvSpPr>
        <p:spPr>
          <a:xfrm>
            <a:off x="7104112" y="2893101"/>
            <a:ext cx="626870" cy="22932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요소를</a:t>
            </a: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E0B8EA58-5DC4-4247-B419-6C532FFC4849}"/>
              </a:ext>
            </a:extLst>
          </p:cNvPr>
          <p:cNvSpPr/>
          <p:nvPr/>
        </p:nvSpPr>
        <p:spPr>
          <a:xfrm>
            <a:off x="2999656" y="3749934"/>
            <a:ext cx="626870" cy="14649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대상</a:t>
            </a: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5F0F26E3-A818-469A-B96C-2A082F6F6FB3}"/>
              </a:ext>
            </a:extLst>
          </p:cNvPr>
          <p:cNvGrpSpPr/>
          <p:nvPr/>
        </p:nvGrpSpPr>
        <p:grpSpPr>
          <a:xfrm>
            <a:off x="2623503" y="7853356"/>
            <a:ext cx="4047688" cy="569953"/>
            <a:chOff x="2760772" y="2777693"/>
            <a:chExt cx="4047688" cy="569953"/>
          </a:xfrm>
        </p:grpSpPr>
        <p:sp>
          <p:nvSpPr>
            <p:cNvPr id="75" name="사각형: 둥근 모서리 74">
              <a:extLst>
                <a:ext uri="{FF2B5EF4-FFF2-40B4-BE49-F238E27FC236}">
                  <a16:creationId xmlns:a16="http://schemas.microsoft.com/office/drawing/2014/main" id="{DD93398C-106E-4894-B659-66445FBD2DAB}"/>
                </a:ext>
              </a:extLst>
            </p:cNvPr>
            <p:cNvSpPr/>
            <p:nvPr/>
          </p:nvSpPr>
          <p:spPr>
            <a:xfrm>
              <a:off x="2760772" y="2777693"/>
              <a:ext cx="4047688" cy="24602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b="1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인권정책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5ED3D5B2-0A80-4C0E-B817-29D238F84BAF}"/>
                </a:ext>
              </a:extLst>
            </p:cNvPr>
            <p:cNvSpPr/>
            <p:nvPr/>
          </p:nvSpPr>
          <p:spPr>
            <a:xfrm>
              <a:off x="2799578" y="2834461"/>
              <a:ext cx="108000" cy="108000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1 </a:t>
              </a:r>
              <a:endParaRPr lang="ko-KR" altLang="en-US" sz="7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9" name="사각형: 둥근 모서리 78">
              <a:extLst>
                <a:ext uri="{FF2B5EF4-FFF2-40B4-BE49-F238E27FC236}">
                  <a16:creationId xmlns:a16="http://schemas.microsoft.com/office/drawing/2014/main" id="{0ED589A2-B132-4BAF-8B50-641AB109871A}"/>
                </a:ext>
              </a:extLst>
            </p:cNvPr>
            <p:cNvSpPr/>
            <p:nvPr/>
          </p:nvSpPr>
          <p:spPr>
            <a:xfrm>
              <a:off x="2760772" y="3018514"/>
              <a:ext cx="4047688" cy="32913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864" rtlCol="0" anchor="t" anchorCtr="0"/>
            <a:lstStyle/>
            <a:p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인권 관련 글로벌 이니셔티브를 바탕으로 수립한 인권 경영 정책이 존재하고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, </a:t>
              </a: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개별</a:t>
              </a:r>
              <a:b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</a:br>
              <a:r>
                <a: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인권 이슈에 대한 경영 방침 또는 정책이 공개되어 있습니까</a:t>
              </a:r>
              <a:r>
                <a:rPr lang="en-US" altLang="ko-KR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rPr>
                <a:t>?</a:t>
              </a:r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46220E7F-29F2-44A1-9828-D319EDE97E67}"/>
                </a:ext>
              </a:extLst>
            </p:cNvPr>
            <p:cNvSpPr/>
            <p:nvPr/>
          </p:nvSpPr>
          <p:spPr>
            <a:xfrm>
              <a:off x="6586771" y="2834461"/>
              <a:ext cx="144000" cy="144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-</a:t>
              </a:r>
              <a:endParaRPr lang="ko-KR" altLang="en-US" sz="800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3D98E45B-CB94-402C-B804-044CC414E647}"/>
              </a:ext>
            </a:extLst>
          </p:cNvPr>
          <p:cNvSpPr/>
          <p:nvPr/>
        </p:nvSpPr>
        <p:spPr>
          <a:xfrm>
            <a:off x="7041785" y="7964124"/>
            <a:ext cx="1322674" cy="207687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사회 </a:t>
            </a:r>
            <a:r>
              <a:rPr lang="en-US" altLang="ko-KR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&gt; </a:t>
            </a:r>
            <a:r>
              <a:rPr lang="ko-KR" altLang="en-US" sz="8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인적자원관리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5C9341C5-444C-4D28-9619-2F9B553F3B7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28636720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2407049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9F2B59-67C5-44D1-AF59-39501B362B5F}"/>
              </a:ext>
            </a:extLst>
          </p:cNvPr>
          <p:cNvSpPr txBox="1"/>
          <p:nvPr/>
        </p:nvSpPr>
        <p:spPr>
          <a:xfrm>
            <a:off x="556379" y="2851116"/>
            <a:ext cx="22119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고려사항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070749-ED4A-484E-9E4E-08B22C404A6B}"/>
              </a:ext>
            </a:extLst>
          </p:cNvPr>
          <p:cNvSpPr txBox="1"/>
          <p:nvPr/>
        </p:nvSpPr>
        <p:spPr>
          <a:xfrm>
            <a:off x="611115" y="3067140"/>
            <a:ext cx="819315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특성에 따라 평가 가중치 항목에 차이가 있으며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기관에 따라서도 기준이 상이합니다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러나 산업 특성을 고려했을 때 일반적으로 각 산업에서 중점 고려</a:t>
            </a:r>
            <a:b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야 할 이슈들을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리하여 제공합니다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(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◎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매우 중요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○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중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endParaRPr lang="en-US" altLang="ko-KR" sz="9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FC40AFBC-6390-4558-A58C-BF5E40197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211564"/>
              </p:ext>
            </p:extLst>
          </p:nvPr>
        </p:nvGraphicFramePr>
        <p:xfrm>
          <a:off x="599460" y="3539792"/>
          <a:ext cx="7943568" cy="32930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247">
                  <a:extLst>
                    <a:ext uri="{9D8B030D-6E8A-4147-A177-3AD203B41FA5}">
                      <a16:colId xmlns:a16="http://schemas.microsoft.com/office/drawing/2014/main" val="4088602914"/>
                    </a:ext>
                  </a:extLst>
                </a:gridCol>
                <a:gridCol w="1012980">
                  <a:extLst>
                    <a:ext uri="{9D8B030D-6E8A-4147-A177-3AD203B41FA5}">
                      <a16:colId xmlns:a16="http://schemas.microsoft.com/office/drawing/2014/main" val="2500602405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611045155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186759833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2068156261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764326972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1535724640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3246180547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3566393042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4205633037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4037447741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1229369625"/>
                    </a:ext>
                  </a:extLst>
                </a:gridCol>
                <a:gridCol w="594031">
                  <a:extLst>
                    <a:ext uri="{9D8B030D-6E8A-4147-A177-3AD203B41FA5}">
                      <a16:colId xmlns:a16="http://schemas.microsoft.com/office/drawing/2014/main" val="550362835"/>
                    </a:ext>
                  </a:extLst>
                </a:gridCol>
              </a:tblGrid>
              <a:tr h="20151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구분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에너지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소재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산업재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자유</a:t>
                      </a:r>
                      <a:br>
                        <a:rPr lang="en-US" altLang="ko-KR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소비재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필수</a:t>
                      </a:r>
                      <a:br>
                        <a:rPr lang="en-US" altLang="ko-KR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소비재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헬스케어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금융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정보기술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통신산업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유틸리티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부동산</a:t>
                      </a:r>
                      <a:endParaRPr lang="ko-KR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176238"/>
                  </a:ext>
                </a:extLst>
              </a:tr>
              <a:tr h="201510">
                <a:tc rowSpan="7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환경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</a:p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기후변화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○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305357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온실가스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lang="en-US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lang="en-US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494244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생물다양성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831274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오염과 폐기물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281656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>
                          <a:effectLst/>
                        </a:rPr>
                        <a:t>친환경제품</a:t>
                      </a:r>
                      <a:r>
                        <a:rPr lang="en-US" altLang="ko-KR" sz="1000" b="1" u="none" strike="noStrike">
                          <a:effectLst/>
                        </a:rPr>
                        <a:t>/</a:t>
                      </a:r>
                      <a:r>
                        <a:rPr lang="ko-KR" altLang="en-US" sz="1000" b="1" u="none" strike="noStrike">
                          <a:effectLst/>
                        </a:rPr>
                        <a:t>기술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981507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자원</a:t>
                      </a:r>
                      <a:r>
                        <a:rPr lang="en-US" altLang="ko-KR" sz="1000" b="1" u="none" strike="noStrike" dirty="0">
                          <a:effectLst/>
                        </a:rPr>
                        <a:t>/</a:t>
                      </a:r>
                      <a:r>
                        <a:rPr lang="ko-KR" altLang="en-US" sz="1000" b="1" u="none" strike="noStrike" dirty="0">
                          <a:effectLst/>
                        </a:rPr>
                        <a:t>순환경제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96428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에너지 전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125737"/>
                  </a:ext>
                </a:extLst>
              </a:tr>
              <a:tr h="255121">
                <a:tc rowSpan="8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사회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안전보건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altLang="ko-KR" sz="1000" b="0" i="0" u="none" strike="noStrike" dirty="0">
                        <a:solidFill>
                          <a:schemeClr val="accent2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941237"/>
                  </a:ext>
                </a:extLst>
              </a:tr>
              <a:tr h="201510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지역사회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07030"/>
                  </a:ext>
                </a:extLst>
              </a:tr>
              <a:tr h="284149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인적자원관리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◎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74824"/>
                  </a:ext>
                </a:extLst>
              </a:tr>
              <a:tr h="128478">
                <a:tc vMerge="1">
                  <a:txBody>
                    <a:bodyPr/>
                    <a:lstStyle/>
                    <a:p>
                      <a:pPr algn="l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1" u="none" strike="noStrike" dirty="0">
                          <a:effectLst/>
                        </a:rPr>
                        <a:t>공급망 관리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675257"/>
                  </a:ext>
                </a:extLst>
              </a:tr>
              <a:tr h="128478"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 운영 관리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696076"/>
                  </a:ext>
                </a:extLst>
              </a:tr>
              <a:tr h="128478"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책임 투자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2378193"/>
                  </a:ext>
                </a:extLst>
              </a:tr>
              <a:tr h="128478"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및 고객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◎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500727"/>
                  </a:ext>
                </a:extLst>
              </a:tr>
              <a:tr h="128478"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9" marR="6949" marT="6949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 운영 관리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 panose="020B0503020000020004" pitchFamily="50" charset="-127"/>
                          <a:cs typeface="+mn-cs"/>
                        </a:rPr>
                        <a:t>○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026281"/>
                  </a:ext>
                </a:extLst>
              </a:tr>
            </a:tbl>
          </a:graphicData>
        </a:graphic>
      </p:graphicFrame>
      <p:sp>
        <p:nvSpPr>
          <p:cNvPr id="79" name="직사각형 78">
            <a:extLst>
              <a:ext uri="{FF2B5EF4-FFF2-40B4-BE49-F238E27FC236}">
                <a16:creationId xmlns:a16="http://schemas.microsoft.com/office/drawing/2014/main" id="{0BEE4976-0121-4354-8541-A0BF108E0AD1}"/>
              </a:ext>
            </a:extLst>
          </p:cNvPr>
          <p:cNvSpPr/>
          <p:nvPr/>
        </p:nvSpPr>
        <p:spPr>
          <a:xfrm>
            <a:off x="8972055" y="1"/>
            <a:ext cx="3218221" cy="10336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페이지 병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구성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B43485FD-F78B-41CF-B3DF-7A79A1398EE7}"/>
              </a:ext>
            </a:extLst>
          </p:cNvPr>
          <p:cNvGrpSpPr/>
          <p:nvPr/>
        </p:nvGrpSpPr>
        <p:grpSpPr>
          <a:xfrm>
            <a:off x="352742" y="1577951"/>
            <a:ext cx="8662177" cy="1112122"/>
            <a:chOff x="332993" y="1552688"/>
            <a:chExt cx="8662177" cy="1300248"/>
          </a:xfrm>
        </p:grpSpPr>
        <p:sp>
          <p:nvSpPr>
            <p:cNvPr id="36" name="사각형: 둥근 모서리 35">
              <a:extLst>
                <a:ext uri="{FF2B5EF4-FFF2-40B4-BE49-F238E27FC236}">
                  <a16:creationId xmlns:a16="http://schemas.microsoft.com/office/drawing/2014/main" id="{990ADB87-8ABB-4C67-BB52-05A8FD9905B9}"/>
                </a:ext>
              </a:extLst>
            </p:cNvPr>
            <p:cNvSpPr/>
            <p:nvPr/>
          </p:nvSpPr>
          <p:spPr>
            <a:xfrm>
              <a:off x="427900" y="1942197"/>
              <a:ext cx="5884124" cy="204792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주요 평가기관을 소개하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주요 평가항목을 정리하였습니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A91E5CAF-438B-48B8-9251-0572309DFC0C}"/>
                </a:ext>
              </a:extLst>
            </p:cNvPr>
            <p:cNvCxnSpPr>
              <a:cxnSpLocks/>
            </p:cNvCxnSpPr>
            <p:nvPr/>
          </p:nvCxnSpPr>
          <p:spPr>
            <a:xfrm>
              <a:off x="352742" y="2246114"/>
              <a:ext cx="8642428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295A6019-75FA-44B2-8CF6-1E9A3392540E}"/>
                </a:ext>
              </a:extLst>
            </p:cNvPr>
            <p:cNvCxnSpPr>
              <a:cxnSpLocks/>
            </p:cNvCxnSpPr>
            <p:nvPr/>
          </p:nvCxnSpPr>
          <p:spPr>
            <a:xfrm>
              <a:off x="332993" y="2852936"/>
              <a:ext cx="8634659" cy="0"/>
            </a:xfrm>
            <a:prstGeom prst="line">
              <a:avLst/>
            </a:prstGeom>
            <a:ln w="3175">
              <a:solidFill>
                <a:srgbClr val="D04A02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A0718CCE-ABB5-4889-8409-C687EEDCE0DC}"/>
                </a:ext>
              </a:extLst>
            </p:cNvPr>
            <p:cNvSpPr/>
            <p:nvPr/>
          </p:nvSpPr>
          <p:spPr>
            <a:xfrm>
              <a:off x="47334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기관</a:t>
              </a:r>
            </a:p>
          </p:txBody>
        </p:sp>
        <p:sp>
          <p:nvSpPr>
            <p:cNvPr id="40" name="사각형: 둥근 모서리 39">
              <a:extLst>
                <a:ext uri="{FF2B5EF4-FFF2-40B4-BE49-F238E27FC236}">
                  <a16:creationId xmlns:a16="http://schemas.microsoft.com/office/drawing/2014/main" id="{1E85428B-232D-41C6-A967-56EBEF2C7D62}"/>
                </a:ext>
              </a:extLst>
            </p:cNvPr>
            <p:cNvSpPr/>
            <p:nvPr/>
          </p:nvSpPr>
          <p:spPr>
            <a:xfrm>
              <a:off x="240678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bg1">
                <a:lumMod val="9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평가 요소</a:t>
              </a:r>
            </a:p>
          </p:txBody>
        </p:sp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28D0083D-9122-4571-AB3D-A5C0A1920A8F}"/>
                </a:ext>
              </a:extLst>
            </p:cNvPr>
            <p:cNvSpPr/>
            <p:nvPr/>
          </p:nvSpPr>
          <p:spPr>
            <a:xfrm>
              <a:off x="4340226" y="2379967"/>
              <a:ext cx="1693826" cy="357416"/>
            </a:xfrm>
            <a:prstGeom prst="roundRect">
              <a:avLst>
                <a:gd name="adj" fmla="val 9800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산업별 고려사항</a:t>
              </a:r>
            </a:p>
          </p:txBody>
        </p:sp>
        <p:sp>
          <p:nvSpPr>
            <p:cNvPr id="4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BF086718-8F01-46C9-AF73-CF146C02AE94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70792" y="1552688"/>
              <a:ext cx="7927234" cy="38446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6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E7200F3-BDBD-43A3-B03E-37374EA447B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31449424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기관에 대한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15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바로가기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  <a:hlinkClick r:id="" action="ppaction://noaction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" action="ppaction://noaction"/>
                        </a:rPr>
                        <a:t>https://esg.krx.co.kr/contents/02/02020000/ESG02020000.jsp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2E1DB70D-94F4-4121-90D4-E9A0E1C515DA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개요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77661B76-3B27-498D-841C-1C0FF2B43444}"/>
              </a:ext>
            </a:extLst>
          </p:cNvPr>
          <p:cNvGrpSpPr/>
          <p:nvPr/>
        </p:nvGrpSpPr>
        <p:grpSpPr>
          <a:xfrm>
            <a:off x="8835174" y="1507823"/>
            <a:ext cx="152360" cy="4896000"/>
            <a:chOff x="9201470" y="1601344"/>
            <a:chExt cx="188139" cy="4198758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162F7871-1AF0-487C-834C-71F490B98C58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A4594333-D530-4E68-A344-B86B686AEB69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F668D82F-4C60-4401-B035-D44D86D25B66}"/>
                  </a:ext>
                </a:extLst>
              </p:cNvPr>
              <p:cNvSpPr/>
              <p:nvPr/>
            </p:nvSpPr>
            <p:spPr>
              <a:xfrm>
                <a:off x="9201495" y="2407049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F95BCA07-7119-4E48-B4E2-265AFA1D49BC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475320F-5D09-4980-AA70-664F90C71B9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97638200-B6B8-489B-8AC5-2FE260771D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7" name="그림 26">
              <a:extLst>
                <a:ext uri="{FF2B5EF4-FFF2-40B4-BE49-F238E27FC236}">
                  <a16:creationId xmlns:a16="http://schemas.microsoft.com/office/drawing/2014/main" id="{309BEAF9-8876-4E8D-AE2A-01B00CFD1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8747876B-289D-4553-861D-C94DEAE6A6D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A01CE857-A3E7-4E3E-9B6F-DAD0601BB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2DA535E-EFAA-45D7-BA7D-99320F12D19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AED175F-6586-4CC6-BC32-77D82CA412A5}"/>
              </a:ext>
            </a:extLst>
          </p:cNvPr>
          <p:cNvSpPr txBox="1"/>
          <p:nvPr/>
        </p:nvSpPr>
        <p:spPr>
          <a:xfrm>
            <a:off x="581067" y="1702522"/>
            <a:ext cx="276423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등급 조회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AF6554D-F475-425C-AE31-B225C6148DD6}"/>
              </a:ext>
            </a:extLst>
          </p:cNvPr>
          <p:cNvSpPr txBox="1"/>
          <p:nvPr/>
        </p:nvSpPr>
        <p:spPr>
          <a:xfrm>
            <a:off x="548038" y="2077768"/>
            <a:ext cx="8193156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한국거래소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KRX)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는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RX EGS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털을 통해 국내 상장기업들의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등급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경영보고서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배구조보고서 등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을  제공 중</a:t>
            </a:r>
            <a:endParaRPr lang="en-US" altLang="ko-KR" sz="9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666985" latinLnBrk="1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KRX ESG 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털 내 </a:t>
            </a: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'ESG 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등급 조회</a:t>
            </a:r>
            <a:r>
              <a:rPr lang="en-US" altLang="ko-KR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'</a:t>
            </a:r>
            <a:r>
              <a:rPr lang="ko-KR" altLang="en-US" sz="9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70C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바로가기 </a:t>
            </a: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1D08C99-9E7C-4874-9695-A6862CB269B6}"/>
              </a:ext>
            </a:extLst>
          </p:cNvPr>
          <p:cNvSpPr/>
          <p:nvPr/>
        </p:nvSpPr>
        <p:spPr>
          <a:xfrm>
            <a:off x="397376" y="22474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EDF665F5-21D7-4F95-A3E7-C76C9BB6F901}"/>
              </a:ext>
            </a:extLst>
          </p:cNvPr>
          <p:cNvSpPr/>
          <p:nvPr/>
        </p:nvSpPr>
        <p:spPr>
          <a:xfrm>
            <a:off x="8972055" y="1"/>
            <a:ext cx="3218221" cy="10336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페이지 병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구성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5580063-4089-4208-AE57-CBB44403BCF3}"/>
              </a:ext>
            </a:extLst>
          </p:cNvPr>
          <p:cNvSpPr/>
          <p:nvPr/>
        </p:nvSpPr>
        <p:spPr>
          <a:xfrm>
            <a:off x="397375" y="1612008"/>
            <a:ext cx="8193155" cy="846015"/>
          </a:xfrm>
          <a:prstGeom prst="rect">
            <a:avLst/>
          </a:prstGeom>
          <a:solidFill>
            <a:srgbClr val="D9D9D9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FF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D08BDA96-D5E0-4C7C-91DB-762469938041}"/>
              </a:ext>
            </a:extLst>
          </p:cNvPr>
          <p:cNvSpPr/>
          <p:nvPr/>
        </p:nvSpPr>
        <p:spPr>
          <a:xfrm>
            <a:off x="3935760" y="1857673"/>
            <a:ext cx="936104" cy="26583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900" b="1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삭제 </a:t>
            </a:r>
            <a:r>
              <a:rPr lang="en-US" altLang="ko-KR" sz="900" b="1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(2023.09.01)</a:t>
            </a:r>
            <a:endParaRPr lang="ko-KR" altLang="en-US" sz="900" b="1" dirty="0">
              <a:solidFill>
                <a:srgbClr val="FF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1ECCA925-F4D2-4B2F-9ED8-19E367CD374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854649763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9112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044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안내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4C1F76F-DDD7-4F2F-B66A-68F3E84844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B6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300" b="1" i="0" u="none" strike="sng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</a:t>
            </a:r>
            <a:endParaRPr kumimoji="0" lang="en-US" altLang="ko-KR" sz="1300" b="1" i="0" u="none" strike="sng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335C3E54-F819-482A-AAE2-182FAED61E66}"/>
              </a:ext>
            </a:extLst>
          </p:cNvPr>
          <p:cNvSpPr/>
          <p:nvPr/>
        </p:nvSpPr>
        <p:spPr>
          <a:xfrm>
            <a:off x="447327" y="2199994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의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념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1D268D9A-3D26-42AA-844A-FAEF6258403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EC29B2B7-35CD-4709-9582-98E92252A7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5718E162-FD06-4E41-81A2-AEF02E59F49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3C1A3C54-28F1-4485-9F81-A753165EF4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9989C151-CEF0-46E4-A340-1830D168EF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F2A73B97-EE53-44AF-8D3B-F9E9FA1F7BBD}"/>
              </a:ext>
            </a:extLst>
          </p:cNvPr>
          <p:cNvSpPr/>
          <p:nvPr/>
        </p:nvSpPr>
        <p:spPr>
          <a:xfrm>
            <a:off x="523531" y="2363575"/>
            <a:ext cx="8105775" cy="623311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기업이 공개하는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관련 정보의 신뢰성을 제고하여 투자자와 이해관계자의 판단을 지원하기 위해서는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독립적인 제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자가 검증된 방법론에 따라 지속가능성 관련 지표와 성과를 인증하여야 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현재 국내 규제 상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에 대한 인증이 의무는 아니지만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국내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·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외 공시와 인증 의무화 추세에 따라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ESG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증에 대한 준비가 필요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</a:t>
            </a:r>
            <a:endParaRPr kumimoji="0" lang="en-US" altLang="ko-KR" sz="10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15F4F446-116F-43D4-81DA-DFA189995C36}"/>
              </a:ext>
            </a:extLst>
          </p:cNvPr>
          <p:cNvSpPr/>
          <p:nvPr/>
        </p:nvSpPr>
        <p:spPr>
          <a:xfrm>
            <a:off x="434970" y="2929270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공시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별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의무화 일정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7B66E47D-A78D-427E-8D40-7C5EED20C8ED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3A7F88C3-21E6-4EDC-B7CF-15323BB9207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8CC0E969-358D-44E6-9E81-D0D033484F3A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186332FD-A37E-477A-9991-6D7982F44D02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46C84FF3-1FED-4255-B4DF-540EF6EC590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8F9AD6D3-8430-488B-92A6-6AA277F24C4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44235177-3CA7-4FE5-ADD4-6A44D563BCB0}"/>
              </a:ext>
            </a:extLst>
          </p:cNvPr>
          <p:cNvSpPr/>
          <p:nvPr/>
        </p:nvSpPr>
        <p:spPr>
          <a:xfrm>
            <a:off x="511175" y="3584238"/>
            <a:ext cx="904306" cy="5892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증</a:t>
            </a:r>
            <a:b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요구 수준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343D9C5E-1178-4D0B-BE05-5774F65C7AA4}"/>
              </a:ext>
            </a:extLst>
          </p:cNvPr>
          <p:cNvSpPr/>
          <p:nvPr/>
        </p:nvSpPr>
        <p:spPr>
          <a:xfrm>
            <a:off x="511175" y="4235290"/>
            <a:ext cx="904306" cy="12562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증</a:t>
            </a:r>
            <a:b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도입 시기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D3D2927-DBCF-4065-95AE-B46686260B69}"/>
              </a:ext>
            </a:extLst>
          </p:cNvPr>
          <p:cNvSpPr/>
          <p:nvPr/>
        </p:nvSpPr>
        <p:spPr>
          <a:xfrm>
            <a:off x="1509348" y="3163087"/>
            <a:ext cx="2287723" cy="35086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ISSB</a:t>
            </a:r>
            <a:endParaRPr kumimoji="0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6DE7108-D80C-447B-9A04-32E2AD2662CB}"/>
              </a:ext>
            </a:extLst>
          </p:cNvPr>
          <p:cNvSpPr/>
          <p:nvPr/>
        </p:nvSpPr>
        <p:spPr>
          <a:xfrm>
            <a:off x="3923940" y="3163087"/>
            <a:ext cx="2287723" cy="35086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CSRD (EU)</a:t>
            </a:r>
            <a:endParaRPr kumimoji="0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C32B5A1-FC0B-4286-80AE-DB3B16CE948E}"/>
              </a:ext>
            </a:extLst>
          </p:cNvPr>
          <p:cNvSpPr/>
          <p:nvPr/>
        </p:nvSpPr>
        <p:spPr>
          <a:xfrm>
            <a:off x="6348505" y="3163087"/>
            <a:ext cx="2287723" cy="35086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SEC (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미국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</a:t>
            </a:r>
            <a:endParaRPr kumimoji="0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B75CF870-B5E5-46EE-A565-66243EBA26DB}"/>
              </a:ext>
            </a:extLst>
          </p:cNvPr>
          <p:cNvSpPr/>
          <p:nvPr/>
        </p:nvSpPr>
        <p:spPr>
          <a:xfrm>
            <a:off x="1509348" y="3575132"/>
            <a:ext cx="2287723" cy="596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 내용 전반에 외부 감사 필요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세부 사항은 개별 국가 관할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2AFBD907-714C-4BFF-B1B0-34F776290D92}"/>
              </a:ext>
            </a:extLst>
          </p:cNvPr>
          <p:cNvSpPr/>
          <p:nvPr/>
        </p:nvSpPr>
        <p:spPr>
          <a:xfrm>
            <a:off x="3923940" y="3575132"/>
            <a:ext cx="2287723" cy="596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외부기관 인증 필요</a:t>
            </a:r>
            <a:b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재무감사 제공자 인증 금지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0ADD1EFF-675E-4826-AB8D-20119BF252A2}"/>
              </a:ext>
            </a:extLst>
          </p:cNvPr>
          <p:cNvSpPr/>
          <p:nvPr/>
        </p:nvSpPr>
        <p:spPr>
          <a:xfrm>
            <a:off x="6348505" y="3575132"/>
            <a:ext cx="2287723" cy="596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Scope 1·2 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에 한해 인증 필요</a:t>
            </a: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재무 감사 제공자 인증 가능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D110D2A7-F780-4D39-8B51-674D0FBB60FD}"/>
              </a:ext>
            </a:extLst>
          </p:cNvPr>
          <p:cNvSpPr/>
          <p:nvPr/>
        </p:nvSpPr>
        <p:spPr>
          <a:xfrm>
            <a:off x="511175" y="5541615"/>
            <a:ext cx="8105774" cy="4132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                   현재 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 인증 의무 규제는 없으나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2025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이후 단계적 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 의무화에 따라 인증 의무화 추진 가능성 존재</a:t>
            </a:r>
            <a:endParaRPr kumimoji="0" lang="en-US" altLang="ko-KR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CEDB6664-034F-4B48-898A-E496BCC9770D}"/>
              </a:ext>
            </a:extLst>
          </p:cNvPr>
          <p:cNvSpPr/>
          <p:nvPr/>
        </p:nvSpPr>
        <p:spPr>
          <a:xfrm>
            <a:off x="1509348" y="4232951"/>
            <a:ext cx="2287723" cy="12720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개별 국가 관할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*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증 기준 수립 중으로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2024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말</a:t>
            </a:r>
            <a:b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확정 예정 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ISSA 5000)</a:t>
            </a:r>
            <a:endParaRPr kumimoji="0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81F68B8C-7B3A-4E7A-9639-9DE0D6440012}"/>
              </a:ext>
            </a:extLst>
          </p:cNvPr>
          <p:cNvSpPr/>
          <p:nvPr/>
        </p:nvSpPr>
        <p:spPr>
          <a:xfrm>
            <a:off x="3923940" y="4232951"/>
            <a:ext cx="2287723" cy="12720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4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한적 확신</a:t>
            </a:r>
            <a:r>
              <a:rPr kumimoji="0" lang="en-US" altLang="ko-KR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수준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7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합리적 확신</a:t>
            </a:r>
            <a:r>
              <a:rPr kumimoji="0" lang="en-US" altLang="ko-KR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수준의 인증으로의 확대 여부 결정 예정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*  2026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자체 인증 기준 제공 예정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A38E113-E01B-4995-B797-9463AC6E23C8}"/>
              </a:ext>
            </a:extLst>
          </p:cNvPr>
          <p:cNvSpPr/>
          <p:nvPr/>
        </p:nvSpPr>
        <p:spPr>
          <a:xfrm>
            <a:off x="6348505" y="4232951"/>
            <a:ext cx="2287723" cy="12720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상장 대기업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4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한적 확신 수준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6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합리적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확신 수준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상장 </a:t>
            </a:r>
            <a:r>
              <a:rPr kumimoji="0" lang="ko-KR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중기업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5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한적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확신 수준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027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년 </a:t>
            </a: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~ : </a:t>
            </a:r>
            <a:r>
              <a:rPr kumimoji="0" lang="ko-KR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합리적 확신 수준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8673EEB-7E39-477E-8F51-317339384434}"/>
              </a:ext>
            </a:extLst>
          </p:cNvPr>
          <p:cNvSpPr/>
          <p:nvPr/>
        </p:nvSpPr>
        <p:spPr>
          <a:xfrm>
            <a:off x="590043" y="5618229"/>
            <a:ext cx="787337" cy="2814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국내</a:t>
            </a: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7421B234-3B8D-49C0-8F35-680E56C825DE}"/>
              </a:ext>
            </a:extLst>
          </p:cNvPr>
          <p:cNvSpPr/>
          <p:nvPr/>
        </p:nvSpPr>
        <p:spPr>
          <a:xfrm>
            <a:off x="6393174" y="4279723"/>
            <a:ext cx="836716" cy="1716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상장대기업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5A5628DD-8C1B-4DC7-ABE7-C344F775D355}"/>
              </a:ext>
            </a:extLst>
          </p:cNvPr>
          <p:cNvSpPr/>
          <p:nvPr/>
        </p:nvSpPr>
        <p:spPr>
          <a:xfrm>
            <a:off x="6393174" y="4919872"/>
            <a:ext cx="836716" cy="1716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상장중기업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5205BCA-80E8-49B2-A818-111B8B2579BE}"/>
              </a:ext>
            </a:extLst>
          </p:cNvPr>
          <p:cNvSpPr/>
          <p:nvPr/>
        </p:nvSpPr>
        <p:spPr>
          <a:xfrm>
            <a:off x="511174" y="5992767"/>
            <a:ext cx="8105773" cy="315463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한적 확신 수준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중대한 위반 사항이 발견되지 않았다는 정도의 인증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합리적 확신 수준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재무감사에 준한 수준의 인증으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한적 검증보다 강화된 긍정적 의사 표시 형태의 인증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3ADF67A0-857E-49BC-9868-CC4AF24A7632}"/>
              </a:ext>
            </a:extLst>
          </p:cNvPr>
          <p:cNvSpPr/>
          <p:nvPr/>
        </p:nvSpPr>
        <p:spPr>
          <a:xfrm>
            <a:off x="698997" y="3212133"/>
            <a:ext cx="5400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분</a:t>
            </a:r>
            <a:endParaRPr kumimoji="0" lang="en-US" altLang="ko-KR" sz="1050" b="1" i="0" u="sng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4EAA6DA1-7454-44C3-AC10-E103B7535481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51118AE5-EBDD-49B9-AC7D-95A2F61ED49A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D8B8D586-E8C8-49C6-BD7D-511E1F997334}"/>
              </a:ext>
            </a:extLst>
          </p:cNvPr>
          <p:cNvSpPr/>
          <p:nvPr/>
        </p:nvSpPr>
        <p:spPr>
          <a:xfrm>
            <a:off x="447649" y="1884978"/>
            <a:ext cx="5884124" cy="17516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인증 프로세스 및 기준을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D018E01F-BF19-4E43-B042-34245559A48E}"/>
              </a:ext>
            </a:extLst>
          </p:cNvPr>
          <p:cNvCxnSpPr>
            <a:cxnSpLocks/>
          </p:cNvCxnSpPr>
          <p:nvPr/>
        </p:nvCxnSpPr>
        <p:spPr>
          <a:xfrm>
            <a:off x="372491" y="2144923"/>
            <a:ext cx="846268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>
            <a:extLst>
              <a:ext uri="{FF2B5EF4-FFF2-40B4-BE49-F238E27FC236}">
                <a16:creationId xmlns:a16="http://schemas.microsoft.com/office/drawing/2014/main" id="{44635D94-5D28-4BD9-9835-ABB05492F4AE}"/>
              </a:ext>
            </a:extLst>
          </p:cNvPr>
          <p:cNvSpPr/>
          <p:nvPr/>
        </p:nvSpPr>
        <p:spPr>
          <a:xfrm>
            <a:off x="1214469" y="1620439"/>
            <a:ext cx="392483" cy="23971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333883447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9112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044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안내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335C3E54-F819-482A-AAE2-182FAED61E66}"/>
              </a:ext>
            </a:extLst>
          </p:cNvPr>
          <p:cNvSpPr/>
          <p:nvPr/>
        </p:nvSpPr>
        <p:spPr>
          <a:xfrm>
            <a:off x="420936" y="1647850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절차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1D268D9A-3D26-42AA-844A-FAEF6258403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EC29B2B7-35CD-4709-9582-98E92252A7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5718E162-FD06-4E41-81A2-AEF02E59F49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3C1A3C54-28F1-4485-9F81-A753165EF4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9989C151-CEF0-46E4-A340-1830D168EF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66C3C753-56C3-4FAE-B4CD-9919FFFB5425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DBC443BB-7156-4A44-8A2C-6B2F13124C80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24006F17-5110-4033-9E90-729EF49C064A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21F24843-8D74-4BCC-BB1D-8F29EC8BE49E}"/>
                  </a:ext>
                </a:extLst>
              </p:cNvPr>
              <p:cNvSpPr/>
              <p:nvPr/>
            </p:nvSpPr>
            <p:spPr>
              <a:xfrm>
                <a:off x="9201495" y="324007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C1E947A2-0683-4B11-AAEA-C2694C9BFC34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F0CE2A8C-3BC9-4CCE-B275-5F23E9272ED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id="{32A6FA60-3292-4516-8E16-D67C457B4402}"/>
              </a:ext>
            </a:extLst>
          </p:cNvPr>
          <p:cNvGrpSpPr/>
          <p:nvPr/>
        </p:nvGrpSpPr>
        <p:grpSpPr>
          <a:xfrm>
            <a:off x="551383" y="2016977"/>
            <a:ext cx="8065566" cy="2643977"/>
            <a:chOff x="871656" y="2276872"/>
            <a:chExt cx="7744625" cy="2029334"/>
          </a:xfrm>
        </p:grpSpPr>
        <p:sp>
          <p:nvSpPr>
            <p:cNvPr id="24" name="화살표: U자형 23">
              <a:extLst>
                <a:ext uri="{FF2B5EF4-FFF2-40B4-BE49-F238E27FC236}">
                  <a16:creationId xmlns:a16="http://schemas.microsoft.com/office/drawing/2014/main" id="{C978A024-F691-4D2B-9677-DD03242C1544}"/>
                </a:ext>
              </a:extLst>
            </p:cNvPr>
            <p:cNvSpPr/>
            <p:nvPr/>
          </p:nvSpPr>
          <p:spPr>
            <a:xfrm rot="5400000">
              <a:off x="4398508" y="367340"/>
              <a:ext cx="1521208" cy="5950476"/>
            </a:xfrm>
            <a:prstGeom prst="uturnArrow">
              <a:avLst>
                <a:gd name="adj1" fmla="val 11847"/>
                <a:gd name="adj2" fmla="val 16114"/>
                <a:gd name="adj3" fmla="val 13259"/>
                <a:gd name="adj4" fmla="val 43750"/>
                <a:gd name="adj5" fmla="val 96638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ED288FE0-4974-464C-B942-61295EDC8B80}"/>
                </a:ext>
              </a:extLst>
            </p:cNvPr>
            <p:cNvSpPr/>
            <p:nvPr/>
          </p:nvSpPr>
          <p:spPr>
            <a:xfrm>
              <a:off x="871656" y="2276872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검증 대상 데이터 산출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성 관련 활동 성과 정리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주요 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보고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표값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산출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18189760-D0D4-4E41-AFF2-2438FB487EA3}"/>
                </a:ext>
              </a:extLst>
            </p:cNvPr>
            <p:cNvSpPr/>
            <p:nvPr/>
          </p:nvSpPr>
          <p:spPr>
            <a:xfrm>
              <a:off x="2959888" y="2276872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 공시인증 의뢰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독립적이고 자격을 갖춘 기관에 의뢰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검증 근거 자료 송부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062BB228-A4B7-4207-928E-8556A006741E}"/>
                </a:ext>
              </a:extLst>
            </p:cNvPr>
            <p:cNvSpPr/>
            <p:nvPr/>
          </p:nvSpPr>
          <p:spPr>
            <a:xfrm>
              <a:off x="5048120" y="2276872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기관의 서면 인증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보고서 작성 근거 자료에 대한 서면 인증 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(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 기준 부합 여부 판별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7EA668A3-5D04-40C3-8E54-B6F77D733A75}"/>
                </a:ext>
              </a:extLst>
            </p:cNvPr>
            <p:cNvSpPr/>
            <p:nvPr/>
          </p:nvSpPr>
          <p:spPr>
            <a:xfrm>
              <a:off x="7009979" y="2827933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기관의 실사 진행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자료 산출 시스템 및 데이터 확인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담당자 인터뷰 진행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9C114E52-24BB-4C95-A105-6356528A6D2B}"/>
                </a:ext>
              </a:extLst>
            </p:cNvPr>
            <p:cNvSpPr/>
            <p:nvPr/>
          </p:nvSpPr>
          <p:spPr>
            <a:xfrm>
              <a:off x="5048120" y="3378995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기관의 인증경과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,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개선의견 송달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 개요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결과 및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개선필요사항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전달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2F49EFDE-AE52-4772-B0B5-80BE8C5E6F28}"/>
                </a:ext>
              </a:extLst>
            </p:cNvPr>
            <p:cNvSpPr/>
            <p:nvPr/>
          </p:nvSpPr>
          <p:spPr>
            <a:xfrm>
              <a:off x="2959888" y="3378995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보고내용 수정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·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보완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개선의견서 기반 보완조치 시행 후 재검토 요청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3" name="사각형: 둥근 모서리 32">
              <a:extLst>
                <a:ext uri="{FF2B5EF4-FFF2-40B4-BE49-F238E27FC236}">
                  <a16:creationId xmlns:a16="http://schemas.microsoft.com/office/drawing/2014/main" id="{AAFCD140-750F-4792-9E8B-B47F0D66E19C}"/>
                </a:ext>
              </a:extLst>
            </p:cNvPr>
            <p:cNvSpPr/>
            <p:nvPr/>
          </p:nvSpPr>
          <p:spPr>
            <a:xfrm>
              <a:off x="871656" y="3378995"/>
              <a:ext cx="1606302" cy="927211"/>
            </a:xfrm>
            <a:prstGeom prst="roundRect">
              <a:avLst>
                <a:gd name="adj" fmla="val 9800"/>
              </a:avLst>
            </a:prstGeom>
            <a:solidFill>
              <a:schemeClr val="bg1"/>
            </a:solidFill>
            <a:ln w="31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8000" tIns="109720" rIns="36000" bIns="109720" numCol="1" spcCol="38100" rtlCol="0" anchor="t">
              <a:no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인증결과를 포함한 지속가능성 공시 보고</a:t>
              </a:r>
              <a:endPara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1450" marR="0" lvl="0" indent="-17145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 범위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방법론 등 관련 정보 게시 필요 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65FA5AB1-12A7-40F1-A598-198FD0EF7081}"/>
              </a:ext>
            </a:extLst>
          </p:cNvPr>
          <p:cNvSpPr/>
          <p:nvPr/>
        </p:nvSpPr>
        <p:spPr>
          <a:xfrm>
            <a:off x="420936" y="4883266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주체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8B722F36-CED3-4110-AFB9-AD4249A3597D}"/>
              </a:ext>
            </a:extLst>
          </p:cNvPr>
          <p:cNvSpPr/>
          <p:nvPr/>
        </p:nvSpPr>
        <p:spPr>
          <a:xfrm>
            <a:off x="511174" y="5136982"/>
            <a:ext cx="8105775" cy="416643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제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자 인증기관은 기업과 독립적이어야 하며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전문성을 바탕으로 자체 품질관리 기준을 준수하는 기관이어야 합니다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회계법인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로펌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신용평가사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전문컨설팅사 등 다양한 기관이 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증을 수행하고 있습니다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 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88CE0F49-302B-46A6-82E9-64B247E8D5B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1813637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B92A537-E4B5-4F6E-AC0C-DC326FB06E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45785" y="1601514"/>
            <a:ext cx="1741141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인사이트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CC16BCB-D05D-4647-A9A8-5A60F81B25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54111" y="1687772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48CF8DA-CCB4-4C7D-9559-DAAD5F87C4D9}"/>
              </a:ext>
            </a:extLst>
          </p:cNvPr>
          <p:cNvCxnSpPr>
            <a:cxnSpLocks/>
          </p:cNvCxnSpPr>
          <p:nvPr/>
        </p:nvCxnSpPr>
        <p:spPr>
          <a:xfrm>
            <a:off x="529920" y="1987099"/>
            <a:ext cx="46299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93B845A1-36F8-41D3-B8D8-4F908A0EE83A}"/>
              </a:ext>
            </a:extLst>
          </p:cNvPr>
          <p:cNvSpPr/>
          <p:nvPr/>
        </p:nvSpPr>
        <p:spPr>
          <a:xfrm>
            <a:off x="529921" y="2062489"/>
            <a:ext cx="4629975" cy="2787406"/>
          </a:xfrm>
          <a:prstGeom prst="rect">
            <a:avLst/>
          </a:prstGeom>
          <a:solidFill>
            <a:srgbClr val="F2F2F2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65" name="그림 64">
            <a:extLst>
              <a:ext uri="{FF2B5EF4-FFF2-40B4-BE49-F238E27FC236}">
                <a16:creationId xmlns:a16="http://schemas.microsoft.com/office/drawing/2014/main" id="{2725A22E-DCFE-4999-8530-6B5E574B31D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82" t="1651" r="2689" b="62025"/>
          <a:stretch/>
        </p:blipFill>
        <p:spPr>
          <a:xfrm>
            <a:off x="645027" y="2607345"/>
            <a:ext cx="1391154" cy="1008164"/>
          </a:xfrm>
          <a:prstGeom prst="rect">
            <a:avLst/>
          </a:prstGeom>
        </p:spPr>
      </p:pic>
      <p:sp>
        <p:nvSpPr>
          <p:cNvPr id="67" name="직사각형 66">
            <a:extLst>
              <a:ext uri="{FF2B5EF4-FFF2-40B4-BE49-F238E27FC236}">
                <a16:creationId xmlns:a16="http://schemas.microsoft.com/office/drawing/2014/main" id="{3C9BBBE4-13F2-4BAE-9295-AFBC3272844B}"/>
              </a:ext>
            </a:extLst>
          </p:cNvPr>
          <p:cNvSpPr/>
          <p:nvPr/>
        </p:nvSpPr>
        <p:spPr>
          <a:xfrm>
            <a:off x="563281" y="3615509"/>
            <a:ext cx="1418185" cy="4065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U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 지속 가능성 보고 지침 주요 내용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5FC68E20-D4E3-44D9-A0E7-43D6BA437D39}"/>
              </a:ext>
            </a:extLst>
          </p:cNvPr>
          <p:cNvSpPr/>
          <p:nvPr/>
        </p:nvSpPr>
        <p:spPr>
          <a:xfrm>
            <a:off x="662891" y="4159545"/>
            <a:ext cx="32730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2D9BCCB4-0C25-4BC4-94C5-546FF848D213}"/>
              </a:ext>
            </a:extLst>
          </p:cNvPr>
          <p:cNvSpPr/>
          <p:nvPr/>
        </p:nvSpPr>
        <p:spPr>
          <a:xfrm>
            <a:off x="1052012" y="4159549"/>
            <a:ext cx="59185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반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19C7BA40-A386-4150-87A4-24DC798820BC}"/>
              </a:ext>
            </a:extLst>
          </p:cNvPr>
          <p:cNvSpPr/>
          <p:nvPr/>
        </p:nvSpPr>
        <p:spPr>
          <a:xfrm>
            <a:off x="665555" y="4377987"/>
            <a:ext cx="33161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73BB2995-00BB-4AD9-9238-DD5327FA0116}"/>
              </a:ext>
            </a:extLst>
          </p:cNvPr>
          <p:cNvSpPr/>
          <p:nvPr/>
        </p:nvSpPr>
        <p:spPr>
          <a:xfrm>
            <a:off x="1065535" y="4387476"/>
            <a:ext cx="813233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경영</a:t>
            </a: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11BAA8E-BF05-44D7-A1A6-076A62E59EF1}"/>
              </a:ext>
            </a:extLst>
          </p:cNvPr>
          <p:cNvSpPr/>
          <p:nvPr/>
        </p:nvSpPr>
        <p:spPr>
          <a:xfrm>
            <a:off x="2076301" y="3629296"/>
            <a:ext cx="2346847" cy="15555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경영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4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 트렌드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95" name="직선 연결선 94">
            <a:extLst>
              <a:ext uri="{FF2B5EF4-FFF2-40B4-BE49-F238E27FC236}">
                <a16:creationId xmlns:a16="http://schemas.microsoft.com/office/drawing/2014/main" id="{8DA43CD1-722C-4893-AF3D-A3B48CF4F3E3}"/>
              </a:ext>
            </a:extLst>
          </p:cNvPr>
          <p:cNvCxnSpPr>
            <a:cxnSpLocks/>
          </p:cNvCxnSpPr>
          <p:nvPr/>
        </p:nvCxnSpPr>
        <p:spPr>
          <a:xfrm>
            <a:off x="5375920" y="1987099"/>
            <a:ext cx="33843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B13D4AE-867F-4C02-8C78-FE2DC0F43A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33578" y="1615206"/>
            <a:ext cx="2490614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기준서 </a:t>
            </a:r>
            <a:r>
              <a:rPr lang="ko-KR" altLang="en-US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〮</a:t>
            </a:r>
            <a:r>
              <a:rPr lang="ko-KR" altLang="en-US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사례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270889F-BAD7-4E45-A6AA-520C60533F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83449" y="1683298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cxnSp>
        <p:nvCxnSpPr>
          <p:cNvPr id="157" name="직선 연결선 156">
            <a:extLst>
              <a:ext uri="{FF2B5EF4-FFF2-40B4-BE49-F238E27FC236}">
                <a16:creationId xmlns:a16="http://schemas.microsoft.com/office/drawing/2014/main" id="{1C605E15-C72A-46C1-B19D-B52C7AC332DA}"/>
              </a:ext>
            </a:extLst>
          </p:cNvPr>
          <p:cNvCxnSpPr/>
          <p:nvPr/>
        </p:nvCxnSpPr>
        <p:spPr>
          <a:xfrm>
            <a:off x="341695" y="1268760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362FD275-9E32-459A-A29C-C0F6DBB1F2A6}"/>
              </a:ext>
            </a:extLst>
          </p:cNvPr>
          <p:cNvGrpSpPr/>
          <p:nvPr/>
        </p:nvGrpSpPr>
        <p:grpSpPr>
          <a:xfrm>
            <a:off x="5320238" y="2038613"/>
            <a:ext cx="3454944" cy="2806951"/>
            <a:chOff x="5412116" y="2261641"/>
            <a:chExt cx="1776216" cy="1534127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33D94238-726A-4CB4-ADA5-903573D50A0B}"/>
                </a:ext>
              </a:extLst>
            </p:cNvPr>
            <p:cNvSpPr/>
            <p:nvPr/>
          </p:nvSpPr>
          <p:spPr>
            <a:xfrm>
              <a:off x="5448396" y="2265518"/>
              <a:ext cx="1739936" cy="1410675"/>
            </a:xfrm>
            <a:prstGeom prst="rect">
              <a:avLst/>
            </a:prstGeom>
            <a:solidFill>
              <a:srgbClr val="D9D9D9">
                <a:alpha val="69804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AE4EF349-2AC2-4EA9-8954-E70D3DB2D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32363" y="2498924"/>
              <a:ext cx="886184" cy="1177268"/>
            </a:xfrm>
            <a:prstGeom prst="rect">
              <a:avLst/>
            </a:prstGeom>
          </p:spPr>
        </p:pic>
        <p:sp>
          <p:nvSpPr>
            <p:cNvPr id="6" name="사각형: 둥근 위쪽 모서리 5">
              <a:extLst>
                <a:ext uri="{FF2B5EF4-FFF2-40B4-BE49-F238E27FC236}">
                  <a16:creationId xmlns:a16="http://schemas.microsoft.com/office/drawing/2014/main" id="{87DF469B-DE51-4068-A6C0-357C7B8CA85A}"/>
                </a:ext>
              </a:extLst>
            </p:cNvPr>
            <p:cNvSpPr/>
            <p:nvPr/>
          </p:nvSpPr>
          <p:spPr>
            <a:xfrm>
              <a:off x="5447372" y="3257686"/>
              <a:ext cx="1739448" cy="538082"/>
            </a:xfrm>
            <a:prstGeom prst="round2SameRect">
              <a:avLst>
                <a:gd name="adj1" fmla="val 33017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8513533-C8F9-47A8-93EA-84A74F99BB11}"/>
                </a:ext>
              </a:extLst>
            </p:cNvPr>
            <p:cNvSpPr txBox="1"/>
            <p:nvPr/>
          </p:nvSpPr>
          <p:spPr>
            <a:xfrm>
              <a:off x="5412116" y="2261641"/>
              <a:ext cx="1717937" cy="1484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(Global Reporting Initiative)</a:t>
              </a:r>
            </a:p>
          </p:txBody>
        </p:sp>
      </p:grpSp>
      <p:sp>
        <p:nvSpPr>
          <p:cNvPr id="58" name="타원 57">
            <a:extLst>
              <a:ext uri="{FF2B5EF4-FFF2-40B4-BE49-F238E27FC236}">
                <a16:creationId xmlns:a16="http://schemas.microsoft.com/office/drawing/2014/main" id="{B06F00C8-8AED-490C-ACE3-E948F4DE56D6}"/>
              </a:ext>
            </a:extLst>
          </p:cNvPr>
          <p:cNvSpPr/>
          <p:nvPr/>
        </p:nvSpPr>
        <p:spPr>
          <a:xfrm>
            <a:off x="6644413" y="4556311"/>
            <a:ext cx="90000" cy="9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타원 58">
            <a:extLst>
              <a:ext uri="{FF2B5EF4-FFF2-40B4-BE49-F238E27FC236}">
                <a16:creationId xmlns:a16="http://schemas.microsoft.com/office/drawing/2014/main" id="{CDBE74CC-96BB-4375-9346-A127E148B08C}"/>
              </a:ext>
            </a:extLst>
          </p:cNvPr>
          <p:cNvSpPr/>
          <p:nvPr/>
        </p:nvSpPr>
        <p:spPr>
          <a:xfrm>
            <a:off x="6850813" y="4556311"/>
            <a:ext cx="90000" cy="90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3D8EDC50-27D2-4318-A805-7AC2A4E66CF5}"/>
              </a:ext>
            </a:extLst>
          </p:cNvPr>
          <p:cNvSpPr/>
          <p:nvPr/>
        </p:nvSpPr>
        <p:spPr>
          <a:xfrm>
            <a:off x="7047741" y="4556311"/>
            <a:ext cx="90000" cy="90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E1137A9D-0BA0-46B3-933E-8DF454E55ECC}"/>
              </a:ext>
            </a:extLst>
          </p:cNvPr>
          <p:cNvSpPr/>
          <p:nvPr/>
        </p:nvSpPr>
        <p:spPr>
          <a:xfrm>
            <a:off x="5405331" y="4032978"/>
            <a:ext cx="3341585" cy="485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대한 국문 번역본 및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가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작성한 해설과 사례를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해보세요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8AD8ACE-868C-423D-9EA0-A5DACCA9A2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46592" y="2601910"/>
            <a:ext cx="1391154" cy="1008163"/>
          </a:xfrm>
          <a:prstGeom prst="rect">
            <a:avLst/>
          </a:prstGeom>
        </p:spPr>
      </p:pic>
      <p:sp>
        <p:nvSpPr>
          <p:cNvPr id="102" name="타원 101">
            <a:extLst>
              <a:ext uri="{FF2B5EF4-FFF2-40B4-BE49-F238E27FC236}">
                <a16:creationId xmlns:a16="http://schemas.microsoft.com/office/drawing/2014/main" id="{6749559F-25F9-4057-8CB3-7DA31FE24A45}"/>
              </a:ext>
            </a:extLst>
          </p:cNvPr>
          <p:cNvSpPr/>
          <p:nvPr/>
        </p:nvSpPr>
        <p:spPr>
          <a:xfrm>
            <a:off x="7240165" y="4555520"/>
            <a:ext cx="90000" cy="90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타원 103">
            <a:extLst>
              <a:ext uri="{FF2B5EF4-FFF2-40B4-BE49-F238E27FC236}">
                <a16:creationId xmlns:a16="http://schemas.microsoft.com/office/drawing/2014/main" id="{41C284BF-D527-4DCB-9B9C-9B3ABCC498E5}"/>
              </a:ext>
            </a:extLst>
          </p:cNvPr>
          <p:cNvSpPr/>
          <p:nvPr/>
        </p:nvSpPr>
        <p:spPr>
          <a:xfrm>
            <a:off x="7428262" y="4555520"/>
            <a:ext cx="90000" cy="90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CDC1150D-37D8-4517-8C58-E3438C54F37B}"/>
              </a:ext>
            </a:extLst>
          </p:cNvPr>
          <p:cNvSpPr/>
          <p:nvPr/>
        </p:nvSpPr>
        <p:spPr>
          <a:xfrm>
            <a:off x="3620184" y="3621375"/>
            <a:ext cx="1379207" cy="35099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10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넷제로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경제지수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</a:t>
            </a: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18FB352A-CA04-4051-BC15-65575CB2BB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67247" y="2593453"/>
            <a:ext cx="1379207" cy="1016619"/>
          </a:xfrm>
          <a:prstGeom prst="rect">
            <a:avLst/>
          </a:prstGeom>
        </p:spPr>
      </p:pic>
      <p:graphicFrame>
        <p:nvGraphicFramePr>
          <p:cNvPr id="53" name="표 10">
            <a:extLst>
              <a:ext uri="{FF2B5EF4-FFF2-40B4-BE49-F238E27FC236}">
                <a16:creationId xmlns:a16="http://schemas.microsoft.com/office/drawing/2014/main" id="{8927A1A5-F6A2-473F-8414-E02CE7D67A50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200"/>
          <a:ext cx="2922885" cy="70690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6616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더보기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01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 탭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auto scrolling </a:t>
                      </a:r>
                      <a:r>
                        <a:rPr lang="ko-KR" altLang="en-US" sz="8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적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047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-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레포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: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6305033"/>
                  </a:ext>
                </a:extLst>
              </a:tr>
              <a:tr h="8047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-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: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생버튼 및 영상분량 노출된 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는 전체열람허용 가능 컨텐츠만 로그인 여부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상관없이 열람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 외 컨텐츠를 비로그인 회원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유도 팝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V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 상세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(ID:L010/L011/L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808678"/>
                  </a:ext>
                </a:extLst>
              </a:tr>
              <a:tr h="28013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기준서 </a:t>
                      </a: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설〮사례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auto scrolling </a:t>
                      </a:r>
                      <a:r>
                        <a:rPr lang="ko-KR" altLang="en-US" sz="8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</a:rPr>
                        <a:t>적용</a:t>
                      </a:r>
                      <a:endParaRPr lang="en-US" altLang="ko-KR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더보기버튼 클릭 시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800" b="0" kern="1200" spc="-5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5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</a:t>
                      </a:r>
                      <a:r>
                        <a:rPr lang="en-US" altLang="ko-KR" sz="800" b="0" kern="1200" spc="-5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R001]  </a:t>
                      </a:r>
                      <a:r>
                        <a:rPr lang="ko-KR" altLang="en-US" sz="800" b="0" kern="1200" spc="-5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기준서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 설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서 이미지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공시 기준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32EE777F-DBC3-4490-B0FA-1A71F758E2F6}"/>
              </a:ext>
            </a:extLst>
          </p:cNvPr>
          <p:cNvGraphicFramePr>
            <a:graphicFrameLocks noGrp="1"/>
          </p:cNvGraphicFramePr>
          <p:nvPr/>
        </p:nvGraphicFramePr>
        <p:xfrm>
          <a:off x="9713054" y="1599084"/>
          <a:ext cx="2318375" cy="749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7513">
                  <a:extLst>
                    <a:ext uri="{9D8B030D-6E8A-4147-A177-3AD203B41FA5}">
                      <a16:colId xmlns:a16="http://schemas.microsoft.com/office/drawing/2014/main" val="2163711544"/>
                    </a:ext>
                  </a:extLst>
                </a:gridCol>
                <a:gridCol w="1490862">
                  <a:extLst>
                    <a:ext uri="{9D8B030D-6E8A-4147-A177-3AD203B41FA5}">
                      <a16:colId xmlns:a16="http://schemas.microsoft.com/office/drawing/2014/main" val="1669303152"/>
                    </a:ext>
                  </a:extLst>
                </a:gridCol>
              </a:tblGrid>
              <a:tr h="44420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986304"/>
                  </a:ext>
                </a:extLst>
              </a:tr>
              <a:tr h="305591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</a:t>
                      </a: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45722"/>
                  </a:ext>
                </a:extLst>
              </a:tr>
            </a:tbl>
          </a:graphicData>
        </a:graphic>
      </p:graphicFrame>
      <p:sp>
        <p:nvSpPr>
          <p:cNvPr id="55" name="직사각형 54">
            <a:extLst>
              <a:ext uri="{FF2B5EF4-FFF2-40B4-BE49-F238E27FC236}">
                <a16:creationId xmlns:a16="http://schemas.microsoft.com/office/drawing/2014/main" id="{80D6EF10-1F45-40BA-A5D2-ACDAC95BDCEB}"/>
              </a:ext>
            </a:extLst>
          </p:cNvPr>
          <p:cNvSpPr/>
          <p:nvPr/>
        </p:nvSpPr>
        <p:spPr>
          <a:xfrm>
            <a:off x="468446" y="1631060"/>
            <a:ext cx="4751394" cy="3305565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BDF31D10-436C-49EC-9A8C-910976FBA930}"/>
              </a:ext>
            </a:extLst>
          </p:cNvPr>
          <p:cNvSpPr/>
          <p:nvPr/>
        </p:nvSpPr>
        <p:spPr>
          <a:xfrm>
            <a:off x="430098" y="1566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4371FF71-3C28-443E-A072-138C4F56A5A4}"/>
              </a:ext>
            </a:extLst>
          </p:cNvPr>
          <p:cNvGraphicFramePr>
            <a:graphicFrameLocks noGrp="1"/>
          </p:cNvGraphicFramePr>
          <p:nvPr/>
        </p:nvGraphicFramePr>
        <p:xfrm>
          <a:off x="9737597" y="6307714"/>
          <a:ext cx="2269288" cy="14264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9288">
                  <a:extLst>
                    <a:ext uri="{9D8B030D-6E8A-4147-A177-3AD203B41FA5}">
                      <a16:colId xmlns:a16="http://schemas.microsoft.com/office/drawing/2014/main" val="3329868428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643985585"/>
                    </a:ext>
                  </a:extLst>
                </a:gridCol>
              </a:tblGrid>
              <a:tr h="201212"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02] GRI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933885"/>
                  </a:ext>
                </a:extLst>
              </a:tr>
              <a:tr h="201212"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B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03] ISSB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448689"/>
                  </a:ext>
                </a:extLst>
              </a:tr>
              <a:tr h="201212"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04] SEC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995276"/>
                  </a:ext>
                </a:extLst>
              </a:tr>
              <a:tr h="2012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08] CSRD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3774690"/>
                  </a:ext>
                </a:extLst>
              </a:tr>
              <a:tr h="201212"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 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09] TNFD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239741"/>
                  </a:ext>
                </a:extLst>
              </a:tr>
              <a:tr h="201212"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20000"/>
                        </a:lnSpc>
                      </a:pPr>
                      <a:r>
                        <a:rPr 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R010] TCFD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892503"/>
                  </a:ext>
                </a:extLst>
              </a:tr>
            </a:tbl>
          </a:graphicData>
        </a:graphic>
      </p:graphicFrame>
      <p:sp>
        <p:nvSpPr>
          <p:cNvPr id="61" name="직사각형 60">
            <a:extLst>
              <a:ext uri="{FF2B5EF4-FFF2-40B4-BE49-F238E27FC236}">
                <a16:creationId xmlns:a16="http://schemas.microsoft.com/office/drawing/2014/main" id="{D722A3C7-8FE6-4644-8B5B-86FE5CFE273B}"/>
              </a:ext>
            </a:extLst>
          </p:cNvPr>
          <p:cNvSpPr/>
          <p:nvPr/>
        </p:nvSpPr>
        <p:spPr>
          <a:xfrm>
            <a:off x="5319739" y="1631061"/>
            <a:ext cx="3596125" cy="3305564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70EA7697-E182-4D37-967B-DDD612526740}"/>
              </a:ext>
            </a:extLst>
          </p:cNvPr>
          <p:cNvSpPr/>
          <p:nvPr/>
        </p:nvSpPr>
        <p:spPr>
          <a:xfrm>
            <a:off x="5290901" y="15812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6DD8212-7EC2-48C5-AD11-3BD9CB67DC3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9896" y="2099540"/>
            <a:ext cx="4635128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인사이트리포트                                               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미디어</a:t>
            </a:r>
            <a:r>
              <a:rPr lang="ko-KR" altLang="en-US" sz="1000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상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58A79F42-1BE3-4FEB-82ED-E135A8A084D9}"/>
              </a:ext>
            </a:extLst>
          </p:cNvPr>
          <p:cNvCxnSpPr>
            <a:cxnSpLocks/>
          </p:cNvCxnSpPr>
          <p:nvPr/>
        </p:nvCxnSpPr>
        <p:spPr>
          <a:xfrm>
            <a:off x="738900" y="2470438"/>
            <a:ext cx="4260491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7" name="직선 연결선 86">
            <a:extLst>
              <a:ext uri="{FF2B5EF4-FFF2-40B4-BE49-F238E27FC236}">
                <a16:creationId xmlns:a16="http://schemas.microsoft.com/office/drawing/2014/main" id="{37EDDCEF-A8FD-4311-8BA8-67DB0B8A019C}"/>
              </a:ext>
            </a:extLst>
          </p:cNvPr>
          <p:cNvCxnSpPr>
            <a:cxnSpLocks/>
          </p:cNvCxnSpPr>
          <p:nvPr/>
        </p:nvCxnSpPr>
        <p:spPr>
          <a:xfrm>
            <a:off x="642060" y="2470438"/>
            <a:ext cx="2213580" cy="0"/>
          </a:xfrm>
          <a:prstGeom prst="line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CCD620E9-95D3-4D14-88EF-5DA7CE6EA0E1}"/>
              </a:ext>
            </a:extLst>
          </p:cNvPr>
          <p:cNvSpPr/>
          <p:nvPr/>
        </p:nvSpPr>
        <p:spPr>
          <a:xfrm>
            <a:off x="607618" y="2566399"/>
            <a:ext cx="1474531" cy="2077990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7D6B278C-BDAF-489E-94D6-2CE4387FE8C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0" name="그림 89">
              <a:extLst>
                <a:ext uri="{FF2B5EF4-FFF2-40B4-BE49-F238E27FC236}">
                  <a16:creationId xmlns:a16="http://schemas.microsoft.com/office/drawing/2014/main" id="{BD6ACFE4-CA40-4597-8A3B-D1680539A3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85806F9B-7644-4AE4-97B3-A0DB4DB9380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7" name="그림 106">
              <a:extLst>
                <a:ext uri="{FF2B5EF4-FFF2-40B4-BE49-F238E27FC236}">
                  <a16:creationId xmlns:a16="http://schemas.microsoft.com/office/drawing/2014/main" id="{E82313C9-CDFB-4FCE-8FB3-BF35FBBB35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40954AB5-009D-4918-81E7-E9768C4C166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54AAEB6-288C-451A-9242-872A296122BD}"/>
              </a:ext>
            </a:extLst>
          </p:cNvPr>
          <p:cNvSpPr/>
          <p:nvPr/>
        </p:nvSpPr>
        <p:spPr>
          <a:xfrm>
            <a:off x="529920" y="1686188"/>
            <a:ext cx="374903" cy="205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>
              <a:solidFill>
                <a:srgbClr val="C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1E1401-8FF1-47CC-BFB7-137FCEAFCAEA}"/>
              </a:ext>
            </a:extLst>
          </p:cNvPr>
          <p:cNvSpPr txBox="1"/>
          <p:nvPr/>
        </p:nvSpPr>
        <p:spPr>
          <a:xfrm>
            <a:off x="479225" y="1649959"/>
            <a:ext cx="5918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FCAC64A7-3CB1-43FC-A8F8-869A995DE120}"/>
              </a:ext>
            </a:extLst>
          </p:cNvPr>
          <p:cNvSpPr/>
          <p:nvPr/>
        </p:nvSpPr>
        <p:spPr>
          <a:xfrm>
            <a:off x="2165867" y="4172839"/>
            <a:ext cx="32730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1729914A-99C6-4DF2-BC82-099FF4D1C3DE}"/>
              </a:ext>
            </a:extLst>
          </p:cNvPr>
          <p:cNvSpPr/>
          <p:nvPr/>
        </p:nvSpPr>
        <p:spPr>
          <a:xfrm>
            <a:off x="2554988" y="4172843"/>
            <a:ext cx="59185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반</a:t>
            </a: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6EEF845F-7096-4DA4-959E-52FD2DAE9CC8}"/>
              </a:ext>
            </a:extLst>
          </p:cNvPr>
          <p:cNvSpPr/>
          <p:nvPr/>
        </p:nvSpPr>
        <p:spPr>
          <a:xfrm>
            <a:off x="2168531" y="4391281"/>
            <a:ext cx="33161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1A602982-DB0E-48C3-BF43-510059DAEB4C}"/>
              </a:ext>
            </a:extLst>
          </p:cNvPr>
          <p:cNvSpPr/>
          <p:nvPr/>
        </p:nvSpPr>
        <p:spPr>
          <a:xfrm>
            <a:off x="2568511" y="4400770"/>
            <a:ext cx="813233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경영</a:t>
            </a: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6A0091CC-DD14-48DD-BB25-3D70130081DC}"/>
              </a:ext>
            </a:extLst>
          </p:cNvPr>
          <p:cNvSpPr/>
          <p:nvPr/>
        </p:nvSpPr>
        <p:spPr>
          <a:xfrm>
            <a:off x="3667384" y="4172839"/>
            <a:ext cx="32730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7C96A5F0-AA4A-418A-8AF0-ABA226C54A30}"/>
              </a:ext>
            </a:extLst>
          </p:cNvPr>
          <p:cNvSpPr/>
          <p:nvPr/>
        </p:nvSpPr>
        <p:spPr>
          <a:xfrm>
            <a:off x="4056505" y="4172843"/>
            <a:ext cx="59185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반</a:t>
            </a: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36DB6344-1AA0-477B-A729-D680E467A926}"/>
              </a:ext>
            </a:extLst>
          </p:cNvPr>
          <p:cNvSpPr/>
          <p:nvPr/>
        </p:nvSpPr>
        <p:spPr>
          <a:xfrm>
            <a:off x="3670048" y="4391281"/>
            <a:ext cx="33161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66D5D59D-98CE-40C9-931F-1FF379C8B4C6}"/>
              </a:ext>
            </a:extLst>
          </p:cNvPr>
          <p:cNvSpPr/>
          <p:nvPr/>
        </p:nvSpPr>
        <p:spPr>
          <a:xfrm>
            <a:off x="4070028" y="4400770"/>
            <a:ext cx="813233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속가능경영</a:t>
            </a: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C0DB0B25-BA96-47EC-B9D0-67F7F5EF4F15}"/>
              </a:ext>
            </a:extLst>
          </p:cNvPr>
          <p:cNvSpPr/>
          <p:nvPr/>
        </p:nvSpPr>
        <p:spPr>
          <a:xfrm>
            <a:off x="590243" y="2525576"/>
            <a:ext cx="184910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-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DD97527E-83CD-43C9-AACC-782F1B0DFC44}"/>
              </a:ext>
            </a:extLst>
          </p:cNvPr>
          <p:cNvGrpSpPr/>
          <p:nvPr/>
        </p:nvGrpSpPr>
        <p:grpSpPr>
          <a:xfrm>
            <a:off x="844307" y="4176964"/>
            <a:ext cx="1709782" cy="1851977"/>
            <a:chOff x="1118793" y="4883820"/>
            <a:chExt cx="1598347" cy="1851977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A903ABEB-CDA5-4ABB-BA18-1DE882064187}"/>
                </a:ext>
              </a:extLst>
            </p:cNvPr>
            <p:cNvGrpSpPr/>
            <p:nvPr/>
          </p:nvGrpSpPr>
          <p:grpSpPr>
            <a:xfrm>
              <a:off x="1165692" y="4931473"/>
              <a:ext cx="1551448" cy="1804324"/>
              <a:chOff x="-746463" y="1111289"/>
              <a:chExt cx="1551448" cy="1804324"/>
            </a:xfrm>
          </p:grpSpPr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638A577E-E2EC-457A-8B70-B6621342DF89}"/>
                  </a:ext>
                </a:extLst>
              </p:cNvPr>
              <p:cNvSpPr/>
              <p:nvPr/>
            </p:nvSpPr>
            <p:spPr>
              <a:xfrm>
                <a:off x="-746463" y="1111289"/>
                <a:ext cx="1405020" cy="180432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C0000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2" name="직사각형 91">
                <a:extLst>
                  <a:ext uri="{FF2B5EF4-FFF2-40B4-BE49-F238E27FC236}">
                    <a16:creationId xmlns:a16="http://schemas.microsoft.com/office/drawing/2014/main" id="{602387D9-59EC-4D64-A3F4-393936476A0D}"/>
                  </a:ext>
                </a:extLst>
              </p:cNvPr>
              <p:cNvSpPr/>
              <p:nvPr/>
            </p:nvSpPr>
            <p:spPr>
              <a:xfrm>
                <a:off x="-733821" y="2100289"/>
                <a:ext cx="1538806" cy="212307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공시기준 제정과 기업의 대응</a:t>
                </a:r>
              </a:p>
            </p:txBody>
          </p:sp>
          <p:pic>
            <p:nvPicPr>
              <p:cNvPr id="94" name="그림 93">
                <a:extLst>
                  <a:ext uri="{FF2B5EF4-FFF2-40B4-BE49-F238E27FC236}">
                    <a16:creationId xmlns:a16="http://schemas.microsoft.com/office/drawing/2014/main" id="{0A607C73-880C-4D29-9412-673B18DEB3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-662576" y="1182414"/>
                <a:ext cx="1237596" cy="853400"/>
              </a:xfrm>
              <a:prstGeom prst="roundRect">
                <a:avLst>
                  <a:gd name="adj" fmla="val 5498"/>
                </a:avLst>
              </a:prstGeom>
              <a:noFill/>
              <a:ln w="3175">
                <a:solidFill>
                  <a:srgbClr val="C00000"/>
                </a:solidFill>
                <a:prstDash val="dash"/>
              </a:ln>
              <a:effectLst/>
            </p:spPr>
          </p:pic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7196C0B2-F4E6-4A3D-9B47-ADFA223E1839}"/>
                  </a:ext>
                </a:extLst>
              </p:cNvPr>
              <p:cNvSpPr/>
              <p:nvPr/>
            </p:nvSpPr>
            <p:spPr>
              <a:xfrm>
                <a:off x="72913" y="1823297"/>
                <a:ext cx="446139" cy="1481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algn="ctr"/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09:33</a:t>
                </a:r>
                <a:endPara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grpSp>
            <p:nvGrpSpPr>
              <p:cNvPr id="99" name="그룹 98">
                <a:extLst>
                  <a:ext uri="{FF2B5EF4-FFF2-40B4-BE49-F238E27FC236}">
                    <a16:creationId xmlns:a16="http://schemas.microsoft.com/office/drawing/2014/main" id="{4BFCA76B-8BA8-433A-ACE9-02D6EBB80072}"/>
                  </a:ext>
                </a:extLst>
              </p:cNvPr>
              <p:cNvGrpSpPr/>
              <p:nvPr/>
            </p:nvGrpSpPr>
            <p:grpSpPr>
              <a:xfrm>
                <a:off x="-159617" y="1470570"/>
                <a:ext cx="229711" cy="229711"/>
                <a:chOff x="1424014" y="5471042"/>
                <a:chExt cx="504056" cy="504056"/>
              </a:xfrm>
            </p:grpSpPr>
            <p:sp>
              <p:nvSpPr>
                <p:cNvPr id="100" name="타원 99">
                  <a:extLst>
                    <a:ext uri="{FF2B5EF4-FFF2-40B4-BE49-F238E27FC236}">
                      <a16:creationId xmlns:a16="http://schemas.microsoft.com/office/drawing/2014/main" id="{627A0E29-D52D-48C5-80D0-83DCEF37F3E0}"/>
                    </a:ext>
                  </a:extLst>
                </p:cNvPr>
                <p:cNvSpPr/>
                <p:nvPr/>
              </p:nvSpPr>
              <p:spPr>
                <a:xfrm>
                  <a:off x="1424014" y="5471042"/>
                  <a:ext cx="504056" cy="504056"/>
                </a:xfrm>
                <a:prstGeom prst="ellipse">
                  <a:avLst/>
                </a:prstGeom>
                <a:solidFill>
                  <a:srgbClr val="404040"/>
                </a:solidFill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80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1" name="이등변 삼각형 100">
                  <a:extLst>
                    <a:ext uri="{FF2B5EF4-FFF2-40B4-BE49-F238E27FC236}">
                      <a16:creationId xmlns:a16="http://schemas.microsoft.com/office/drawing/2014/main" id="{3DB816F1-7B64-4F1E-A391-CF6EBA3376B0}"/>
                    </a:ext>
                  </a:extLst>
                </p:cNvPr>
                <p:cNvSpPr/>
                <p:nvPr/>
              </p:nvSpPr>
              <p:spPr>
                <a:xfrm rot="5400000">
                  <a:off x="1599238" y="5626701"/>
                  <a:ext cx="231565" cy="189950"/>
                </a:xfrm>
                <a:prstGeom prst="triangle">
                  <a:avLst/>
                </a:prstGeom>
                <a:solidFill>
                  <a:schemeClr val="bg1"/>
                </a:solidFill>
                <a:ln w="3175"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80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6862C97E-5E1B-4251-97A4-80B8F5988F29}"/>
                  </a:ext>
                </a:extLst>
              </p:cNvPr>
              <p:cNvSpPr/>
              <p:nvPr/>
            </p:nvSpPr>
            <p:spPr>
              <a:xfrm>
                <a:off x="-650789" y="2465572"/>
                <a:ext cx="327302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8F1C8930-65CE-45A7-8218-78DB23908035}"/>
                  </a:ext>
                </a:extLst>
              </p:cNvPr>
              <p:cNvSpPr/>
              <p:nvPr/>
            </p:nvSpPr>
            <p:spPr>
              <a:xfrm>
                <a:off x="-275793" y="2465572"/>
                <a:ext cx="59185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06" name="직사각형 105">
                <a:extLst>
                  <a:ext uri="{FF2B5EF4-FFF2-40B4-BE49-F238E27FC236}">
                    <a16:creationId xmlns:a16="http://schemas.microsoft.com/office/drawing/2014/main" id="{82DEE87D-D3E7-447A-9C0C-B2B87505E60E}"/>
                  </a:ext>
                </a:extLst>
              </p:cNvPr>
              <p:cNvSpPr/>
              <p:nvPr/>
            </p:nvSpPr>
            <p:spPr>
              <a:xfrm>
                <a:off x="-654562" y="2673335"/>
                <a:ext cx="331616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09" name="직사각형 108">
                <a:extLst>
                  <a:ext uri="{FF2B5EF4-FFF2-40B4-BE49-F238E27FC236}">
                    <a16:creationId xmlns:a16="http://schemas.microsoft.com/office/drawing/2014/main" id="{32260AB5-B80C-40EA-94E8-73A8DAF289D7}"/>
                  </a:ext>
                </a:extLst>
              </p:cNvPr>
              <p:cNvSpPr/>
              <p:nvPr/>
            </p:nvSpPr>
            <p:spPr>
              <a:xfrm>
                <a:off x="-270588" y="2673331"/>
                <a:ext cx="813233" cy="1555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지속가능경영</a:t>
                </a:r>
              </a:p>
            </p:txBody>
          </p:sp>
        </p:grpSp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5F84F80E-2824-4615-ABED-DD617395EAD4}"/>
                </a:ext>
              </a:extLst>
            </p:cNvPr>
            <p:cNvSpPr/>
            <p:nvPr/>
          </p:nvSpPr>
          <p:spPr>
            <a:xfrm>
              <a:off x="1118793" y="4883820"/>
              <a:ext cx="184910" cy="110011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-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0062570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19112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044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안내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12318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335C3E54-F819-482A-AAE2-182FAED61E66}"/>
              </a:ext>
            </a:extLst>
          </p:cNvPr>
          <p:cNvSpPr/>
          <p:nvPr/>
        </p:nvSpPr>
        <p:spPr>
          <a:xfrm>
            <a:off x="420936" y="1628800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기준 비교</a:t>
            </a: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1D268D9A-3D26-42AA-844A-FAEF6258403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EC29B2B7-35CD-4709-9582-98E92252A7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5718E162-FD06-4E41-81A2-AEF02E59F49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6" name="그림 25">
              <a:extLst>
                <a:ext uri="{FF2B5EF4-FFF2-40B4-BE49-F238E27FC236}">
                  <a16:creationId xmlns:a16="http://schemas.microsoft.com/office/drawing/2014/main" id="{3C1A3C54-28F1-4485-9F81-A753165EF4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9989C151-CEF0-46E4-A340-1830D168EF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9" name="표 58">
            <a:extLst>
              <a:ext uri="{FF2B5EF4-FFF2-40B4-BE49-F238E27FC236}">
                <a16:creationId xmlns:a16="http://schemas.microsoft.com/office/drawing/2014/main" id="{926925CC-2670-4859-8CDE-595B0DCC0209}"/>
              </a:ext>
            </a:extLst>
          </p:cNvPr>
          <p:cNvGraphicFramePr>
            <a:graphicFrameLocks noGrp="1"/>
          </p:cNvGraphicFramePr>
          <p:nvPr/>
        </p:nvGraphicFramePr>
        <p:xfrm>
          <a:off x="511176" y="1932590"/>
          <a:ext cx="8105774" cy="38600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6312">
                  <a:extLst>
                    <a:ext uri="{9D8B030D-6E8A-4147-A177-3AD203B41FA5}">
                      <a16:colId xmlns:a16="http://schemas.microsoft.com/office/drawing/2014/main" val="3411253880"/>
                    </a:ext>
                  </a:extLst>
                </a:gridCol>
                <a:gridCol w="7129462">
                  <a:extLst>
                    <a:ext uri="{9D8B030D-6E8A-4147-A177-3AD203B41FA5}">
                      <a16:colId xmlns:a16="http://schemas.microsoft.com/office/drawing/2014/main" val="2534004075"/>
                    </a:ext>
                  </a:extLst>
                </a:gridCol>
              </a:tblGrid>
              <a:tr h="30000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기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791453"/>
                  </a:ext>
                </a:extLst>
              </a:tr>
              <a:tr h="140000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900" b="1" dirty="0"/>
                        <a:t>AA1000A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dirty="0"/>
                        <a:t>영국의 지속가능성 공시 검증 표준 개발 목적의 비영리기관인 </a:t>
                      </a:r>
                      <a:r>
                        <a:rPr lang="ko-KR" altLang="en-US" sz="900" dirty="0" err="1"/>
                        <a:t>AccountAbility</a:t>
                      </a:r>
                      <a:r>
                        <a:rPr lang="en-US" altLang="ko-KR" sz="900" dirty="0"/>
                        <a:t>(</a:t>
                      </a:r>
                      <a:r>
                        <a:rPr lang="ko-KR" altLang="en-US" sz="900" dirty="0" err="1"/>
                        <a:t>어카운트어빌리티</a:t>
                      </a:r>
                      <a:r>
                        <a:rPr lang="en-US" altLang="ko-KR" sz="900" dirty="0"/>
                        <a:t>)</a:t>
                      </a:r>
                      <a:r>
                        <a:rPr lang="ko-KR" altLang="en-US" sz="900" dirty="0"/>
                        <a:t>에서 제정한 </a:t>
                      </a:r>
                      <a:r>
                        <a:rPr lang="ko-KR" altLang="en-US" sz="900" dirty="0" err="1"/>
                        <a:t>재무∙비재무적</a:t>
                      </a:r>
                      <a:r>
                        <a:rPr lang="ko-KR" altLang="en-US" sz="900" dirty="0"/>
                        <a:t> 영역을</a:t>
                      </a:r>
                      <a:br>
                        <a:rPr lang="en-US" altLang="ko-KR" sz="900" dirty="0"/>
                      </a:br>
                      <a:r>
                        <a:rPr lang="ko-KR" altLang="en-US" sz="900" dirty="0"/>
                        <a:t>포괄하는 방법론으로</a:t>
                      </a:r>
                      <a:r>
                        <a:rPr lang="en-US" altLang="ko-KR" sz="900" dirty="0"/>
                        <a:t>, </a:t>
                      </a:r>
                      <a:r>
                        <a:rPr lang="ko-KR" altLang="en-US" sz="900" dirty="0"/>
                        <a:t>주로 회계법인 외 인증기관에서 사용</a:t>
                      </a:r>
                      <a:endParaRPr lang="en-US" altLang="ko-KR" sz="900" dirty="0"/>
                    </a:p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dirty="0"/>
                        <a:t>포괄성</a:t>
                      </a:r>
                      <a:r>
                        <a:rPr lang="en-US" altLang="ko-KR" sz="900" dirty="0"/>
                        <a:t>, </a:t>
                      </a:r>
                      <a:r>
                        <a:rPr lang="ko-KR" altLang="en-US" sz="900" dirty="0"/>
                        <a:t>중요성</a:t>
                      </a:r>
                      <a:r>
                        <a:rPr lang="en-US" altLang="ko-KR" sz="900" dirty="0"/>
                        <a:t>, </a:t>
                      </a:r>
                      <a:r>
                        <a:rPr lang="ko-KR" altLang="en-US" sz="900" dirty="0" err="1"/>
                        <a:t>대응성</a:t>
                      </a:r>
                      <a:r>
                        <a:rPr lang="en-US" altLang="ko-KR" sz="900" dirty="0"/>
                        <a:t>, </a:t>
                      </a:r>
                      <a:r>
                        <a:rPr lang="ko-KR" altLang="en-US" sz="900" dirty="0"/>
                        <a:t>영향의 </a:t>
                      </a:r>
                      <a:r>
                        <a:rPr lang="en-US" altLang="ko-KR" sz="900" dirty="0"/>
                        <a:t>4</a:t>
                      </a:r>
                      <a:r>
                        <a:rPr lang="ko-KR" altLang="en-US" sz="900" dirty="0"/>
                        <a:t>가지 검증 기준에 대한 준수도를 평가</a:t>
                      </a:r>
                      <a:endParaRPr lang="en-US" altLang="ko-KR" sz="900" dirty="0"/>
                    </a:p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dirty="0"/>
                        <a:t>검증 수준</a:t>
                      </a:r>
                      <a:endParaRPr lang="en-US" altLang="ko-KR" sz="900" dirty="0"/>
                    </a:p>
                    <a:p>
                      <a:pPr marL="360000" indent="-18000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–"/>
                      </a:pPr>
                      <a:r>
                        <a:rPr lang="en-US" altLang="ko-KR" sz="900" dirty="0"/>
                        <a:t>High: </a:t>
                      </a:r>
                      <a:r>
                        <a:rPr lang="ko-KR" altLang="en-US" sz="900" dirty="0"/>
                        <a:t>폭넓은 증빙 수립</a:t>
                      </a:r>
                      <a:r>
                        <a:rPr lang="en-US" altLang="ko-KR" sz="900" dirty="0"/>
                        <a:t>(</a:t>
                      </a:r>
                      <a:r>
                        <a:rPr lang="ko-KR" altLang="en-US" sz="900" dirty="0"/>
                        <a:t>조직 외부 데이터도 종합적으로 분석</a:t>
                      </a:r>
                      <a:r>
                        <a:rPr lang="en-US" altLang="ko-KR" sz="900" dirty="0"/>
                        <a:t>), </a:t>
                      </a:r>
                      <a:r>
                        <a:rPr lang="ko-KR" altLang="en-US" sz="900" dirty="0"/>
                        <a:t>신뢰성 높음</a:t>
                      </a:r>
                      <a:endParaRPr lang="en-US" altLang="ko-KR" sz="900" dirty="0"/>
                    </a:p>
                    <a:p>
                      <a:pPr marL="360000" indent="-18000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–"/>
                      </a:pPr>
                      <a:r>
                        <a:rPr lang="en-US" altLang="ko-KR" sz="900" dirty="0"/>
                        <a:t>Moderate: </a:t>
                      </a:r>
                      <a:r>
                        <a:rPr lang="ko-KR" altLang="en-US" sz="900" dirty="0"/>
                        <a:t>제한적인 증빙</a:t>
                      </a:r>
                      <a:r>
                        <a:rPr lang="en-US" altLang="ko-KR" sz="900" dirty="0"/>
                        <a:t>(</a:t>
                      </a:r>
                      <a:r>
                        <a:rPr lang="ko-KR" altLang="en-US" sz="900" dirty="0"/>
                        <a:t>조직 내부 데이터로 범위 제한</a:t>
                      </a:r>
                      <a:r>
                        <a:rPr lang="en-US" altLang="ko-KR" sz="900" dirty="0"/>
                        <a:t>), </a:t>
                      </a:r>
                      <a:r>
                        <a:rPr lang="ko-KR" altLang="en-US" sz="900" dirty="0"/>
                        <a:t>상대적으로 신뢰성 낮음</a:t>
                      </a:r>
                      <a:endParaRPr lang="en-US" altLang="ko-KR" sz="900" dirty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242696"/>
                  </a:ext>
                </a:extLst>
              </a:tr>
              <a:tr h="1400008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/>
                        <a:t>ISAE3000</a:t>
                      </a:r>
                      <a:endParaRPr lang="en-US" altLang="ko-KR" sz="900" b="1" dirty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dirty="0"/>
                        <a:t>국제회계사연맹</a:t>
                      </a:r>
                      <a:r>
                        <a:rPr lang="en-US" altLang="ko-KR" sz="900" b="0" dirty="0"/>
                        <a:t>(IFAC) </a:t>
                      </a:r>
                      <a:r>
                        <a:rPr lang="ko-KR" altLang="en-US" sz="900" b="0" dirty="0"/>
                        <a:t>산하 </a:t>
                      </a:r>
                      <a:r>
                        <a:rPr lang="ko-KR" altLang="en-US" sz="900" b="0" dirty="0" err="1"/>
                        <a:t>국제감사인증기준위원회</a:t>
                      </a:r>
                      <a:r>
                        <a:rPr lang="ko-KR" altLang="en-US" sz="900" b="0" dirty="0"/>
                        <a:t>(IAASB)에서 제정한 비재무정보</a:t>
                      </a:r>
                      <a:r>
                        <a:rPr lang="en-US" altLang="ko-KR" sz="900" b="0" dirty="0"/>
                        <a:t> </a:t>
                      </a:r>
                      <a:r>
                        <a:rPr lang="ko-KR" altLang="en-US" sz="900" b="0" dirty="0"/>
                        <a:t>검증을 위한 기준으로</a:t>
                      </a:r>
                      <a:r>
                        <a:rPr lang="en-US" altLang="ko-KR" sz="900" b="0" dirty="0"/>
                        <a:t>,</a:t>
                      </a:r>
                      <a:r>
                        <a:rPr lang="ko-KR" altLang="en-US" sz="900" b="0" dirty="0"/>
                        <a:t> 주로 회계법인에서 사용</a:t>
                      </a:r>
                      <a:endParaRPr lang="en-US" altLang="ko-KR" sz="900" b="0" dirty="0"/>
                    </a:p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dirty="0"/>
                        <a:t>목적적합성</a:t>
                      </a:r>
                      <a:r>
                        <a:rPr lang="en-US" altLang="ko-KR" sz="900" b="0" dirty="0"/>
                        <a:t>, </a:t>
                      </a:r>
                      <a:r>
                        <a:rPr lang="ko-KR" altLang="en-US" sz="900" b="0" dirty="0"/>
                        <a:t>완전성</a:t>
                      </a:r>
                      <a:r>
                        <a:rPr lang="en-US" altLang="ko-KR" sz="900" b="0" dirty="0"/>
                        <a:t>, </a:t>
                      </a:r>
                      <a:r>
                        <a:rPr lang="ko-KR" altLang="en-US" sz="900" b="0" dirty="0"/>
                        <a:t>신뢰성</a:t>
                      </a:r>
                      <a:r>
                        <a:rPr lang="en-US" altLang="ko-KR" sz="900" b="0" dirty="0"/>
                        <a:t>, </a:t>
                      </a:r>
                      <a:r>
                        <a:rPr lang="ko-KR" altLang="en-US" sz="900" b="0" dirty="0"/>
                        <a:t>중립성</a:t>
                      </a:r>
                      <a:r>
                        <a:rPr lang="en-US" altLang="ko-KR" sz="900" b="0" dirty="0"/>
                        <a:t>, </a:t>
                      </a:r>
                      <a:r>
                        <a:rPr lang="ko-KR" altLang="en-US" sz="900" b="0" dirty="0"/>
                        <a:t>이해가능성의 </a:t>
                      </a:r>
                      <a:r>
                        <a:rPr lang="en-US" altLang="ko-KR" sz="900" b="0" dirty="0"/>
                        <a:t>5</a:t>
                      </a:r>
                      <a:r>
                        <a:rPr lang="ko-KR" altLang="en-US" sz="900" b="0" dirty="0"/>
                        <a:t>가지 검증 기준을 바탕으로 평가</a:t>
                      </a:r>
                      <a:endParaRPr lang="en-US" altLang="ko-KR" sz="900" b="0" dirty="0"/>
                    </a:p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dirty="0"/>
                        <a:t>검증 수준</a:t>
                      </a:r>
                      <a:endParaRPr lang="en-US" altLang="ko-KR" sz="900" b="0" dirty="0"/>
                    </a:p>
                    <a:p>
                      <a:pPr marL="360000" indent="-180000" algn="l" latinLnBrk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–"/>
                      </a:pPr>
                      <a:r>
                        <a:rPr lang="ko-KR" altLang="en-US" sz="900" b="0" dirty="0"/>
                        <a:t>제한적 확신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Limited Assurance)</a:t>
                      </a:r>
                      <a:r>
                        <a:rPr lang="en-US" altLang="ko-KR" sz="900" b="0" dirty="0"/>
                        <a:t>: ‘</a:t>
                      </a:r>
                      <a:r>
                        <a:rPr lang="ko-KR" altLang="en-US" sz="900" b="0" dirty="0"/>
                        <a:t>해당 보고가 중요하게 위배되어 표시되었다는 점이 발견되지 않았다</a:t>
                      </a:r>
                      <a:r>
                        <a:rPr lang="en-US" altLang="ko-KR" sz="900" b="0" dirty="0"/>
                        <a:t>’ </a:t>
                      </a:r>
                      <a:r>
                        <a:rPr lang="ko-KR" altLang="en-US" sz="900" b="0" dirty="0"/>
                        <a:t>라는 소극적 확신 형태</a:t>
                      </a:r>
                      <a:endParaRPr lang="en-US" altLang="ko-KR" sz="900" b="0" dirty="0"/>
                    </a:p>
                    <a:p>
                      <a:pPr marL="360000" marR="0" lvl="0" indent="-18000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ko-KR" altLang="en-US" sz="900" b="0" dirty="0"/>
                        <a:t>합리적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신 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Reasonable Assurance)</a:t>
                      </a:r>
                      <a:r>
                        <a:rPr lang="en-US" altLang="ko-KR" sz="900" b="0" dirty="0"/>
                        <a:t>: </a:t>
                      </a:r>
                      <a:r>
                        <a:rPr lang="ko-KR" altLang="en-US" sz="900" b="0" dirty="0"/>
                        <a:t>인증대상정보가 준거기준에 따라 작성되었다는 의견을 표명하는</a:t>
                      </a:r>
                      <a:r>
                        <a:rPr lang="en-US" altLang="ko-KR" sz="900" b="0" dirty="0"/>
                        <a:t>,</a:t>
                      </a:r>
                      <a:r>
                        <a:rPr lang="ko-KR" altLang="en-US" sz="900" b="0" dirty="0"/>
                        <a:t> 제한적 인증보다 더 높은 수준의 인증</a:t>
                      </a:r>
                      <a:r>
                        <a:rPr lang="en-US" altLang="ko-KR" sz="900" b="0" dirty="0"/>
                        <a:t>. </a:t>
                      </a:r>
                      <a:r>
                        <a:rPr lang="ko-KR" altLang="en-US" sz="900" b="0" dirty="0"/>
                        <a:t>회사의 내부 통제와 실질적인 테스트를 포함한 광범위한 절차 필요</a:t>
                      </a:r>
                      <a:endParaRPr lang="en-US" altLang="ko-KR" sz="900" b="0" dirty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9326355"/>
                  </a:ext>
                </a:extLst>
              </a:tr>
              <a:tr h="760004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SSA 5000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900" b="0" dirty="0"/>
                        <a:t>국제회계사연맹</a:t>
                      </a:r>
                      <a:r>
                        <a:rPr lang="en-US" altLang="ko-KR" sz="900" b="0" dirty="0"/>
                        <a:t>(IFAC) </a:t>
                      </a:r>
                      <a:r>
                        <a:rPr lang="ko-KR" altLang="en-US" sz="900" b="0" dirty="0"/>
                        <a:t>산하 </a:t>
                      </a:r>
                      <a:r>
                        <a:rPr lang="ko-KR" altLang="en-US" sz="900" b="0" dirty="0" err="1"/>
                        <a:t>국제감사인증기준위원회</a:t>
                      </a:r>
                      <a:r>
                        <a:rPr lang="ko-KR" altLang="en-US" sz="900" b="0" dirty="0"/>
                        <a:t>(IAASB)에서 제정 예정인 지속가능성 보고에 대한 인증업무 기준</a:t>
                      </a:r>
                      <a:br>
                        <a:rPr lang="en-US" altLang="ko-KR" sz="900" b="0" dirty="0"/>
                      </a:br>
                      <a:r>
                        <a:rPr lang="en-US" altLang="ko-KR" sz="900" b="0" dirty="0"/>
                        <a:t>(International Standard on Sustainability Assurance 5000, General</a:t>
                      </a:r>
                      <a:r>
                        <a:rPr lang="ko-KR" altLang="en-US" sz="900" b="0" dirty="0"/>
                        <a:t> </a:t>
                      </a:r>
                      <a:r>
                        <a:rPr lang="en-US" altLang="ko-KR" sz="900" b="0" dirty="0"/>
                        <a:t>Requirements)</a:t>
                      </a:r>
                    </a:p>
                    <a:p>
                      <a:pPr marL="171450" indent="-171450" algn="l" latinLnBrk="1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900" b="0" dirty="0"/>
                        <a:t>2023</a:t>
                      </a:r>
                      <a:r>
                        <a:rPr lang="ko-KR" altLang="en-US" sz="900" b="0" dirty="0"/>
                        <a:t>년 </a:t>
                      </a:r>
                      <a:r>
                        <a:rPr lang="en-US" altLang="ko-KR" sz="900" b="0" dirty="0"/>
                        <a:t>9</a:t>
                      </a:r>
                      <a:r>
                        <a:rPr lang="ko-KR" altLang="en-US" sz="900" b="0" dirty="0"/>
                        <a:t>월 초안 발표 예정이며</a:t>
                      </a:r>
                      <a:r>
                        <a:rPr lang="en-US" altLang="ko-KR" sz="900" b="0" dirty="0"/>
                        <a:t>, 2024</a:t>
                      </a:r>
                      <a:r>
                        <a:rPr lang="ko-KR" altLang="en-US" sz="900" b="0" dirty="0"/>
                        <a:t>년 말까지 최종 확정 예정</a:t>
                      </a:r>
                      <a:endParaRPr lang="en-US" altLang="ko-KR" sz="900" b="0" dirty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387227"/>
                  </a:ext>
                </a:extLst>
              </a:tr>
            </a:tbl>
          </a:graphicData>
        </a:graphic>
      </p:graphicFrame>
      <p:grpSp>
        <p:nvGrpSpPr>
          <p:cNvPr id="24" name="그룹 23">
            <a:extLst>
              <a:ext uri="{FF2B5EF4-FFF2-40B4-BE49-F238E27FC236}">
                <a16:creationId xmlns:a16="http://schemas.microsoft.com/office/drawing/2014/main" id="{5D359940-7FC6-4087-B273-75C187F603FF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3CDCF7E4-E832-4C0F-AB8D-AD555E82D8CE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C24310D0-0EC0-4617-B82B-A7EB1CB0E19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B7A4F30F-6B56-49A9-A01B-E72766B157F2}"/>
                  </a:ext>
                </a:extLst>
              </p:cNvPr>
              <p:cNvSpPr/>
              <p:nvPr/>
            </p:nvSpPr>
            <p:spPr>
              <a:xfrm>
                <a:off x="9201495" y="4653988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C1893C26-3BAB-44B9-BC7C-DB0B967DD10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08F31C2A-B456-4875-A559-44C95FC5326F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A1F15224-819D-4A0A-B331-E40F1536B53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645506057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ESG 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자료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〮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동향</a:t>
            </a:r>
            <a:endParaRPr lang="en-US" altLang="ko-KR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822977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자유형: 도형 107">
            <a:extLst>
              <a:ext uri="{FF2B5EF4-FFF2-40B4-BE49-F238E27FC236}">
                <a16:creationId xmlns:a16="http://schemas.microsoft.com/office/drawing/2014/main" id="{E8054E5A-3550-4FA4-B3BC-C62CCA8DBA62}"/>
              </a:ext>
            </a:extLst>
          </p:cNvPr>
          <p:cNvSpPr/>
          <p:nvPr/>
        </p:nvSpPr>
        <p:spPr>
          <a:xfrm>
            <a:off x="3708676" y="2057957"/>
            <a:ext cx="1942011" cy="3953692"/>
          </a:xfrm>
          <a:custGeom>
            <a:avLst/>
            <a:gdLst>
              <a:gd name="connsiteX0" fmla="*/ 8709 w 1942011"/>
              <a:gd name="connsiteY0" fmla="*/ 0 h 3953692"/>
              <a:gd name="connsiteX1" fmla="*/ 1942011 w 1942011"/>
              <a:gd name="connsiteY1" fmla="*/ 0 h 3953692"/>
              <a:gd name="connsiteX2" fmla="*/ 1942011 w 1942011"/>
              <a:gd name="connsiteY2" fmla="*/ 2943497 h 3953692"/>
              <a:gd name="connsiteX3" fmla="*/ 0 w 1942011"/>
              <a:gd name="connsiteY3" fmla="*/ 3953692 h 3953692"/>
              <a:gd name="connsiteX4" fmla="*/ 8709 w 1942011"/>
              <a:gd name="connsiteY4" fmla="*/ 0 h 395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2011" h="3953692">
                <a:moveTo>
                  <a:pt x="8709" y="0"/>
                </a:moveTo>
                <a:lnTo>
                  <a:pt x="1942011" y="0"/>
                </a:lnTo>
                <a:lnTo>
                  <a:pt x="1942011" y="2943497"/>
                </a:lnTo>
                <a:lnTo>
                  <a:pt x="0" y="3953692"/>
                </a:lnTo>
                <a:lnTo>
                  <a:pt x="8709" y="0"/>
                </a:lnTo>
                <a:close/>
              </a:path>
            </a:pathLst>
          </a:custGeom>
          <a:solidFill>
            <a:srgbClr val="FBE5D6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E3CDFA-101B-4867-87C0-DD222587F932}"/>
              </a:ext>
            </a:extLst>
          </p:cNvPr>
          <p:cNvSpPr txBox="1"/>
          <p:nvPr/>
        </p:nvSpPr>
        <p:spPr>
          <a:xfrm>
            <a:off x="263352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레이아웃 및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코너별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운영 관리 정책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403D76D-C83D-46A9-A981-FB4D76412F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70" b="17124"/>
          <a:stretch/>
        </p:blipFill>
        <p:spPr>
          <a:xfrm>
            <a:off x="662453" y="935933"/>
            <a:ext cx="3057283" cy="233831"/>
          </a:xfrm>
          <a:prstGeom prst="rect">
            <a:avLst/>
          </a:prstGeom>
          <a:ln>
            <a:noFill/>
          </a:ln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CAD67D36-347F-4F57-897C-1121479831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453" y="6008146"/>
            <a:ext cx="3057283" cy="3045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4" name="직사각형 33">
            <a:extLst>
              <a:ext uri="{FF2B5EF4-FFF2-40B4-BE49-F238E27FC236}">
                <a16:creationId xmlns:a16="http://schemas.microsoft.com/office/drawing/2014/main" id="{C7920D3C-C284-4AF4-BDCC-E104D228FAFA}"/>
              </a:ext>
            </a:extLst>
          </p:cNvPr>
          <p:cNvSpPr/>
          <p:nvPr/>
        </p:nvSpPr>
        <p:spPr>
          <a:xfrm>
            <a:off x="662452" y="928232"/>
            <a:ext cx="3051903" cy="5090896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90CA39AC-BA86-4746-803F-21096FE17B87}"/>
              </a:ext>
            </a:extLst>
          </p:cNvPr>
          <p:cNvSpPr/>
          <p:nvPr/>
        </p:nvSpPr>
        <p:spPr>
          <a:xfrm>
            <a:off x="3870965" y="3461354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ents Area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B5A63FB2-9EDC-4426-BF04-6C9F2FE9B69C}"/>
              </a:ext>
            </a:extLst>
          </p:cNvPr>
          <p:cNvCxnSpPr>
            <a:cxnSpLocks/>
          </p:cNvCxnSpPr>
          <p:nvPr/>
        </p:nvCxnSpPr>
        <p:spPr>
          <a:xfrm>
            <a:off x="472020" y="1192586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E42FF354-1B50-4878-9BB8-A9603DD09004}"/>
              </a:ext>
            </a:extLst>
          </p:cNvPr>
          <p:cNvCxnSpPr>
            <a:cxnSpLocks/>
          </p:cNvCxnSpPr>
          <p:nvPr/>
        </p:nvCxnSpPr>
        <p:spPr>
          <a:xfrm>
            <a:off x="472020" y="6007382"/>
            <a:ext cx="43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3F5BB78A-8302-4D49-990F-F999D9369284}"/>
              </a:ext>
            </a:extLst>
          </p:cNvPr>
          <p:cNvCxnSpPr>
            <a:cxnSpLocks/>
          </p:cNvCxnSpPr>
          <p:nvPr/>
        </p:nvCxnSpPr>
        <p:spPr>
          <a:xfrm>
            <a:off x="472020" y="1556792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B9F2BE92-207C-4893-ABF8-17A22EC87A1B}"/>
              </a:ext>
            </a:extLst>
          </p:cNvPr>
          <p:cNvCxnSpPr>
            <a:cxnSpLocks/>
          </p:cNvCxnSpPr>
          <p:nvPr/>
        </p:nvCxnSpPr>
        <p:spPr>
          <a:xfrm>
            <a:off x="472020" y="1817300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1211C85-5839-4108-A78A-FA7AEDA574FB}"/>
              </a:ext>
            </a:extLst>
          </p:cNvPr>
          <p:cNvSpPr/>
          <p:nvPr/>
        </p:nvSpPr>
        <p:spPr>
          <a:xfrm>
            <a:off x="3733894" y="935933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Header / GNB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374C0A43-79E9-4085-8588-4C4F4F0B6F2C}"/>
              </a:ext>
            </a:extLst>
          </p:cNvPr>
          <p:cNvSpPr/>
          <p:nvPr/>
        </p:nvSpPr>
        <p:spPr>
          <a:xfrm>
            <a:off x="3743130" y="1254731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itle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59" name="직선 연결선 58">
            <a:extLst>
              <a:ext uri="{FF2B5EF4-FFF2-40B4-BE49-F238E27FC236}">
                <a16:creationId xmlns:a16="http://schemas.microsoft.com/office/drawing/2014/main" id="{AABB4F22-881F-4299-A510-A94C89230F03}"/>
              </a:ext>
            </a:extLst>
          </p:cNvPr>
          <p:cNvCxnSpPr>
            <a:cxnSpLocks/>
          </p:cNvCxnSpPr>
          <p:nvPr/>
        </p:nvCxnSpPr>
        <p:spPr>
          <a:xfrm>
            <a:off x="3863752" y="1556792"/>
            <a:ext cx="0" cy="445059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EC9D7FA-1F45-49AA-AF64-718EB4213907}"/>
              </a:ext>
            </a:extLst>
          </p:cNvPr>
          <p:cNvSpPr/>
          <p:nvPr/>
        </p:nvSpPr>
        <p:spPr>
          <a:xfrm>
            <a:off x="3743130" y="6055360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327E20F-C329-494C-B03B-E67F1291CCD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49" r="17460" b="4768"/>
          <a:stretch/>
        </p:blipFill>
        <p:spPr>
          <a:xfrm>
            <a:off x="680136" y="1227970"/>
            <a:ext cx="3019060" cy="277351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7B50DD2-641F-4CD9-877F-83744325AB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532" t="4720"/>
          <a:stretch/>
        </p:blipFill>
        <p:spPr>
          <a:xfrm>
            <a:off x="685331" y="1586124"/>
            <a:ext cx="3013436" cy="197989"/>
          </a:xfrm>
          <a:prstGeom prst="rect">
            <a:avLst/>
          </a:prstGeom>
        </p:spPr>
      </p:pic>
      <p:sp>
        <p:nvSpPr>
          <p:cNvPr id="35" name="직사각형 34">
            <a:extLst>
              <a:ext uri="{FF2B5EF4-FFF2-40B4-BE49-F238E27FC236}">
                <a16:creationId xmlns:a16="http://schemas.microsoft.com/office/drawing/2014/main" id="{0A589454-789A-4EB5-801D-16AAECD71AE5}"/>
              </a:ext>
            </a:extLst>
          </p:cNvPr>
          <p:cNvSpPr/>
          <p:nvPr/>
        </p:nvSpPr>
        <p:spPr>
          <a:xfrm>
            <a:off x="2959099" y="1550057"/>
            <a:ext cx="688629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바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2247C94-B7B3-4643-A55A-8C3C6053CF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710" y="2090184"/>
            <a:ext cx="731817" cy="1598387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BB37C660-1E37-438F-AE3E-9B049EE406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8411" y="3701762"/>
            <a:ext cx="678864" cy="1648374"/>
          </a:xfrm>
          <a:prstGeom prst="rect">
            <a:avLst/>
          </a:prstGeom>
        </p:spPr>
      </p:pic>
      <p:pic>
        <p:nvPicPr>
          <p:cNvPr id="46" name="그림 45">
            <a:extLst>
              <a:ext uri="{FF2B5EF4-FFF2-40B4-BE49-F238E27FC236}">
                <a16:creationId xmlns:a16="http://schemas.microsoft.com/office/drawing/2014/main" id="{64A503DA-AB9D-45F9-A028-6C07F96C6B9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1507301" y="2312294"/>
            <a:ext cx="2068419" cy="816077"/>
          </a:xfrm>
          <a:prstGeom prst="rect">
            <a:avLst/>
          </a:prstGeom>
        </p:spPr>
      </p:pic>
      <p:pic>
        <p:nvPicPr>
          <p:cNvPr id="47" name="그림 46">
            <a:extLst>
              <a:ext uri="{FF2B5EF4-FFF2-40B4-BE49-F238E27FC236}">
                <a16:creationId xmlns:a16="http://schemas.microsoft.com/office/drawing/2014/main" id="{B8BD4224-4CDA-4C79-A4A7-6C3AB2EC0B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1507301" y="3182496"/>
            <a:ext cx="2068419" cy="816077"/>
          </a:xfrm>
          <a:prstGeom prst="rect">
            <a:avLst/>
          </a:prstGeom>
        </p:spPr>
      </p:pic>
      <p:pic>
        <p:nvPicPr>
          <p:cNvPr id="48" name="그림 47">
            <a:extLst>
              <a:ext uri="{FF2B5EF4-FFF2-40B4-BE49-F238E27FC236}">
                <a16:creationId xmlns:a16="http://schemas.microsoft.com/office/drawing/2014/main" id="{9FB8888A-9054-40BB-ADBB-53636426A95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1507301" y="4058404"/>
            <a:ext cx="2068419" cy="816077"/>
          </a:xfrm>
          <a:prstGeom prst="rect">
            <a:avLst/>
          </a:prstGeom>
        </p:spPr>
      </p:pic>
      <p:pic>
        <p:nvPicPr>
          <p:cNvPr id="49" name="그림 48">
            <a:extLst>
              <a:ext uri="{FF2B5EF4-FFF2-40B4-BE49-F238E27FC236}">
                <a16:creationId xmlns:a16="http://schemas.microsoft.com/office/drawing/2014/main" id="{A1837D8A-2621-4349-8278-2E310194034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1507301" y="4990554"/>
            <a:ext cx="2068419" cy="816077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5A4AB50C-9E3E-4049-9DB6-304DC58F6D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336" y="1871151"/>
            <a:ext cx="3056400" cy="131514"/>
          </a:xfrm>
          <a:prstGeom prst="rect">
            <a:avLst/>
          </a:prstGeom>
        </p:spPr>
      </p:pic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00E4BAC4-3CFB-4233-80EA-96C68B53E26B}"/>
              </a:ext>
            </a:extLst>
          </p:cNvPr>
          <p:cNvCxnSpPr>
            <a:cxnSpLocks/>
          </p:cNvCxnSpPr>
          <p:nvPr/>
        </p:nvCxnSpPr>
        <p:spPr>
          <a:xfrm>
            <a:off x="477040" y="2046029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F509765E-5134-40BB-9123-C483F4CADD10}"/>
              </a:ext>
            </a:extLst>
          </p:cNvPr>
          <p:cNvSpPr/>
          <p:nvPr/>
        </p:nvSpPr>
        <p:spPr>
          <a:xfrm>
            <a:off x="2495601" y="1812060"/>
            <a:ext cx="1152128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유형 탭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59928E95-C322-46E0-836A-B0A90E042E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00769" y="2103683"/>
            <a:ext cx="2298427" cy="156860"/>
          </a:xfrm>
          <a:prstGeom prst="rect">
            <a:avLst/>
          </a:prstGeom>
        </p:spPr>
      </p:pic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DBBF88A3-3E18-4B74-AFCE-908DB64F647A}"/>
              </a:ext>
            </a:extLst>
          </p:cNvPr>
          <p:cNvCxnSpPr>
            <a:cxnSpLocks/>
          </p:cNvCxnSpPr>
          <p:nvPr/>
        </p:nvCxnSpPr>
        <p:spPr>
          <a:xfrm>
            <a:off x="1406212" y="2050377"/>
            <a:ext cx="0" cy="3957005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>
            <a:extLst>
              <a:ext uri="{FF2B5EF4-FFF2-40B4-BE49-F238E27FC236}">
                <a16:creationId xmlns:a16="http://schemas.microsoft.com/office/drawing/2014/main" id="{9276DB6E-9B36-4AFC-8EF5-F30FE3024A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63552" y="5867859"/>
            <a:ext cx="1063865" cy="64109"/>
          </a:xfrm>
          <a:prstGeom prst="rect">
            <a:avLst/>
          </a:prstGeom>
        </p:spPr>
      </p:pic>
      <p:pic>
        <p:nvPicPr>
          <p:cNvPr id="63" name="그림 62">
            <a:extLst>
              <a:ext uri="{FF2B5EF4-FFF2-40B4-BE49-F238E27FC236}">
                <a16:creationId xmlns:a16="http://schemas.microsoft.com/office/drawing/2014/main" id="{D81C4F36-138F-479A-B91F-57D7FBD7E0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70" b="17124"/>
          <a:stretch/>
        </p:blipFill>
        <p:spPr>
          <a:xfrm>
            <a:off x="5645403" y="941266"/>
            <a:ext cx="3057283" cy="233831"/>
          </a:xfrm>
          <a:prstGeom prst="rect">
            <a:avLst/>
          </a:prstGeom>
          <a:ln>
            <a:noFill/>
          </a:ln>
        </p:spPr>
      </p:pic>
      <p:pic>
        <p:nvPicPr>
          <p:cNvPr id="64" name="그림 63">
            <a:extLst>
              <a:ext uri="{FF2B5EF4-FFF2-40B4-BE49-F238E27FC236}">
                <a16:creationId xmlns:a16="http://schemas.microsoft.com/office/drawing/2014/main" id="{DB7B4F9D-3D05-49BF-BFBC-76C64F096B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5403" y="5013940"/>
            <a:ext cx="3057283" cy="3045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16CA43D5-2D7D-4D0B-82F5-5CD3752973C5}"/>
              </a:ext>
            </a:extLst>
          </p:cNvPr>
          <p:cNvSpPr/>
          <p:nvPr/>
        </p:nvSpPr>
        <p:spPr>
          <a:xfrm>
            <a:off x="5645402" y="933565"/>
            <a:ext cx="3051903" cy="4362310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6AC9493C-56CB-4A4A-AA73-92F88DCC2FD4}"/>
              </a:ext>
            </a:extLst>
          </p:cNvPr>
          <p:cNvSpPr/>
          <p:nvPr/>
        </p:nvSpPr>
        <p:spPr>
          <a:xfrm>
            <a:off x="8853915" y="3466687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ents Area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8" name="직선 연결선 67">
            <a:extLst>
              <a:ext uri="{FF2B5EF4-FFF2-40B4-BE49-F238E27FC236}">
                <a16:creationId xmlns:a16="http://schemas.microsoft.com/office/drawing/2014/main" id="{91DC81F5-AE8A-40D2-A959-02629E8C2DDC}"/>
              </a:ext>
            </a:extLst>
          </p:cNvPr>
          <p:cNvCxnSpPr>
            <a:cxnSpLocks/>
          </p:cNvCxnSpPr>
          <p:nvPr/>
        </p:nvCxnSpPr>
        <p:spPr>
          <a:xfrm>
            <a:off x="5454970" y="1197919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8C9705A3-13EB-4A50-8BE6-9F8A1FAC1623}"/>
              </a:ext>
            </a:extLst>
          </p:cNvPr>
          <p:cNvCxnSpPr>
            <a:cxnSpLocks/>
          </p:cNvCxnSpPr>
          <p:nvPr/>
        </p:nvCxnSpPr>
        <p:spPr>
          <a:xfrm>
            <a:off x="5454970" y="5013176"/>
            <a:ext cx="4320000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C7FC8098-08A0-4558-94FF-5F3CB5FEF0DC}"/>
              </a:ext>
            </a:extLst>
          </p:cNvPr>
          <p:cNvCxnSpPr>
            <a:cxnSpLocks/>
          </p:cNvCxnSpPr>
          <p:nvPr/>
        </p:nvCxnSpPr>
        <p:spPr>
          <a:xfrm>
            <a:off x="5454970" y="1562125"/>
            <a:ext cx="432048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BD4641E0-8234-43D8-8EE2-8ECFE4AC4B6B}"/>
              </a:ext>
            </a:extLst>
          </p:cNvPr>
          <p:cNvCxnSpPr>
            <a:cxnSpLocks/>
          </p:cNvCxnSpPr>
          <p:nvPr/>
        </p:nvCxnSpPr>
        <p:spPr>
          <a:xfrm>
            <a:off x="5454970" y="1822633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578F3A1F-61E6-49CB-987A-113D6E133DFB}"/>
              </a:ext>
            </a:extLst>
          </p:cNvPr>
          <p:cNvSpPr/>
          <p:nvPr/>
        </p:nvSpPr>
        <p:spPr>
          <a:xfrm>
            <a:off x="8716844" y="941266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Header / GNB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2984EDB4-C6C2-4F21-A733-DB3DF462ED37}"/>
              </a:ext>
            </a:extLst>
          </p:cNvPr>
          <p:cNvSpPr/>
          <p:nvPr/>
        </p:nvSpPr>
        <p:spPr>
          <a:xfrm>
            <a:off x="8726080" y="1260064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itle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76" name="직선 연결선 75">
            <a:extLst>
              <a:ext uri="{FF2B5EF4-FFF2-40B4-BE49-F238E27FC236}">
                <a16:creationId xmlns:a16="http://schemas.microsoft.com/office/drawing/2014/main" id="{F69F31F2-AC25-422D-9CF7-D095BAB2C84B}"/>
              </a:ext>
            </a:extLst>
          </p:cNvPr>
          <p:cNvCxnSpPr>
            <a:cxnSpLocks/>
          </p:cNvCxnSpPr>
          <p:nvPr/>
        </p:nvCxnSpPr>
        <p:spPr>
          <a:xfrm>
            <a:off x="8846702" y="1562125"/>
            <a:ext cx="0" cy="3451815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28EDEC64-CA3D-4F10-B242-B93196396011}"/>
              </a:ext>
            </a:extLst>
          </p:cNvPr>
          <p:cNvSpPr/>
          <p:nvPr/>
        </p:nvSpPr>
        <p:spPr>
          <a:xfrm>
            <a:off x="8726080" y="5061154"/>
            <a:ext cx="1176408" cy="27339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8" name="그림 77">
            <a:extLst>
              <a:ext uri="{FF2B5EF4-FFF2-40B4-BE49-F238E27FC236}">
                <a16:creationId xmlns:a16="http://schemas.microsoft.com/office/drawing/2014/main" id="{5FC7BD68-DB9E-46AC-A0F2-A4B2ED054BE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49" r="17460" b="4768"/>
          <a:stretch/>
        </p:blipFill>
        <p:spPr>
          <a:xfrm>
            <a:off x="5663086" y="1233303"/>
            <a:ext cx="3019060" cy="277351"/>
          </a:xfrm>
          <a:prstGeom prst="rect">
            <a:avLst/>
          </a:prstGeom>
        </p:spPr>
      </p:pic>
      <p:pic>
        <p:nvPicPr>
          <p:cNvPr id="79" name="그림 78">
            <a:extLst>
              <a:ext uri="{FF2B5EF4-FFF2-40B4-BE49-F238E27FC236}">
                <a16:creationId xmlns:a16="http://schemas.microsoft.com/office/drawing/2014/main" id="{9DF671DA-23C0-4412-BB5D-5B26618349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532" t="4720"/>
          <a:stretch/>
        </p:blipFill>
        <p:spPr>
          <a:xfrm>
            <a:off x="5668281" y="1591457"/>
            <a:ext cx="3013436" cy="197989"/>
          </a:xfrm>
          <a:prstGeom prst="rect">
            <a:avLst/>
          </a:prstGeom>
        </p:spPr>
      </p:pic>
      <p:sp>
        <p:nvSpPr>
          <p:cNvPr id="80" name="직사각형 79">
            <a:extLst>
              <a:ext uri="{FF2B5EF4-FFF2-40B4-BE49-F238E27FC236}">
                <a16:creationId xmlns:a16="http://schemas.microsoft.com/office/drawing/2014/main" id="{18D5A191-CC2C-4CB3-96BA-116A6A397BF2}"/>
              </a:ext>
            </a:extLst>
          </p:cNvPr>
          <p:cNvSpPr/>
          <p:nvPr/>
        </p:nvSpPr>
        <p:spPr>
          <a:xfrm>
            <a:off x="7942049" y="1555390"/>
            <a:ext cx="688629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바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226DC04C-99D3-4F80-A45E-3696459ED0B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6490251" y="2317627"/>
            <a:ext cx="2068419" cy="816077"/>
          </a:xfrm>
          <a:prstGeom prst="rect">
            <a:avLst/>
          </a:prstGeom>
        </p:spPr>
      </p:pic>
      <p:pic>
        <p:nvPicPr>
          <p:cNvPr id="84" name="그림 83">
            <a:extLst>
              <a:ext uri="{FF2B5EF4-FFF2-40B4-BE49-F238E27FC236}">
                <a16:creationId xmlns:a16="http://schemas.microsoft.com/office/drawing/2014/main" id="{8CC7D66C-BCB3-4AC5-B512-CF8A989A774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6490251" y="3187829"/>
            <a:ext cx="2068419" cy="816077"/>
          </a:xfrm>
          <a:prstGeom prst="rect">
            <a:avLst/>
          </a:prstGeom>
        </p:spPr>
      </p:pic>
      <p:pic>
        <p:nvPicPr>
          <p:cNvPr id="85" name="그림 84">
            <a:extLst>
              <a:ext uri="{FF2B5EF4-FFF2-40B4-BE49-F238E27FC236}">
                <a16:creationId xmlns:a16="http://schemas.microsoft.com/office/drawing/2014/main" id="{FE102BA8-AE93-4FFD-BCE2-F61467D9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2" b="-5243"/>
          <a:stretch/>
        </p:blipFill>
        <p:spPr>
          <a:xfrm>
            <a:off x="6490251" y="4063737"/>
            <a:ext cx="2068419" cy="816077"/>
          </a:xfrm>
          <a:prstGeom prst="rect">
            <a:avLst/>
          </a:prstGeom>
        </p:spPr>
      </p:pic>
      <p:pic>
        <p:nvPicPr>
          <p:cNvPr id="87" name="그림 86">
            <a:extLst>
              <a:ext uri="{FF2B5EF4-FFF2-40B4-BE49-F238E27FC236}">
                <a16:creationId xmlns:a16="http://schemas.microsoft.com/office/drawing/2014/main" id="{E0FFDDE2-9005-4002-80CA-87BBBBEED7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6286" y="1876484"/>
            <a:ext cx="3056400" cy="131514"/>
          </a:xfrm>
          <a:prstGeom prst="rect">
            <a:avLst/>
          </a:prstGeom>
        </p:spPr>
      </p:pic>
      <p:cxnSp>
        <p:nvCxnSpPr>
          <p:cNvPr id="88" name="직선 연결선 87">
            <a:extLst>
              <a:ext uri="{FF2B5EF4-FFF2-40B4-BE49-F238E27FC236}">
                <a16:creationId xmlns:a16="http://schemas.microsoft.com/office/drawing/2014/main" id="{EDFC3E98-751F-4A30-A38A-469A725E47ED}"/>
              </a:ext>
            </a:extLst>
          </p:cNvPr>
          <p:cNvCxnSpPr>
            <a:cxnSpLocks/>
          </p:cNvCxnSpPr>
          <p:nvPr/>
        </p:nvCxnSpPr>
        <p:spPr>
          <a:xfrm>
            <a:off x="5459990" y="2051362"/>
            <a:ext cx="3391732" cy="0"/>
          </a:xfrm>
          <a:prstGeom prst="line">
            <a:avLst/>
          </a:prstGeom>
          <a:ln w="19050">
            <a:solidFill>
              <a:srgbClr val="D04A0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B80CCBC0-B8D1-4E69-92F9-13999DEE1560}"/>
              </a:ext>
            </a:extLst>
          </p:cNvPr>
          <p:cNvSpPr/>
          <p:nvPr/>
        </p:nvSpPr>
        <p:spPr>
          <a:xfrm>
            <a:off x="7478551" y="1817393"/>
            <a:ext cx="1152128" cy="23831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1100" b="1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유형 탭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92" name="그림 91">
            <a:extLst>
              <a:ext uri="{FF2B5EF4-FFF2-40B4-BE49-F238E27FC236}">
                <a16:creationId xmlns:a16="http://schemas.microsoft.com/office/drawing/2014/main" id="{26B9CE3C-B627-4BEC-B31A-D12AC3D956E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39420" y="5037537"/>
            <a:ext cx="1063865" cy="64109"/>
          </a:xfrm>
          <a:prstGeom prst="rect">
            <a:avLst/>
          </a:prstGeom>
        </p:spPr>
      </p:pic>
      <p:pic>
        <p:nvPicPr>
          <p:cNvPr id="60" name="그림 59">
            <a:extLst>
              <a:ext uri="{FF2B5EF4-FFF2-40B4-BE49-F238E27FC236}">
                <a16:creationId xmlns:a16="http://schemas.microsoft.com/office/drawing/2014/main" id="{A2951FD0-8CCE-46B5-8584-83CA5EB1C14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19407"/>
          <a:stretch/>
        </p:blipFill>
        <p:spPr>
          <a:xfrm>
            <a:off x="5646732" y="2097349"/>
            <a:ext cx="3050573" cy="163193"/>
          </a:xfrm>
          <a:prstGeom prst="rect">
            <a:avLst/>
          </a:prstGeom>
        </p:spPr>
      </p:pic>
      <p:pic>
        <p:nvPicPr>
          <p:cNvPr id="100" name="그림 99">
            <a:extLst>
              <a:ext uri="{FF2B5EF4-FFF2-40B4-BE49-F238E27FC236}">
                <a16:creationId xmlns:a16="http://schemas.microsoft.com/office/drawing/2014/main" id="{51D154B4-2A00-47CE-A4FE-20ED86A80DE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3" r="65773" b="-3598"/>
          <a:stretch/>
        </p:blipFill>
        <p:spPr>
          <a:xfrm>
            <a:off x="5779354" y="2316864"/>
            <a:ext cx="717133" cy="813731"/>
          </a:xfrm>
          <a:prstGeom prst="rect">
            <a:avLst/>
          </a:prstGeom>
        </p:spPr>
      </p:pic>
      <p:pic>
        <p:nvPicPr>
          <p:cNvPr id="102" name="그림 101">
            <a:extLst>
              <a:ext uri="{FF2B5EF4-FFF2-40B4-BE49-F238E27FC236}">
                <a16:creationId xmlns:a16="http://schemas.microsoft.com/office/drawing/2014/main" id="{A30B73F9-3114-486A-A408-862191B7D47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3" r="65773" b="-3598"/>
          <a:stretch/>
        </p:blipFill>
        <p:spPr>
          <a:xfrm>
            <a:off x="5777989" y="3197210"/>
            <a:ext cx="717133" cy="813731"/>
          </a:xfrm>
          <a:prstGeom prst="rect">
            <a:avLst/>
          </a:prstGeom>
        </p:spPr>
      </p:pic>
      <p:pic>
        <p:nvPicPr>
          <p:cNvPr id="103" name="그림 102">
            <a:extLst>
              <a:ext uri="{FF2B5EF4-FFF2-40B4-BE49-F238E27FC236}">
                <a16:creationId xmlns:a16="http://schemas.microsoft.com/office/drawing/2014/main" id="{397CA179-E23D-4988-BBCC-6E785997B6F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3" r="65773" b="-3598"/>
          <a:stretch/>
        </p:blipFill>
        <p:spPr>
          <a:xfrm>
            <a:off x="5780635" y="4067263"/>
            <a:ext cx="717133" cy="813731"/>
          </a:xfrm>
          <a:prstGeom prst="rect">
            <a:avLst/>
          </a:prstGeom>
        </p:spPr>
      </p:pic>
      <p:cxnSp>
        <p:nvCxnSpPr>
          <p:cNvPr id="104" name="직선 연결선 103">
            <a:extLst>
              <a:ext uri="{FF2B5EF4-FFF2-40B4-BE49-F238E27FC236}">
                <a16:creationId xmlns:a16="http://schemas.microsoft.com/office/drawing/2014/main" id="{DB915F29-0F36-4A60-8B77-40DAFCAB595C}"/>
              </a:ext>
            </a:extLst>
          </p:cNvPr>
          <p:cNvCxnSpPr>
            <a:cxnSpLocks/>
          </p:cNvCxnSpPr>
          <p:nvPr/>
        </p:nvCxnSpPr>
        <p:spPr>
          <a:xfrm>
            <a:off x="812957" y="2050377"/>
            <a:ext cx="0" cy="3956242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65D7EB63-1283-45F1-A034-491825F25F72}"/>
              </a:ext>
            </a:extLst>
          </p:cNvPr>
          <p:cNvSpPr/>
          <p:nvPr/>
        </p:nvSpPr>
        <p:spPr>
          <a:xfrm>
            <a:off x="805745" y="2177433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 영역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rea</a:t>
            </a:r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3B3B6DF7-3517-420B-AAB9-C06EE9CB73C6}"/>
              </a:ext>
            </a:extLst>
          </p:cNvPr>
          <p:cNvCxnSpPr>
            <a:cxnSpLocks/>
          </p:cNvCxnSpPr>
          <p:nvPr/>
        </p:nvCxnSpPr>
        <p:spPr>
          <a:xfrm>
            <a:off x="1765721" y="2033506"/>
            <a:ext cx="0" cy="3956242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0722442E-99B0-412A-ACF0-543772F88110}"/>
              </a:ext>
            </a:extLst>
          </p:cNvPr>
          <p:cNvSpPr/>
          <p:nvPr/>
        </p:nvSpPr>
        <p:spPr>
          <a:xfrm>
            <a:off x="1874929" y="2162487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영역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rea</a:t>
            </a:r>
          </a:p>
        </p:txBody>
      </p:sp>
    </p:spTree>
    <p:extLst>
      <p:ext uri="{BB962C8B-B14F-4D97-AF65-F5344CB8AC3E}">
        <p14:creationId xmlns:p14="http://schemas.microsoft.com/office/powerpoint/2010/main" val="3389329359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표 10">
            <a:extLst>
              <a:ext uri="{FF2B5EF4-FFF2-40B4-BE49-F238E27FC236}">
                <a16:creationId xmlns:a16="http://schemas.microsoft.com/office/drawing/2014/main" id="{D64CF283-2265-4118-B260-DE50D141F9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835495"/>
              </p:ext>
            </p:extLst>
          </p:nvPr>
        </p:nvGraphicFramePr>
        <p:xfrm>
          <a:off x="335361" y="1043340"/>
          <a:ext cx="11521278" cy="52195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0142">
                  <a:extLst>
                    <a:ext uri="{9D8B030D-6E8A-4147-A177-3AD203B41FA5}">
                      <a16:colId xmlns:a16="http://schemas.microsoft.com/office/drawing/2014/main" val="3707295847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603884894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643897602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2041006225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3208282662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576680554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779892502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144716788"/>
                    </a:ext>
                  </a:extLst>
                </a:gridCol>
                <a:gridCol w="1280142">
                  <a:extLst>
                    <a:ext uri="{9D8B030D-6E8A-4147-A177-3AD203B41FA5}">
                      <a16:colId xmlns:a16="http://schemas.microsoft.com/office/drawing/2014/main" val="203527464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13967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레포트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060848"/>
                  </a:ext>
                </a:extLst>
              </a:tr>
              <a:tr h="4824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481813"/>
                  </a:ext>
                </a:extLst>
              </a:tr>
              <a:tr h="8610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외 전체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3110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8991235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88955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레포트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965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044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9443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368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110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연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862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798678"/>
                  </a:ext>
                </a:extLst>
              </a:tr>
            </a:tbl>
          </a:graphicData>
        </a:graphic>
      </p:graphicFrame>
      <p:sp>
        <p:nvSpPr>
          <p:cNvPr id="115" name="TextBox 114">
            <a:extLst>
              <a:ext uri="{FF2B5EF4-FFF2-40B4-BE49-F238E27FC236}">
                <a16:creationId xmlns:a16="http://schemas.microsoft.com/office/drawing/2014/main" id="{D2AE8F76-44FF-432B-A0E5-09D354381DDF}"/>
              </a:ext>
            </a:extLst>
          </p:cNvPr>
          <p:cNvSpPr txBox="1"/>
          <p:nvPr/>
        </p:nvSpPr>
        <p:spPr>
          <a:xfrm>
            <a:off x="335361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유형별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분값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및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값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5499405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859093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발간물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면은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레포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하여 삼일에서 발간한 뉴스레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자료를 조회하고 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7878" y="2629765"/>
            <a:ext cx="8642428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07540AE-5B67-4D9A-84E0-8AC7872222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C95A3719-914F-4E4A-BC9D-C607071C63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340126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489466"/>
              </p:ext>
            </p:extLst>
          </p:nvPr>
        </p:nvGraphicFramePr>
        <p:xfrm>
          <a:off x="352742" y="3240365"/>
          <a:ext cx="8627568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2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리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문가 리스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3" name="직사각형 72">
            <a:extLst>
              <a:ext uri="{FF2B5EF4-FFF2-40B4-BE49-F238E27FC236}">
                <a16:creationId xmlns:a16="http://schemas.microsoft.com/office/drawing/2014/main" id="{3A109657-77AC-4F14-B4EB-9C1C88011D6A}"/>
              </a:ext>
            </a:extLst>
          </p:cNvPr>
          <p:cNvSpPr/>
          <p:nvPr/>
        </p:nvSpPr>
        <p:spPr>
          <a:xfrm>
            <a:off x="728997" y="5646738"/>
            <a:ext cx="2591159" cy="4911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197" name="직선 연결선 196">
            <a:extLst>
              <a:ext uri="{FF2B5EF4-FFF2-40B4-BE49-F238E27FC236}">
                <a16:creationId xmlns:a16="http://schemas.microsoft.com/office/drawing/2014/main" id="{BA83D72F-C8B1-48F2-BBFF-9E0549FA6D79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3" name="그룹 182">
            <a:extLst>
              <a:ext uri="{FF2B5EF4-FFF2-40B4-BE49-F238E27FC236}">
                <a16:creationId xmlns:a16="http://schemas.microsoft.com/office/drawing/2014/main" id="{EB407FAC-E6C3-48A9-AA3C-6462BFDC5635}"/>
              </a:ext>
            </a:extLst>
          </p:cNvPr>
          <p:cNvGrpSpPr/>
          <p:nvPr/>
        </p:nvGrpSpPr>
        <p:grpSpPr>
          <a:xfrm>
            <a:off x="6886524" y="4262858"/>
            <a:ext cx="1944000" cy="1189703"/>
            <a:chOff x="3925318" y="3675504"/>
            <a:chExt cx="1124954" cy="765997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9A38B375-4909-4D91-A249-866E7901F65C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85" name="직선 연결선 184">
              <a:extLst>
                <a:ext uri="{FF2B5EF4-FFF2-40B4-BE49-F238E27FC236}">
                  <a16:creationId xmlns:a16="http://schemas.microsoft.com/office/drawing/2014/main" id="{9FA120A3-66E2-4294-98F7-327D0C8A8F4F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직선 연결선 185">
              <a:extLst>
                <a:ext uri="{FF2B5EF4-FFF2-40B4-BE49-F238E27FC236}">
                  <a16:creationId xmlns:a16="http://schemas.microsoft.com/office/drawing/2014/main" id="{B1B1C1CD-3D24-4D1B-B179-0C88A10DE7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그룹 186">
            <a:extLst>
              <a:ext uri="{FF2B5EF4-FFF2-40B4-BE49-F238E27FC236}">
                <a16:creationId xmlns:a16="http://schemas.microsoft.com/office/drawing/2014/main" id="{731D25E1-80D4-4EEE-A9B3-B89B778D1C96}"/>
              </a:ext>
            </a:extLst>
          </p:cNvPr>
          <p:cNvGrpSpPr/>
          <p:nvPr/>
        </p:nvGrpSpPr>
        <p:grpSpPr>
          <a:xfrm>
            <a:off x="4756552" y="4248603"/>
            <a:ext cx="1944000" cy="1189703"/>
            <a:chOff x="3925318" y="3675504"/>
            <a:chExt cx="1124954" cy="765997"/>
          </a:xfrm>
        </p:grpSpPr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B0737C74-B7AC-4F8B-9A64-449B191089D4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89" name="직선 연결선 188">
              <a:extLst>
                <a:ext uri="{FF2B5EF4-FFF2-40B4-BE49-F238E27FC236}">
                  <a16:creationId xmlns:a16="http://schemas.microsoft.com/office/drawing/2014/main" id="{7CFCCCF2-F36A-4668-8CDC-7D9EB3D41141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직선 연결선 268">
              <a:extLst>
                <a:ext uri="{FF2B5EF4-FFF2-40B4-BE49-F238E27FC236}">
                  <a16:creationId xmlns:a16="http://schemas.microsoft.com/office/drawing/2014/main" id="{912E4E44-8145-45F3-A21E-DDD244E72D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3" name="직사각형 272">
            <a:extLst>
              <a:ext uri="{FF2B5EF4-FFF2-40B4-BE49-F238E27FC236}">
                <a16:creationId xmlns:a16="http://schemas.microsoft.com/office/drawing/2014/main" id="{6D2DF30B-3719-44ED-AE6A-15853908BBCD}"/>
              </a:ext>
            </a:extLst>
          </p:cNvPr>
          <p:cNvSpPr/>
          <p:nvPr/>
        </p:nvSpPr>
        <p:spPr>
          <a:xfrm>
            <a:off x="2583635" y="5542596"/>
            <a:ext cx="2019650" cy="32593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U </a:t>
            </a: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 지속 가능성 보고 지침 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요 내용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274" name="그룹 273">
            <a:extLst>
              <a:ext uri="{FF2B5EF4-FFF2-40B4-BE49-F238E27FC236}">
                <a16:creationId xmlns:a16="http://schemas.microsoft.com/office/drawing/2014/main" id="{6979EEA6-F347-4A11-8BD1-386D42735695}"/>
              </a:ext>
            </a:extLst>
          </p:cNvPr>
          <p:cNvGrpSpPr/>
          <p:nvPr/>
        </p:nvGrpSpPr>
        <p:grpSpPr>
          <a:xfrm>
            <a:off x="2672310" y="6163907"/>
            <a:ext cx="1274034" cy="155552"/>
            <a:chOff x="3287688" y="7159620"/>
            <a:chExt cx="1069338" cy="218101"/>
          </a:xfrm>
        </p:grpSpPr>
        <p:sp>
          <p:nvSpPr>
            <p:cNvPr id="275" name="직사각형 274">
              <a:extLst>
                <a:ext uri="{FF2B5EF4-FFF2-40B4-BE49-F238E27FC236}">
                  <a16:creationId xmlns:a16="http://schemas.microsoft.com/office/drawing/2014/main" id="{DB555419-5A9A-491C-AF7D-A9E00CA63214}"/>
                </a:ext>
              </a:extLst>
            </p:cNvPr>
            <p:cNvSpPr/>
            <p:nvPr/>
          </p:nvSpPr>
          <p:spPr>
            <a:xfrm>
              <a:off x="3287688" y="7159620"/>
              <a:ext cx="245101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F14BD938-B54C-45BE-93CB-2DCE8891BE73}"/>
                </a:ext>
              </a:extLst>
            </p:cNvPr>
            <p:cNvSpPr/>
            <p:nvPr/>
          </p:nvSpPr>
          <p:spPr>
            <a:xfrm>
              <a:off x="3582719" y="7159620"/>
              <a:ext cx="490804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반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68C8A5E0-EA01-4ADB-B912-ED1D3721E59B}"/>
                </a:ext>
              </a:extLst>
            </p:cNvPr>
            <p:cNvSpPr/>
            <p:nvPr/>
          </p:nvSpPr>
          <p:spPr>
            <a:xfrm>
              <a:off x="4106199" y="7159620"/>
              <a:ext cx="250827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272" name="직사각형 271">
            <a:extLst>
              <a:ext uri="{FF2B5EF4-FFF2-40B4-BE49-F238E27FC236}">
                <a16:creationId xmlns:a16="http://schemas.microsoft.com/office/drawing/2014/main" id="{EC6CC86A-C9AC-4F59-B018-BD18C9BA5FEC}"/>
              </a:ext>
            </a:extLst>
          </p:cNvPr>
          <p:cNvSpPr/>
          <p:nvPr/>
        </p:nvSpPr>
        <p:spPr>
          <a:xfrm>
            <a:off x="2583636" y="5868324"/>
            <a:ext cx="1944716" cy="2123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.06.30</a:t>
            </a:r>
          </a:p>
        </p:txBody>
      </p:sp>
      <p:grpSp>
        <p:nvGrpSpPr>
          <p:cNvPr id="279" name="그룹 278">
            <a:extLst>
              <a:ext uri="{FF2B5EF4-FFF2-40B4-BE49-F238E27FC236}">
                <a16:creationId xmlns:a16="http://schemas.microsoft.com/office/drawing/2014/main" id="{69A44275-0B30-405F-8982-10095F7211FD}"/>
              </a:ext>
            </a:extLst>
          </p:cNvPr>
          <p:cNvGrpSpPr/>
          <p:nvPr/>
        </p:nvGrpSpPr>
        <p:grpSpPr>
          <a:xfrm>
            <a:off x="4666888" y="5534714"/>
            <a:ext cx="2019650" cy="776847"/>
            <a:chOff x="766908" y="5336725"/>
            <a:chExt cx="2019650" cy="776847"/>
          </a:xfrm>
        </p:grpSpPr>
        <p:grpSp>
          <p:nvGrpSpPr>
            <p:cNvPr id="280" name="그룹 279">
              <a:extLst>
                <a:ext uri="{FF2B5EF4-FFF2-40B4-BE49-F238E27FC236}">
                  <a16:creationId xmlns:a16="http://schemas.microsoft.com/office/drawing/2014/main" id="{3AD9D0C9-BCFA-443A-9B3D-37ABC7BACE2E}"/>
                </a:ext>
              </a:extLst>
            </p:cNvPr>
            <p:cNvGrpSpPr/>
            <p:nvPr/>
          </p:nvGrpSpPr>
          <p:grpSpPr>
            <a:xfrm>
              <a:off x="766908" y="5336725"/>
              <a:ext cx="2019650" cy="776847"/>
              <a:chOff x="766908" y="5336725"/>
              <a:chExt cx="2019650" cy="776847"/>
            </a:xfrm>
          </p:grpSpPr>
          <p:sp>
            <p:nvSpPr>
              <p:cNvPr id="282" name="직사각형 281">
                <a:extLst>
                  <a:ext uri="{FF2B5EF4-FFF2-40B4-BE49-F238E27FC236}">
                    <a16:creationId xmlns:a16="http://schemas.microsoft.com/office/drawing/2014/main" id="{B53765DF-9FD5-46D2-97C4-944E45B45B58}"/>
                  </a:ext>
                </a:extLst>
              </p:cNvPr>
              <p:cNvSpPr/>
              <p:nvPr/>
            </p:nvSpPr>
            <p:spPr>
              <a:xfrm>
                <a:off x="766908" y="5336725"/>
                <a:ext cx="2019650" cy="325936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U </a:t>
                </a:r>
                <a:r>
                  <a:rPr lang="ko-KR" altLang="en-US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기업 지속 가능성 보고 지침 </a:t>
                </a:r>
                <a:endPara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ko-KR" altLang="en-US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주요 내용</a:t>
                </a:r>
                <a:endPara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grpSp>
            <p:nvGrpSpPr>
              <p:cNvPr id="283" name="그룹 282">
                <a:extLst>
                  <a:ext uri="{FF2B5EF4-FFF2-40B4-BE49-F238E27FC236}">
                    <a16:creationId xmlns:a16="http://schemas.microsoft.com/office/drawing/2014/main" id="{B536F236-E999-4B76-9947-1A4C43DAD7FA}"/>
                  </a:ext>
                </a:extLst>
              </p:cNvPr>
              <p:cNvGrpSpPr/>
              <p:nvPr/>
            </p:nvGrpSpPr>
            <p:grpSpPr>
              <a:xfrm>
                <a:off x="855581" y="5957017"/>
                <a:ext cx="992860" cy="156555"/>
                <a:chOff x="3287688" y="7158213"/>
                <a:chExt cx="833340" cy="219508"/>
              </a:xfrm>
            </p:grpSpPr>
            <p:sp>
              <p:nvSpPr>
                <p:cNvPr id="284" name="직사각형 283">
                  <a:extLst>
                    <a:ext uri="{FF2B5EF4-FFF2-40B4-BE49-F238E27FC236}">
                      <a16:creationId xmlns:a16="http://schemas.microsoft.com/office/drawing/2014/main" id="{18142B23-9EE1-445F-B694-B986126BE29C}"/>
                    </a:ext>
                  </a:extLst>
                </p:cNvPr>
                <p:cNvSpPr/>
                <p:nvPr/>
              </p:nvSpPr>
              <p:spPr>
                <a:xfrm>
                  <a:off x="3287688" y="7159620"/>
                  <a:ext cx="245101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공시</a:t>
                  </a:r>
                </a:p>
              </p:txBody>
            </p:sp>
            <p:sp>
              <p:nvSpPr>
                <p:cNvPr id="285" name="직사각형 284">
                  <a:extLst>
                    <a:ext uri="{FF2B5EF4-FFF2-40B4-BE49-F238E27FC236}">
                      <a16:creationId xmlns:a16="http://schemas.microsoft.com/office/drawing/2014/main" id="{40351E4A-8267-47B0-A190-7E9242AB2195}"/>
                    </a:ext>
                  </a:extLst>
                </p:cNvPr>
                <p:cNvSpPr/>
                <p:nvPr/>
              </p:nvSpPr>
              <p:spPr>
                <a:xfrm>
                  <a:off x="3582719" y="7159620"/>
                  <a:ext cx="250827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보고</a:t>
                  </a:r>
                </a:p>
              </p:txBody>
            </p:sp>
            <p:sp>
              <p:nvSpPr>
                <p:cNvPr id="286" name="직사각형 285">
                  <a:extLst>
                    <a:ext uri="{FF2B5EF4-FFF2-40B4-BE49-F238E27FC236}">
                      <a16:creationId xmlns:a16="http://schemas.microsoft.com/office/drawing/2014/main" id="{D3D1E62D-E6BF-44FD-892C-F56D9035992B}"/>
                    </a:ext>
                  </a:extLst>
                </p:cNvPr>
                <p:cNvSpPr/>
                <p:nvPr/>
              </p:nvSpPr>
              <p:spPr>
                <a:xfrm>
                  <a:off x="3881315" y="7158213"/>
                  <a:ext cx="239713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en-US" altLang="ko-KR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EU</a:t>
                  </a:r>
                  <a:endPara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</p:grpSp>
        </p:grpSp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4B18EED8-22E1-4E8E-A293-A14634FFBB2D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288" name="그룹 287">
            <a:extLst>
              <a:ext uri="{FF2B5EF4-FFF2-40B4-BE49-F238E27FC236}">
                <a16:creationId xmlns:a16="http://schemas.microsoft.com/office/drawing/2014/main" id="{0695E5B6-827E-4F48-9FC6-7738116417A2}"/>
              </a:ext>
            </a:extLst>
          </p:cNvPr>
          <p:cNvGrpSpPr/>
          <p:nvPr/>
        </p:nvGrpSpPr>
        <p:grpSpPr>
          <a:xfrm>
            <a:off x="6822523" y="5542596"/>
            <a:ext cx="2019650" cy="776847"/>
            <a:chOff x="766908" y="5336725"/>
            <a:chExt cx="2019650" cy="776847"/>
          </a:xfrm>
        </p:grpSpPr>
        <p:grpSp>
          <p:nvGrpSpPr>
            <p:cNvPr id="289" name="그룹 288">
              <a:extLst>
                <a:ext uri="{FF2B5EF4-FFF2-40B4-BE49-F238E27FC236}">
                  <a16:creationId xmlns:a16="http://schemas.microsoft.com/office/drawing/2014/main" id="{0F85E475-6367-4374-9D9B-6EA6456BEF86}"/>
                </a:ext>
              </a:extLst>
            </p:cNvPr>
            <p:cNvGrpSpPr/>
            <p:nvPr/>
          </p:nvGrpSpPr>
          <p:grpSpPr>
            <a:xfrm>
              <a:off x="766908" y="5336725"/>
              <a:ext cx="2019650" cy="776847"/>
              <a:chOff x="766908" y="5336725"/>
              <a:chExt cx="2019650" cy="776847"/>
            </a:xfrm>
          </p:grpSpPr>
          <p:sp>
            <p:nvSpPr>
              <p:cNvPr id="291" name="직사각형 290">
                <a:extLst>
                  <a:ext uri="{FF2B5EF4-FFF2-40B4-BE49-F238E27FC236}">
                    <a16:creationId xmlns:a16="http://schemas.microsoft.com/office/drawing/2014/main" id="{7E985AE8-F4C3-4C53-8729-C55110F7856F}"/>
                  </a:ext>
                </a:extLst>
              </p:cNvPr>
              <p:cNvSpPr/>
              <p:nvPr/>
            </p:nvSpPr>
            <p:spPr>
              <a:xfrm>
                <a:off x="766908" y="5336725"/>
                <a:ext cx="2019650" cy="325936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U </a:t>
                </a:r>
                <a:r>
                  <a:rPr lang="ko-KR" altLang="en-US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기업 지속 가능성 보고 지침 </a:t>
                </a:r>
                <a:endPara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ko-KR" altLang="en-US" sz="9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주요 내용</a:t>
                </a:r>
                <a:endPara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grpSp>
            <p:nvGrpSpPr>
              <p:cNvPr id="292" name="그룹 291">
                <a:extLst>
                  <a:ext uri="{FF2B5EF4-FFF2-40B4-BE49-F238E27FC236}">
                    <a16:creationId xmlns:a16="http://schemas.microsoft.com/office/drawing/2014/main" id="{F6EDDDAF-4425-4116-BDE2-D18C6B4BE162}"/>
                  </a:ext>
                </a:extLst>
              </p:cNvPr>
              <p:cNvGrpSpPr/>
              <p:nvPr/>
            </p:nvGrpSpPr>
            <p:grpSpPr>
              <a:xfrm>
                <a:off x="855582" y="5957017"/>
                <a:ext cx="1715905" cy="156555"/>
                <a:chOff x="3287688" y="7158213"/>
                <a:chExt cx="1440215" cy="219508"/>
              </a:xfrm>
            </p:grpSpPr>
            <p:sp>
              <p:nvSpPr>
                <p:cNvPr id="293" name="직사각형 292">
                  <a:extLst>
                    <a:ext uri="{FF2B5EF4-FFF2-40B4-BE49-F238E27FC236}">
                      <a16:creationId xmlns:a16="http://schemas.microsoft.com/office/drawing/2014/main" id="{22A19CDC-8516-4625-BAB3-22F99322D98F}"/>
                    </a:ext>
                  </a:extLst>
                </p:cNvPr>
                <p:cNvSpPr/>
                <p:nvPr/>
              </p:nvSpPr>
              <p:spPr>
                <a:xfrm>
                  <a:off x="3287688" y="7159620"/>
                  <a:ext cx="245101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공시</a:t>
                  </a:r>
                </a:p>
              </p:txBody>
            </p:sp>
            <p:sp>
              <p:nvSpPr>
                <p:cNvPr id="294" name="직사각형 293">
                  <a:extLst>
                    <a:ext uri="{FF2B5EF4-FFF2-40B4-BE49-F238E27FC236}">
                      <a16:creationId xmlns:a16="http://schemas.microsoft.com/office/drawing/2014/main" id="{647838D1-C0E5-4FAE-8BF5-F45B720688BF}"/>
                    </a:ext>
                  </a:extLst>
                </p:cNvPr>
                <p:cNvSpPr/>
                <p:nvPr/>
              </p:nvSpPr>
              <p:spPr>
                <a:xfrm>
                  <a:off x="3582719" y="7159620"/>
                  <a:ext cx="250827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보고</a:t>
                  </a:r>
                </a:p>
              </p:txBody>
            </p:sp>
            <p:sp>
              <p:nvSpPr>
                <p:cNvPr id="295" name="직사각형 294">
                  <a:extLst>
                    <a:ext uri="{FF2B5EF4-FFF2-40B4-BE49-F238E27FC236}">
                      <a16:creationId xmlns:a16="http://schemas.microsoft.com/office/drawing/2014/main" id="{F6BE39A6-3805-4FF9-9663-328AA7432C12}"/>
                    </a:ext>
                  </a:extLst>
                </p:cNvPr>
                <p:cNvSpPr/>
                <p:nvPr/>
              </p:nvSpPr>
              <p:spPr>
                <a:xfrm>
                  <a:off x="3881315" y="7158213"/>
                  <a:ext cx="239713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en-US" altLang="ko-KR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EU</a:t>
                  </a:r>
                  <a:endPara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96" name="직사각형 295">
                  <a:extLst>
                    <a:ext uri="{FF2B5EF4-FFF2-40B4-BE49-F238E27FC236}">
                      <a16:creationId xmlns:a16="http://schemas.microsoft.com/office/drawing/2014/main" id="{ECB13FFD-42DC-4E55-B5F1-C1221E0BE55D}"/>
                    </a:ext>
                  </a:extLst>
                </p:cNvPr>
                <p:cNvSpPr/>
                <p:nvPr/>
              </p:nvSpPr>
              <p:spPr>
                <a:xfrm>
                  <a:off x="4170959" y="7159620"/>
                  <a:ext cx="556944" cy="2181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9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지속가능성</a:t>
                  </a:r>
                </a:p>
              </p:txBody>
            </p:sp>
          </p:grpSp>
        </p:grpSp>
        <p:sp>
          <p:nvSpPr>
            <p:cNvPr id="290" name="직사각형 289">
              <a:extLst>
                <a:ext uri="{FF2B5EF4-FFF2-40B4-BE49-F238E27FC236}">
                  <a16:creationId xmlns:a16="http://schemas.microsoft.com/office/drawing/2014/main" id="{90885291-1752-4666-8AE0-581E8564F6E5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pic>
        <p:nvPicPr>
          <p:cNvPr id="297" name="그림 296">
            <a:extLst>
              <a:ext uri="{FF2B5EF4-FFF2-40B4-BE49-F238E27FC236}">
                <a16:creationId xmlns:a16="http://schemas.microsoft.com/office/drawing/2014/main" id="{11012D93-1C0B-4307-B23B-9F9063DBCC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9616" y="4248603"/>
            <a:ext cx="1933267" cy="1208815"/>
          </a:xfrm>
          <a:prstGeom prst="rect">
            <a:avLst/>
          </a:prstGeom>
        </p:spPr>
      </p:pic>
      <p:graphicFrame>
        <p:nvGraphicFramePr>
          <p:cNvPr id="301" name="표 10">
            <a:extLst>
              <a:ext uri="{FF2B5EF4-FFF2-40B4-BE49-F238E27FC236}">
                <a16:creationId xmlns:a16="http://schemas.microsoft.com/office/drawing/2014/main" id="{7A02FBF5-3634-4A63-B3F8-716367F8A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065880"/>
              </p:ext>
            </p:extLst>
          </p:nvPr>
        </p:nvGraphicFramePr>
        <p:xfrm>
          <a:off x="9275970" y="750181"/>
          <a:ext cx="2922885" cy="61159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8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7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1833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통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282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9549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검색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 기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로 구분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 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은 컨텐츠 등록 시 입력한 태그 키워드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0292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메뉴 내 탭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레포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리스트로 구분하여 컨텐츠 자동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0655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158807"/>
                  </a:ext>
                </a:extLst>
              </a:tr>
              <a:tr h="2182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 열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려 있는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및 필터 기능 적용한 컨텐츠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9549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3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사용한 경우에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이 보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변경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30114"/>
                  </a:ext>
                </a:extLst>
              </a:tr>
              <a:tr h="5929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영역 펼쳐져 있을 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영역 접었을 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841531"/>
                  </a:ext>
                </a:extLst>
              </a:tr>
            </a:tbl>
          </a:graphicData>
        </a:graphic>
      </p:graphicFrame>
      <p:graphicFrame>
        <p:nvGraphicFramePr>
          <p:cNvPr id="303" name="표 10">
            <a:extLst>
              <a:ext uri="{FF2B5EF4-FFF2-40B4-BE49-F238E27FC236}">
                <a16:creationId xmlns:a16="http://schemas.microsoft.com/office/drawing/2014/main" id="{A576F9BC-F868-4874-98B9-02993480F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35622"/>
              </p:ext>
            </p:extLst>
          </p:nvPr>
        </p:nvGraphicFramePr>
        <p:xfrm>
          <a:off x="9791319" y="2999539"/>
          <a:ext cx="2300574" cy="13699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8590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14668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143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348954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4143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17051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리스트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도 관리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3" name="직사각형 12">
            <a:extLst>
              <a:ext uri="{FF2B5EF4-FFF2-40B4-BE49-F238E27FC236}">
                <a16:creationId xmlns:a16="http://schemas.microsoft.com/office/drawing/2014/main" id="{F601B17A-0951-4137-AE1F-C28A84D5832F}"/>
              </a:ext>
            </a:extLst>
          </p:cNvPr>
          <p:cNvSpPr/>
          <p:nvPr/>
        </p:nvSpPr>
        <p:spPr>
          <a:xfrm>
            <a:off x="5986286" y="3866598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307" name="사각형: 둥근 모서리 306">
            <a:extLst>
              <a:ext uri="{FF2B5EF4-FFF2-40B4-BE49-F238E27FC236}">
                <a16:creationId xmlns:a16="http://schemas.microsoft.com/office/drawing/2014/main" id="{83D84278-D57F-4957-AC1A-8359FAC63B89}"/>
              </a:ext>
            </a:extLst>
          </p:cNvPr>
          <p:cNvSpPr/>
          <p:nvPr/>
        </p:nvSpPr>
        <p:spPr>
          <a:xfrm>
            <a:off x="6197337" y="38291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3" name="그룹 192">
            <a:extLst>
              <a:ext uri="{FF2B5EF4-FFF2-40B4-BE49-F238E27FC236}">
                <a16:creationId xmlns:a16="http://schemas.microsoft.com/office/drawing/2014/main" id="{57B2F71C-91D3-416B-96A0-A22F39C3F33E}"/>
              </a:ext>
            </a:extLst>
          </p:cNvPr>
          <p:cNvGrpSpPr/>
          <p:nvPr/>
        </p:nvGrpSpPr>
        <p:grpSpPr>
          <a:xfrm>
            <a:off x="2429549" y="3732954"/>
            <a:ext cx="559062" cy="439813"/>
            <a:chOff x="376836" y="3754755"/>
            <a:chExt cx="452615" cy="356071"/>
          </a:xfrm>
        </p:grpSpPr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D4762477-07A5-4F80-9EBD-65669CB6DAFB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1A85A4B9-DBBD-4EDA-BECC-A10CF4E026CC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닫기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93133EF9-FAA6-4912-B217-BC4F57931FC2}"/>
              </a:ext>
            </a:extLst>
          </p:cNvPr>
          <p:cNvSpPr/>
          <p:nvPr/>
        </p:nvSpPr>
        <p:spPr>
          <a:xfrm>
            <a:off x="2871528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5" name="사각형: 둥근 모서리 304">
            <a:extLst>
              <a:ext uri="{FF2B5EF4-FFF2-40B4-BE49-F238E27FC236}">
                <a16:creationId xmlns:a16="http://schemas.microsoft.com/office/drawing/2014/main" id="{DEB24129-BFEB-4CE2-B5A6-68CA5435FC6D}"/>
              </a:ext>
            </a:extLst>
          </p:cNvPr>
          <p:cNvSpPr/>
          <p:nvPr/>
        </p:nvSpPr>
        <p:spPr>
          <a:xfrm>
            <a:off x="2986418" y="38046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8" name="직사각형 317">
            <a:extLst>
              <a:ext uri="{FF2B5EF4-FFF2-40B4-BE49-F238E27FC236}">
                <a16:creationId xmlns:a16="http://schemas.microsoft.com/office/drawing/2014/main" id="{7C43F3DB-3989-468D-BAF3-A8805535470F}"/>
              </a:ext>
            </a:extLst>
          </p:cNvPr>
          <p:cNvSpPr/>
          <p:nvPr/>
        </p:nvSpPr>
        <p:spPr>
          <a:xfrm>
            <a:off x="2672309" y="6413218"/>
            <a:ext cx="1795182" cy="15555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GRI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지속가능경영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0" name="직사각형 319">
            <a:extLst>
              <a:ext uri="{FF2B5EF4-FFF2-40B4-BE49-F238E27FC236}">
                <a16:creationId xmlns:a16="http://schemas.microsoft.com/office/drawing/2014/main" id="{CC356199-37DB-4864-A9A6-621E6BD86AC9}"/>
              </a:ext>
            </a:extLst>
          </p:cNvPr>
          <p:cNvSpPr/>
          <p:nvPr/>
        </p:nvSpPr>
        <p:spPr>
          <a:xfrm>
            <a:off x="4717798" y="6406966"/>
            <a:ext cx="1795182" cy="15555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GRI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지속가능경영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1" name="직사각형 320">
            <a:extLst>
              <a:ext uri="{FF2B5EF4-FFF2-40B4-BE49-F238E27FC236}">
                <a16:creationId xmlns:a16="http://schemas.microsoft.com/office/drawing/2014/main" id="{B610E0D4-2453-4658-A252-A8C6CA33521E}"/>
              </a:ext>
            </a:extLst>
          </p:cNvPr>
          <p:cNvSpPr/>
          <p:nvPr/>
        </p:nvSpPr>
        <p:spPr>
          <a:xfrm>
            <a:off x="6895004" y="6400695"/>
            <a:ext cx="1795182" cy="15555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GRI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지속가능경영 </a:t>
            </a:r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4CA6006-CD5C-443C-87AE-3924E5D21D2B}"/>
              </a:ext>
            </a:extLst>
          </p:cNvPr>
          <p:cNvSpPr/>
          <p:nvPr/>
        </p:nvSpPr>
        <p:spPr>
          <a:xfrm>
            <a:off x="2574305" y="4230115"/>
            <a:ext cx="6302170" cy="2446861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08" name="사각형: 둥근 모서리 307">
            <a:extLst>
              <a:ext uri="{FF2B5EF4-FFF2-40B4-BE49-F238E27FC236}">
                <a16:creationId xmlns:a16="http://schemas.microsoft.com/office/drawing/2014/main" id="{4F6B077A-6839-49DB-B220-BC4D593BBF1E}"/>
              </a:ext>
            </a:extLst>
          </p:cNvPr>
          <p:cNvSpPr/>
          <p:nvPr/>
        </p:nvSpPr>
        <p:spPr>
          <a:xfrm>
            <a:off x="5542908" y="53001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6" name="그림 75">
            <a:extLst>
              <a:ext uri="{FF2B5EF4-FFF2-40B4-BE49-F238E27FC236}">
                <a16:creationId xmlns:a16="http://schemas.microsoft.com/office/drawing/2014/main" id="{B039C1FE-BA71-4F2E-AC01-8BD504A5F91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594"/>
          <a:stretch/>
        </p:blipFill>
        <p:spPr>
          <a:xfrm>
            <a:off x="512159" y="3738238"/>
            <a:ext cx="1990392" cy="2938742"/>
          </a:xfrm>
          <a:prstGeom prst="rect">
            <a:avLst/>
          </a:prstGeom>
        </p:spPr>
      </p:pic>
      <p:sp>
        <p:nvSpPr>
          <p:cNvPr id="77" name="직사각형 76">
            <a:extLst>
              <a:ext uri="{FF2B5EF4-FFF2-40B4-BE49-F238E27FC236}">
                <a16:creationId xmlns:a16="http://schemas.microsoft.com/office/drawing/2014/main" id="{52B496A6-4C85-492A-8DB9-C35F1B3CFD62}"/>
              </a:ext>
            </a:extLst>
          </p:cNvPr>
          <p:cNvSpPr/>
          <p:nvPr/>
        </p:nvSpPr>
        <p:spPr>
          <a:xfrm>
            <a:off x="491067" y="3758290"/>
            <a:ext cx="2008915" cy="291868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1EA9D5EA-CC9F-41D9-B872-636114D99E5A}"/>
              </a:ext>
            </a:extLst>
          </p:cNvPr>
          <p:cNvSpPr/>
          <p:nvPr/>
        </p:nvSpPr>
        <p:spPr>
          <a:xfrm>
            <a:off x="1423043" y="51534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486BA4B6-61CA-4632-8A90-32458FD03D8D}"/>
              </a:ext>
            </a:extLst>
          </p:cNvPr>
          <p:cNvSpPr/>
          <p:nvPr/>
        </p:nvSpPr>
        <p:spPr bwMode="auto">
          <a:xfrm>
            <a:off x="350162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2C0A06B2-D4B7-4E54-9D98-9AD66FA98DF1}"/>
              </a:ext>
            </a:extLst>
          </p:cNvPr>
          <p:cNvSpPr/>
          <p:nvPr/>
        </p:nvSpPr>
        <p:spPr>
          <a:xfrm>
            <a:off x="4658424" y="265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2" name="그룹 81">
            <a:extLst>
              <a:ext uri="{FF2B5EF4-FFF2-40B4-BE49-F238E27FC236}">
                <a16:creationId xmlns:a16="http://schemas.microsoft.com/office/drawing/2014/main" id="{FF54BB64-CD49-49A4-B2AB-7D2641F9CF7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4" name="그림 83">
              <a:extLst>
                <a:ext uri="{FF2B5EF4-FFF2-40B4-BE49-F238E27FC236}">
                  <a16:creationId xmlns:a16="http://schemas.microsoft.com/office/drawing/2014/main" id="{2DEAB0DA-B83E-41AC-88A9-B37AB6D1AD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B3B90364-0D85-4ECB-9365-B6C00082C76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7" name="그림 86">
              <a:extLst>
                <a:ext uri="{FF2B5EF4-FFF2-40B4-BE49-F238E27FC236}">
                  <a16:creationId xmlns:a16="http://schemas.microsoft.com/office/drawing/2014/main" id="{34E1D08B-D31B-417B-8C05-6139E20391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1F84BE68-8E85-4944-8229-C5F79E04F1CE}"/>
              </a:ext>
            </a:extLst>
          </p:cNvPr>
          <p:cNvSpPr/>
          <p:nvPr/>
        </p:nvSpPr>
        <p:spPr>
          <a:xfrm>
            <a:off x="339521" y="606168"/>
            <a:ext cx="8640786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3BD15C92-31E9-41B0-B26B-9B07420EA8B9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852B92C5-7AB2-4EED-A8B4-33511CD9C346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2" name="사각형: 둥근 모서리 301">
            <a:extLst>
              <a:ext uri="{FF2B5EF4-FFF2-40B4-BE49-F238E27FC236}">
                <a16:creationId xmlns:a16="http://schemas.microsoft.com/office/drawing/2014/main" id="{EF716A75-1235-4AD5-8E07-84586104F3E4}"/>
              </a:ext>
            </a:extLst>
          </p:cNvPr>
          <p:cNvSpPr/>
          <p:nvPr/>
        </p:nvSpPr>
        <p:spPr>
          <a:xfrm>
            <a:off x="321942" y="321373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30F4BAA0-8024-4573-A280-D22B2647D5A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E29B8FA1-AFB0-4702-A984-736759C09178}"/>
              </a:ext>
            </a:extLst>
          </p:cNvPr>
          <p:cNvSpPr/>
          <p:nvPr/>
        </p:nvSpPr>
        <p:spPr>
          <a:xfrm>
            <a:off x="2494099" y="374233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304" name="사각형: 둥근 모서리 303">
            <a:extLst>
              <a:ext uri="{FF2B5EF4-FFF2-40B4-BE49-F238E27FC236}">
                <a16:creationId xmlns:a16="http://schemas.microsoft.com/office/drawing/2014/main" id="{144BACFF-1E2E-4E5B-93E9-009239A578D7}"/>
              </a:ext>
            </a:extLst>
          </p:cNvPr>
          <p:cNvSpPr/>
          <p:nvPr/>
        </p:nvSpPr>
        <p:spPr>
          <a:xfrm>
            <a:off x="2436344" y="37041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1718430B-5948-421D-9692-BA35A6EE9DDA}"/>
              </a:ext>
            </a:extLst>
          </p:cNvPr>
          <p:cNvSpPr/>
          <p:nvPr/>
        </p:nvSpPr>
        <p:spPr>
          <a:xfrm>
            <a:off x="8972055" y="1"/>
            <a:ext cx="3218221" cy="13699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메뉴명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인사이트 →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wC Korea Insights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PwC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사이트 → 삼일 인사이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사이트레포트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→ 인사이트 리포트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미디어 영상 → 미디어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DE25E05A-E227-4DCE-8F7B-256F21F39E7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144072272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144694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문서 목록을 조회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3889760"/>
              </p:ext>
            </p:extLst>
          </p:nvPr>
        </p:nvGraphicFramePr>
        <p:xfrm>
          <a:off x="9271192" y="759198"/>
          <a:ext cx="2919084" cy="18020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018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106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영역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열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발간일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02944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게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167398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0786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3" name="그룹 192">
            <a:extLst>
              <a:ext uri="{FF2B5EF4-FFF2-40B4-BE49-F238E27FC236}">
                <a16:creationId xmlns:a16="http://schemas.microsoft.com/office/drawing/2014/main" id="{57B2F71C-91D3-416B-96A0-A22F39C3F33E}"/>
              </a:ext>
            </a:extLst>
          </p:cNvPr>
          <p:cNvGrpSpPr/>
          <p:nvPr/>
        </p:nvGrpSpPr>
        <p:grpSpPr>
          <a:xfrm>
            <a:off x="2423592" y="1578166"/>
            <a:ext cx="559062" cy="439813"/>
            <a:chOff x="377030" y="3751488"/>
            <a:chExt cx="452615" cy="356071"/>
          </a:xfrm>
        </p:grpSpPr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D4762477-07A5-4F80-9EBD-65669CB6DAFB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1A85A4B9-DBBD-4EDA-BECC-A10CF4E026CC}"/>
                </a:ext>
              </a:extLst>
            </p:cNvPr>
            <p:cNvSpPr/>
            <p:nvPr/>
          </p:nvSpPr>
          <p:spPr>
            <a:xfrm>
              <a:off x="377030" y="3751488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닫기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97" name="직선 연결선 196">
            <a:extLst>
              <a:ext uri="{FF2B5EF4-FFF2-40B4-BE49-F238E27FC236}">
                <a16:creationId xmlns:a16="http://schemas.microsoft.com/office/drawing/2014/main" id="{BA83D72F-C8B1-48F2-BBFF-9E0549FA6D79}"/>
              </a:ext>
            </a:extLst>
          </p:cNvPr>
          <p:cNvCxnSpPr>
            <a:cxnSpLocks/>
          </p:cNvCxnSpPr>
          <p:nvPr/>
        </p:nvCxnSpPr>
        <p:spPr>
          <a:xfrm>
            <a:off x="2506228" y="1994439"/>
            <a:ext cx="634228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93133EF9-FAA6-4912-B217-BC4F57931FC2}"/>
              </a:ext>
            </a:extLst>
          </p:cNvPr>
          <p:cNvSpPr/>
          <p:nvPr/>
        </p:nvSpPr>
        <p:spPr>
          <a:xfrm>
            <a:off x="2855807" y="1743908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D3467843-3E76-4572-AD72-431882F07629}"/>
              </a:ext>
            </a:extLst>
          </p:cNvPr>
          <p:cNvGrpSpPr/>
          <p:nvPr/>
        </p:nvGrpSpPr>
        <p:grpSpPr>
          <a:xfrm>
            <a:off x="2692848" y="2097851"/>
            <a:ext cx="1944000" cy="1189703"/>
            <a:chOff x="3925318" y="3675504"/>
            <a:chExt cx="1124954" cy="765997"/>
          </a:xfrm>
        </p:grpSpPr>
        <p:sp>
          <p:nvSpPr>
            <p:cNvPr id="176" name="직사각형 175">
              <a:extLst>
                <a:ext uri="{FF2B5EF4-FFF2-40B4-BE49-F238E27FC236}">
                  <a16:creationId xmlns:a16="http://schemas.microsoft.com/office/drawing/2014/main" id="{EA465C30-5574-4AF3-9013-6C2B288739E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77" name="직선 연결선 176">
              <a:extLst>
                <a:ext uri="{FF2B5EF4-FFF2-40B4-BE49-F238E27FC236}">
                  <a16:creationId xmlns:a16="http://schemas.microsoft.com/office/drawing/2014/main" id="{637E8DCF-7021-43B6-AC1F-E8AD9D4A81A9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직선 연결선 177">
              <a:extLst>
                <a:ext uri="{FF2B5EF4-FFF2-40B4-BE49-F238E27FC236}">
                  <a16:creationId xmlns:a16="http://schemas.microsoft.com/office/drawing/2014/main" id="{3E87FA63-450A-4249-A098-0496D4F6A6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그룹 186">
            <a:extLst>
              <a:ext uri="{FF2B5EF4-FFF2-40B4-BE49-F238E27FC236}">
                <a16:creationId xmlns:a16="http://schemas.microsoft.com/office/drawing/2014/main" id="{731D25E1-80D4-4EEE-A9B3-B89B778D1C96}"/>
              </a:ext>
            </a:extLst>
          </p:cNvPr>
          <p:cNvGrpSpPr/>
          <p:nvPr/>
        </p:nvGrpSpPr>
        <p:grpSpPr>
          <a:xfrm>
            <a:off x="4822820" y="2097851"/>
            <a:ext cx="1944000" cy="1189703"/>
            <a:chOff x="3925318" y="3675504"/>
            <a:chExt cx="1124954" cy="765997"/>
          </a:xfrm>
        </p:grpSpPr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B0737C74-B7AC-4F8B-9A64-449B191089D4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89" name="직선 연결선 188">
              <a:extLst>
                <a:ext uri="{FF2B5EF4-FFF2-40B4-BE49-F238E27FC236}">
                  <a16:creationId xmlns:a16="http://schemas.microsoft.com/office/drawing/2014/main" id="{7CFCCCF2-F36A-4668-8CDC-7D9EB3D41141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직선 연결선 268">
              <a:extLst>
                <a:ext uri="{FF2B5EF4-FFF2-40B4-BE49-F238E27FC236}">
                  <a16:creationId xmlns:a16="http://schemas.microsoft.com/office/drawing/2014/main" id="{912E4E44-8145-45F3-A21E-DDD244E72D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B6F0EEEF-EC26-466E-AA81-7278D565AC81}"/>
              </a:ext>
            </a:extLst>
          </p:cNvPr>
          <p:cNvGrpSpPr/>
          <p:nvPr/>
        </p:nvGrpSpPr>
        <p:grpSpPr>
          <a:xfrm>
            <a:off x="2649903" y="3391844"/>
            <a:ext cx="2019650" cy="538037"/>
            <a:chOff x="766908" y="5336725"/>
            <a:chExt cx="2019650" cy="538037"/>
          </a:xfrm>
        </p:grpSpPr>
        <p:sp>
          <p:nvSpPr>
            <p:cNvPr id="273" name="직사각형 272">
              <a:extLst>
                <a:ext uri="{FF2B5EF4-FFF2-40B4-BE49-F238E27FC236}">
                  <a16:creationId xmlns:a16="http://schemas.microsoft.com/office/drawing/2014/main" id="{6D2DF30B-3719-44ED-AE6A-15853908BBCD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72" name="직사각형 271">
              <a:extLst>
                <a:ext uri="{FF2B5EF4-FFF2-40B4-BE49-F238E27FC236}">
                  <a16:creationId xmlns:a16="http://schemas.microsoft.com/office/drawing/2014/main" id="{EC6CC86A-C9AC-4F59-B018-BD18C9BA5FEC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  </a:t>
              </a:r>
            </a:p>
          </p:txBody>
        </p:sp>
      </p:grpSp>
      <p:grpSp>
        <p:nvGrpSpPr>
          <p:cNvPr id="279" name="그룹 278">
            <a:extLst>
              <a:ext uri="{FF2B5EF4-FFF2-40B4-BE49-F238E27FC236}">
                <a16:creationId xmlns:a16="http://schemas.microsoft.com/office/drawing/2014/main" id="{69A44275-0B30-405F-8982-10095F7211FD}"/>
              </a:ext>
            </a:extLst>
          </p:cNvPr>
          <p:cNvGrpSpPr/>
          <p:nvPr/>
        </p:nvGrpSpPr>
        <p:grpSpPr>
          <a:xfrm>
            <a:off x="4733156" y="3383962"/>
            <a:ext cx="2019650" cy="538037"/>
            <a:chOff x="766908" y="5336725"/>
            <a:chExt cx="2019650" cy="538037"/>
          </a:xfrm>
        </p:grpSpPr>
        <p:sp>
          <p:nvSpPr>
            <p:cNvPr id="282" name="직사각형 281">
              <a:extLst>
                <a:ext uri="{FF2B5EF4-FFF2-40B4-BE49-F238E27FC236}">
                  <a16:creationId xmlns:a16="http://schemas.microsoft.com/office/drawing/2014/main" id="{B53765DF-9FD5-46D2-97C4-944E45B45B58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4B18EED8-22E1-4E8E-A293-A14634FFBB2D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aphicFrame>
        <p:nvGraphicFramePr>
          <p:cNvPr id="259" name="표 21">
            <a:extLst>
              <a:ext uri="{FF2B5EF4-FFF2-40B4-BE49-F238E27FC236}">
                <a16:creationId xmlns:a16="http://schemas.microsoft.com/office/drawing/2014/main" id="{08776D53-E0DB-4C50-AD14-0099951BF6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622391"/>
              </p:ext>
            </p:extLst>
          </p:nvPr>
        </p:nvGraphicFramePr>
        <p:xfrm>
          <a:off x="4272259" y="6063214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260" name="직사각형 259">
            <a:extLst>
              <a:ext uri="{FF2B5EF4-FFF2-40B4-BE49-F238E27FC236}">
                <a16:creationId xmlns:a16="http://schemas.microsoft.com/office/drawing/2014/main" id="{212A0EA4-7891-4C0E-B467-1EF5808CD25B}"/>
              </a:ext>
            </a:extLst>
          </p:cNvPr>
          <p:cNvSpPr/>
          <p:nvPr/>
        </p:nvSpPr>
        <p:spPr>
          <a:xfrm>
            <a:off x="3706032" y="607764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1" name="직사각형 260">
            <a:extLst>
              <a:ext uri="{FF2B5EF4-FFF2-40B4-BE49-F238E27FC236}">
                <a16:creationId xmlns:a16="http://schemas.microsoft.com/office/drawing/2014/main" id="{C5BE0478-125E-40AA-8C35-F4A60C7E8AC4}"/>
              </a:ext>
            </a:extLst>
          </p:cNvPr>
          <p:cNvSpPr/>
          <p:nvPr/>
        </p:nvSpPr>
        <p:spPr>
          <a:xfrm flipV="1">
            <a:off x="6871077" y="607764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2" name="사각형: 둥근 모서리 261">
            <a:extLst>
              <a:ext uri="{FF2B5EF4-FFF2-40B4-BE49-F238E27FC236}">
                <a16:creationId xmlns:a16="http://schemas.microsoft.com/office/drawing/2014/main" id="{25E4A90B-AF3C-4F9D-8F15-13EA3A595ABA}"/>
              </a:ext>
            </a:extLst>
          </p:cNvPr>
          <p:cNvSpPr/>
          <p:nvPr/>
        </p:nvSpPr>
        <p:spPr>
          <a:xfrm>
            <a:off x="4187150" y="59697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0D9271C0-8631-43B0-AA76-5E88D4246A13}"/>
              </a:ext>
            </a:extLst>
          </p:cNvPr>
          <p:cNvSpPr/>
          <p:nvPr/>
        </p:nvSpPr>
        <p:spPr>
          <a:xfrm>
            <a:off x="2657724" y="2080915"/>
            <a:ext cx="2019081" cy="2432800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64" name="사각형: 둥근 모서리 263">
            <a:extLst>
              <a:ext uri="{FF2B5EF4-FFF2-40B4-BE49-F238E27FC236}">
                <a16:creationId xmlns:a16="http://schemas.microsoft.com/office/drawing/2014/main" id="{EEE1EB59-E364-46B2-99F7-E99E61B1FAC4}"/>
              </a:ext>
            </a:extLst>
          </p:cNvPr>
          <p:cNvSpPr/>
          <p:nvPr/>
        </p:nvSpPr>
        <p:spPr>
          <a:xfrm>
            <a:off x="2623605" y="20316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6" name="사각형: 둥근 모서리 265">
            <a:extLst>
              <a:ext uri="{FF2B5EF4-FFF2-40B4-BE49-F238E27FC236}">
                <a16:creationId xmlns:a16="http://schemas.microsoft.com/office/drawing/2014/main" id="{3151E831-FB44-4D76-BDC1-7621F40489FB}"/>
              </a:ext>
            </a:extLst>
          </p:cNvPr>
          <p:cNvSpPr/>
          <p:nvPr/>
        </p:nvSpPr>
        <p:spPr>
          <a:xfrm>
            <a:off x="5704780" y="23724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7" name="사각형: 둥근 모서리 266">
            <a:extLst>
              <a:ext uri="{FF2B5EF4-FFF2-40B4-BE49-F238E27FC236}">
                <a16:creationId xmlns:a16="http://schemas.microsoft.com/office/drawing/2014/main" id="{BAE06E36-7C35-4B56-8522-14CE49F06F0A}"/>
              </a:ext>
            </a:extLst>
          </p:cNvPr>
          <p:cNvSpPr/>
          <p:nvPr/>
        </p:nvSpPr>
        <p:spPr>
          <a:xfrm>
            <a:off x="4728500" y="32826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8" name="사각형: 둥근 모서리 267">
            <a:extLst>
              <a:ext uri="{FF2B5EF4-FFF2-40B4-BE49-F238E27FC236}">
                <a16:creationId xmlns:a16="http://schemas.microsoft.com/office/drawing/2014/main" id="{75C0721B-227F-4066-B24B-46E61F843918}"/>
              </a:ext>
            </a:extLst>
          </p:cNvPr>
          <p:cNvSpPr/>
          <p:nvPr/>
        </p:nvSpPr>
        <p:spPr>
          <a:xfrm>
            <a:off x="4728500" y="37028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00" name="그룹 299">
            <a:extLst>
              <a:ext uri="{FF2B5EF4-FFF2-40B4-BE49-F238E27FC236}">
                <a16:creationId xmlns:a16="http://schemas.microsoft.com/office/drawing/2014/main" id="{D717FF7F-1F4E-46C3-A292-453089DA93A4}"/>
              </a:ext>
            </a:extLst>
          </p:cNvPr>
          <p:cNvGrpSpPr/>
          <p:nvPr/>
        </p:nvGrpSpPr>
        <p:grpSpPr>
          <a:xfrm>
            <a:off x="6933579" y="2099877"/>
            <a:ext cx="1944000" cy="1189703"/>
            <a:chOff x="3925318" y="3675504"/>
            <a:chExt cx="1124954" cy="765997"/>
          </a:xfrm>
        </p:grpSpPr>
        <p:sp>
          <p:nvSpPr>
            <p:cNvPr id="301" name="직사각형 300">
              <a:extLst>
                <a:ext uri="{FF2B5EF4-FFF2-40B4-BE49-F238E27FC236}">
                  <a16:creationId xmlns:a16="http://schemas.microsoft.com/office/drawing/2014/main" id="{7330068D-B818-417A-BAF9-D73C9E94D44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302" name="직선 연결선 301">
              <a:extLst>
                <a:ext uri="{FF2B5EF4-FFF2-40B4-BE49-F238E27FC236}">
                  <a16:creationId xmlns:a16="http://schemas.microsoft.com/office/drawing/2014/main" id="{288FEE8F-50B3-4233-B170-C6425B775968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직선 연결선 302">
              <a:extLst>
                <a:ext uri="{FF2B5EF4-FFF2-40B4-BE49-F238E27FC236}">
                  <a16:creationId xmlns:a16="http://schemas.microsoft.com/office/drawing/2014/main" id="{4D3473F6-AFBE-4C4E-8525-E912844849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4" name="그룹 303">
            <a:extLst>
              <a:ext uri="{FF2B5EF4-FFF2-40B4-BE49-F238E27FC236}">
                <a16:creationId xmlns:a16="http://schemas.microsoft.com/office/drawing/2014/main" id="{B084DB35-A242-4960-B8B5-51555A59CF3B}"/>
              </a:ext>
            </a:extLst>
          </p:cNvPr>
          <p:cNvGrpSpPr/>
          <p:nvPr/>
        </p:nvGrpSpPr>
        <p:grpSpPr>
          <a:xfrm>
            <a:off x="6878773" y="3387715"/>
            <a:ext cx="2019650" cy="538037"/>
            <a:chOff x="766908" y="5336725"/>
            <a:chExt cx="2019650" cy="538037"/>
          </a:xfrm>
        </p:grpSpPr>
        <p:sp>
          <p:nvSpPr>
            <p:cNvPr id="307" name="직사각형 306">
              <a:extLst>
                <a:ext uri="{FF2B5EF4-FFF2-40B4-BE49-F238E27FC236}">
                  <a16:creationId xmlns:a16="http://schemas.microsoft.com/office/drawing/2014/main" id="{6B6DE0DF-7764-453A-BF68-CA20D1519D57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06" name="직사각형 305">
              <a:extLst>
                <a:ext uri="{FF2B5EF4-FFF2-40B4-BE49-F238E27FC236}">
                  <a16:creationId xmlns:a16="http://schemas.microsoft.com/office/drawing/2014/main" id="{CBE5F80C-5AE4-4EF6-A590-AF8FB8750797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77E297C0-9223-4B7B-B6B3-B035460BAEA3}"/>
              </a:ext>
            </a:extLst>
          </p:cNvPr>
          <p:cNvGrpSpPr/>
          <p:nvPr/>
        </p:nvGrpSpPr>
        <p:grpSpPr>
          <a:xfrm>
            <a:off x="2730611" y="3996189"/>
            <a:ext cx="1795182" cy="389623"/>
            <a:chOff x="2640783" y="6163907"/>
            <a:chExt cx="1795182" cy="389623"/>
          </a:xfrm>
        </p:grpSpPr>
        <p:grpSp>
          <p:nvGrpSpPr>
            <p:cNvPr id="313" name="그룹 312">
              <a:extLst>
                <a:ext uri="{FF2B5EF4-FFF2-40B4-BE49-F238E27FC236}">
                  <a16:creationId xmlns:a16="http://schemas.microsoft.com/office/drawing/2014/main" id="{D4BE5725-B9A1-487C-BBB0-7A939A346725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314" name="직사각형 313">
                <a:extLst>
                  <a:ext uri="{FF2B5EF4-FFF2-40B4-BE49-F238E27FC236}">
                    <a16:creationId xmlns:a16="http://schemas.microsoft.com/office/drawing/2014/main" id="{A2F98AB4-C07B-4652-AF27-0E187C0E0F0E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315" name="직사각형 314">
                <a:extLst>
                  <a:ext uri="{FF2B5EF4-FFF2-40B4-BE49-F238E27FC236}">
                    <a16:creationId xmlns:a16="http://schemas.microsoft.com/office/drawing/2014/main" id="{03591196-7AD9-433F-B052-36BE79CC8CA5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316" name="직사각형 315">
                <a:extLst>
                  <a:ext uri="{FF2B5EF4-FFF2-40B4-BE49-F238E27FC236}">
                    <a16:creationId xmlns:a16="http://schemas.microsoft.com/office/drawing/2014/main" id="{D3204DB3-9089-411F-8EBB-4B562439B124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317" name="직사각형 316">
              <a:extLst>
                <a:ext uri="{FF2B5EF4-FFF2-40B4-BE49-F238E27FC236}">
                  <a16:creationId xmlns:a16="http://schemas.microsoft.com/office/drawing/2014/main" id="{B720CDBB-5525-4B8E-9736-89735233BB00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318" name="그룹 317">
            <a:extLst>
              <a:ext uri="{FF2B5EF4-FFF2-40B4-BE49-F238E27FC236}">
                <a16:creationId xmlns:a16="http://schemas.microsoft.com/office/drawing/2014/main" id="{A7898556-6669-490A-A939-3BA3B1379014}"/>
              </a:ext>
            </a:extLst>
          </p:cNvPr>
          <p:cNvGrpSpPr/>
          <p:nvPr/>
        </p:nvGrpSpPr>
        <p:grpSpPr>
          <a:xfrm>
            <a:off x="4814515" y="4011044"/>
            <a:ext cx="1795182" cy="389623"/>
            <a:chOff x="2640783" y="6163907"/>
            <a:chExt cx="1795182" cy="389623"/>
          </a:xfrm>
        </p:grpSpPr>
        <p:grpSp>
          <p:nvGrpSpPr>
            <p:cNvPr id="319" name="그룹 318">
              <a:extLst>
                <a:ext uri="{FF2B5EF4-FFF2-40B4-BE49-F238E27FC236}">
                  <a16:creationId xmlns:a16="http://schemas.microsoft.com/office/drawing/2014/main" id="{643B5631-60A4-48C4-BC85-3A74718735FA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321" name="직사각형 320">
                <a:extLst>
                  <a:ext uri="{FF2B5EF4-FFF2-40B4-BE49-F238E27FC236}">
                    <a16:creationId xmlns:a16="http://schemas.microsoft.com/office/drawing/2014/main" id="{A1DF2C52-006A-4CB5-B013-261A1D084694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322" name="직사각형 321">
                <a:extLst>
                  <a:ext uri="{FF2B5EF4-FFF2-40B4-BE49-F238E27FC236}">
                    <a16:creationId xmlns:a16="http://schemas.microsoft.com/office/drawing/2014/main" id="{356A5664-68F2-456E-99C0-5AF51AC881E1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323" name="직사각형 322">
                <a:extLst>
                  <a:ext uri="{FF2B5EF4-FFF2-40B4-BE49-F238E27FC236}">
                    <a16:creationId xmlns:a16="http://schemas.microsoft.com/office/drawing/2014/main" id="{533A51BA-2C07-4867-AC3D-F44E21263A33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320" name="직사각형 319">
              <a:extLst>
                <a:ext uri="{FF2B5EF4-FFF2-40B4-BE49-F238E27FC236}">
                  <a16:creationId xmlns:a16="http://schemas.microsoft.com/office/drawing/2014/main" id="{9F927E44-E8AB-496C-BF9A-2B89D8331E6F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324" name="그룹 323">
            <a:extLst>
              <a:ext uri="{FF2B5EF4-FFF2-40B4-BE49-F238E27FC236}">
                <a16:creationId xmlns:a16="http://schemas.microsoft.com/office/drawing/2014/main" id="{64317F7E-BABD-4475-8030-A81E41A37B90}"/>
              </a:ext>
            </a:extLst>
          </p:cNvPr>
          <p:cNvGrpSpPr/>
          <p:nvPr/>
        </p:nvGrpSpPr>
        <p:grpSpPr>
          <a:xfrm>
            <a:off x="6953541" y="4003857"/>
            <a:ext cx="1795182" cy="389623"/>
            <a:chOff x="2640783" y="6163907"/>
            <a:chExt cx="1795182" cy="389623"/>
          </a:xfrm>
        </p:grpSpPr>
        <p:grpSp>
          <p:nvGrpSpPr>
            <p:cNvPr id="325" name="그룹 324">
              <a:extLst>
                <a:ext uri="{FF2B5EF4-FFF2-40B4-BE49-F238E27FC236}">
                  <a16:creationId xmlns:a16="http://schemas.microsoft.com/office/drawing/2014/main" id="{B538B187-20A9-485A-974C-2BD541F7A18F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327" name="직사각형 326">
                <a:extLst>
                  <a:ext uri="{FF2B5EF4-FFF2-40B4-BE49-F238E27FC236}">
                    <a16:creationId xmlns:a16="http://schemas.microsoft.com/office/drawing/2014/main" id="{E10908CF-12E7-4C61-A9D5-6A2598A89C3F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328" name="직사각형 327">
                <a:extLst>
                  <a:ext uri="{FF2B5EF4-FFF2-40B4-BE49-F238E27FC236}">
                    <a16:creationId xmlns:a16="http://schemas.microsoft.com/office/drawing/2014/main" id="{196F91B3-1151-4480-B53D-79765DA9F53F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329" name="직사각형 328">
                <a:extLst>
                  <a:ext uri="{FF2B5EF4-FFF2-40B4-BE49-F238E27FC236}">
                    <a16:creationId xmlns:a16="http://schemas.microsoft.com/office/drawing/2014/main" id="{F57AA52E-0688-4D92-87CA-D3E01B707484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326" name="직사각형 325">
              <a:extLst>
                <a:ext uri="{FF2B5EF4-FFF2-40B4-BE49-F238E27FC236}">
                  <a16:creationId xmlns:a16="http://schemas.microsoft.com/office/drawing/2014/main" id="{BC0D113F-6175-4593-8091-F92A1CF5BE12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A171EB84-AF90-4FCC-A6B2-86A8A9188135}"/>
              </a:ext>
            </a:extLst>
          </p:cNvPr>
          <p:cNvSpPr/>
          <p:nvPr/>
        </p:nvSpPr>
        <p:spPr>
          <a:xfrm>
            <a:off x="4728500" y="39496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6" name="사각형: 둥근 모서리 335">
            <a:extLst>
              <a:ext uri="{FF2B5EF4-FFF2-40B4-BE49-F238E27FC236}">
                <a16:creationId xmlns:a16="http://schemas.microsoft.com/office/drawing/2014/main" id="{F33E8176-6642-4D01-81B3-0DD87DE8D380}"/>
              </a:ext>
            </a:extLst>
          </p:cNvPr>
          <p:cNvSpPr/>
          <p:nvPr/>
        </p:nvSpPr>
        <p:spPr>
          <a:xfrm>
            <a:off x="4728500" y="415531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497C592-9BB7-45A1-8853-C56816256662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3" name="그림 92">
            <a:extLst>
              <a:ext uri="{FF2B5EF4-FFF2-40B4-BE49-F238E27FC236}">
                <a16:creationId xmlns:a16="http://schemas.microsoft.com/office/drawing/2014/main" id="{2BB754FF-384C-4502-9CCB-8651A57687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511" y="1581641"/>
            <a:ext cx="1977800" cy="3978075"/>
          </a:xfrm>
          <a:prstGeom prst="rect">
            <a:avLst/>
          </a:prstGeom>
        </p:spPr>
      </p:pic>
      <p:sp>
        <p:nvSpPr>
          <p:cNvPr id="94" name="직사각형 93">
            <a:extLst>
              <a:ext uri="{FF2B5EF4-FFF2-40B4-BE49-F238E27FC236}">
                <a16:creationId xmlns:a16="http://schemas.microsoft.com/office/drawing/2014/main" id="{85F317CB-2004-49E7-A5B6-2A61E9D2FA5D}"/>
              </a:ext>
            </a:extLst>
          </p:cNvPr>
          <p:cNvSpPr/>
          <p:nvPr/>
        </p:nvSpPr>
        <p:spPr>
          <a:xfrm>
            <a:off x="491367" y="1607537"/>
            <a:ext cx="1999598" cy="484579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95" name="그림 94">
            <a:extLst>
              <a:ext uri="{FF2B5EF4-FFF2-40B4-BE49-F238E27FC236}">
                <a16:creationId xmlns:a16="http://schemas.microsoft.com/office/drawing/2014/main" id="{267830AA-96CC-4F11-B37F-1C71444642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b="44283"/>
          <a:stretch/>
        </p:blipFill>
        <p:spPr>
          <a:xfrm>
            <a:off x="2660113" y="4644668"/>
            <a:ext cx="6248942" cy="1287375"/>
          </a:xfrm>
          <a:prstGeom prst="rect">
            <a:avLst/>
          </a:prstGeom>
        </p:spPr>
      </p:pic>
      <p:sp>
        <p:nvSpPr>
          <p:cNvPr id="96" name="직사각형 95">
            <a:extLst>
              <a:ext uri="{FF2B5EF4-FFF2-40B4-BE49-F238E27FC236}">
                <a16:creationId xmlns:a16="http://schemas.microsoft.com/office/drawing/2014/main" id="{5F8FDEE6-B3F8-43B7-B465-ACA5ED9DF6A2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9521" y="606168"/>
            <a:ext cx="8640786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229A280E-2EE7-4520-8E32-3F3A9B7ECAE4}"/>
              </a:ext>
            </a:extLst>
          </p:cNvPr>
          <p:cNvSpPr/>
          <p:nvPr/>
        </p:nvSpPr>
        <p:spPr>
          <a:xfrm>
            <a:off x="5986286" y="1717586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grpSp>
        <p:nvGrpSpPr>
          <p:cNvPr id="72" name="그룹 71">
            <a:extLst>
              <a:ext uri="{FF2B5EF4-FFF2-40B4-BE49-F238E27FC236}">
                <a16:creationId xmlns:a16="http://schemas.microsoft.com/office/drawing/2014/main" id="{89196AF1-7F15-4248-9F14-5018D47888E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3" name="그림 72">
              <a:extLst>
                <a:ext uri="{FF2B5EF4-FFF2-40B4-BE49-F238E27FC236}">
                  <a16:creationId xmlns:a16="http://schemas.microsoft.com/office/drawing/2014/main" id="{51C505AE-2A39-4295-B71D-F79B469C00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63B40F86-C5A6-49AF-9603-12641411CD3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7" name="그림 76">
              <a:extLst>
                <a:ext uri="{FF2B5EF4-FFF2-40B4-BE49-F238E27FC236}">
                  <a16:creationId xmlns:a16="http://schemas.microsoft.com/office/drawing/2014/main" id="{E7E476D5-4518-419F-AE31-C60259393E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81B578EF-A751-47E4-A20A-6FD920119FD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20A5A49E-8717-45FC-A5A6-FCCBC3E00778}"/>
              </a:ext>
            </a:extLst>
          </p:cNvPr>
          <p:cNvSpPr/>
          <p:nvPr/>
        </p:nvSpPr>
        <p:spPr>
          <a:xfrm>
            <a:off x="2494099" y="1582407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CF8282D8-DCEF-4436-83E7-CB5E6D66C65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998899550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그룹 81">
            <a:extLst>
              <a:ext uri="{FF2B5EF4-FFF2-40B4-BE49-F238E27FC236}">
                <a16:creationId xmlns:a16="http://schemas.microsoft.com/office/drawing/2014/main" id="{EE1C3526-F6DD-4480-A03E-DA99054FD49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4" name="그림 83">
              <a:extLst>
                <a:ext uri="{FF2B5EF4-FFF2-40B4-BE49-F238E27FC236}">
                  <a16:creationId xmlns:a16="http://schemas.microsoft.com/office/drawing/2014/main" id="{8392BDB6-CDF5-4A29-9D29-647E7F9650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71C2BD8B-12F9-40C2-9BBD-13A2257726C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1" name="그림 90">
              <a:extLst>
                <a:ext uri="{FF2B5EF4-FFF2-40B4-BE49-F238E27FC236}">
                  <a16:creationId xmlns:a16="http://schemas.microsoft.com/office/drawing/2014/main" id="{673CFF36-0B9E-4C95-9822-950177EE58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425430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발간물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742942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하여 삼일에서 발간한 뉴스레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자료를 조회하고 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52742" y="2629765"/>
            <a:ext cx="8627560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07540AE-5B67-4D9A-84E0-8AC7872222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870815"/>
              </p:ext>
            </p:extLst>
          </p:nvPr>
        </p:nvGraphicFramePr>
        <p:xfrm>
          <a:off x="352742" y="3240365"/>
          <a:ext cx="8627560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0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문가 리스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73" name="직사각형 72">
            <a:extLst>
              <a:ext uri="{FF2B5EF4-FFF2-40B4-BE49-F238E27FC236}">
                <a16:creationId xmlns:a16="http://schemas.microsoft.com/office/drawing/2014/main" id="{3A109657-77AC-4F14-B4EB-9C1C88011D6A}"/>
              </a:ext>
            </a:extLst>
          </p:cNvPr>
          <p:cNvSpPr/>
          <p:nvPr/>
        </p:nvSpPr>
        <p:spPr>
          <a:xfrm>
            <a:off x="2860469" y="5646738"/>
            <a:ext cx="2591159" cy="4911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93" name="그룹 192">
            <a:extLst>
              <a:ext uri="{FF2B5EF4-FFF2-40B4-BE49-F238E27FC236}">
                <a16:creationId xmlns:a16="http://schemas.microsoft.com/office/drawing/2014/main" id="{57B2F71C-91D3-416B-96A0-A22F39C3F33E}"/>
              </a:ext>
            </a:extLst>
          </p:cNvPr>
          <p:cNvGrpSpPr/>
          <p:nvPr/>
        </p:nvGrpSpPr>
        <p:grpSpPr>
          <a:xfrm>
            <a:off x="2432469" y="3732954"/>
            <a:ext cx="559062" cy="439813"/>
            <a:chOff x="376836" y="3754755"/>
            <a:chExt cx="452615" cy="356071"/>
          </a:xfrm>
        </p:grpSpPr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D4762477-07A5-4F80-9EBD-65669CB6DAFB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1A85A4B9-DBBD-4EDA-BECC-A10CF4E026CC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97" name="직선 연결선 196">
            <a:extLst>
              <a:ext uri="{FF2B5EF4-FFF2-40B4-BE49-F238E27FC236}">
                <a16:creationId xmlns:a16="http://schemas.microsoft.com/office/drawing/2014/main" id="{BA83D72F-C8B1-48F2-BBFF-9E0549FA6D79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그룹 219">
            <a:extLst>
              <a:ext uri="{FF2B5EF4-FFF2-40B4-BE49-F238E27FC236}">
                <a16:creationId xmlns:a16="http://schemas.microsoft.com/office/drawing/2014/main" id="{D8DDBB21-863B-4549-A3D3-98581B1AD9D7}"/>
              </a:ext>
            </a:extLst>
          </p:cNvPr>
          <p:cNvGrpSpPr/>
          <p:nvPr/>
        </p:nvGrpSpPr>
        <p:grpSpPr>
          <a:xfrm>
            <a:off x="2552430" y="5530404"/>
            <a:ext cx="2019650" cy="550229"/>
            <a:chOff x="766908" y="5324533"/>
            <a:chExt cx="2019650" cy="550229"/>
          </a:xfrm>
        </p:grpSpPr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25CF9160-70A6-46A9-B854-68C15441C8CC}"/>
                </a:ext>
              </a:extLst>
            </p:cNvPr>
            <p:cNvSpPr/>
            <p:nvPr/>
          </p:nvSpPr>
          <p:spPr>
            <a:xfrm>
              <a:off x="766908" y="5324533"/>
              <a:ext cx="2019650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</a:p>
          </p:txBody>
        </p:sp>
        <p:sp>
          <p:nvSpPr>
            <p:cNvPr id="222" name="직사각형 221">
              <a:extLst>
                <a:ext uri="{FF2B5EF4-FFF2-40B4-BE49-F238E27FC236}">
                  <a16:creationId xmlns:a16="http://schemas.microsoft.com/office/drawing/2014/main" id="{226B67BB-7F0B-4E0E-94C6-D37C545C6C9D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93133EF9-FAA6-4912-B217-BC4F57931FC2}"/>
              </a:ext>
            </a:extLst>
          </p:cNvPr>
          <p:cNvSpPr/>
          <p:nvPr/>
        </p:nvSpPr>
        <p:spPr>
          <a:xfrm>
            <a:off x="2866828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D3467843-3E76-4572-AD72-431882F07629}"/>
              </a:ext>
            </a:extLst>
          </p:cNvPr>
          <p:cNvGrpSpPr/>
          <p:nvPr/>
        </p:nvGrpSpPr>
        <p:grpSpPr>
          <a:xfrm>
            <a:off x="4758052" y="4248603"/>
            <a:ext cx="1944000" cy="1189703"/>
            <a:chOff x="3925318" y="3675504"/>
            <a:chExt cx="1124954" cy="765997"/>
          </a:xfrm>
        </p:grpSpPr>
        <p:sp>
          <p:nvSpPr>
            <p:cNvPr id="176" name="사각형: 둥근 모서리 175">
              <a:extLst>
                <a:ext uri="{FF2B5EF4-FFF2-40B4-BE49-F238E27FC236}">
                  <a16:creationId xmlns:a16="http://schemas.microsoft.com/office/drawing/2014/main" id="{EA465C30-5574-4AF3-9013-6C2B288739E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77" name="직선 연결선 176">
              <a:extLst>
                <a:ext uri="{FF2B5EF4-FFF2-40B4-BE49-F238E27FC236}">
                  <a16:creationId xmlns:a16="http://schemas.microsoft.com/office/drawing/2014/main" id="{637E8DCF-7021-43B6-AC1F-E8AD9D4A81A9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직선 연결선 177">
              <a:extLst>
                <a:ext uri="{FF2B5EF4-FFF2-40B4-BE49-F238E27FC236}">
                  <a16:creationId xmlns:a16="http://schemas.microsoft.com/office/drawing/2014/main" id="{3E87FA63-450A-4249-A098-0496D4F6A6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B6F0EEEF-EC26-466E-AA81-7278D565AC81}"/>
              </a:ext>
            </a:extLst>
          </p:cNvPr>
          <p:cNvGrpSpPr/>
          <p:nvPr/>
        </p:nvGrpSpPr>
        <p:grpSpPr>
          <a:xfrm>
            <a:off x="4715107" y="5542596"/>
            <a:ext cx="2019650" cy="538037"/>
            <a:chOff x="766908" y="5336725"/>
            <a:chExt cx="2019650" cy="538037"/>
          </a:xfrm>
        </p:grpSpPr>
        <p:sp>
          <p:nvSpPr>
            <p:cNvPr id="273" name="직사각형 272">
              <a:extLst>
                <a:ext uri="{FF2B5EF4-FFF2-40B4-BE49-F238E27FC236}">
                  <a16:creationId xmlns:a16="http://schemas.microsoft.com/office/drawing/2014/main" id="{6D2DF30B-3719-44ED-AE6A-15853908BBCD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72" name="직사각형 271">
              <a:extLst>
                <a:ext uri="{FF2B5EF4-FFF2-40B4-BE49-F238E27FC236}">
                  <a16:creationId xmlns:a16="http://schemas.microsoft.com/office/drawing/2014/main" id="{EC6CC86A-C9AC-4F59-B018-BD18C9BA5FEC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279" name="그룹 278">
            <a:extLst>
              <a:ext uri="{FF2B5EF4-FFF2-40B4-BE49-F238E27FC236}">
                <a16:creationId xmlns:a16="http://schemas.microsoft.com/office/drawing/2014/main" id="{69A44275-0B30-405F-8982-10095F7211FD}"/>
              </a:ext>
            </a:extLst>
          </p:cNvPr>
          <p:cNvGrpSpPr/>
          <p:nvPr/>
        </p:nvGrpSpPr>
        <p:grpSpPr>
          <a:xfrm>
            <a:off x="6798360" y="5510330"/>
            <a:ext cx="2019650" cy="562421"/>
            <a:chOff x="766908" y="5312341"/>
            <a:chExt cx="2019650" cy="562421"/>
          </a:xfrm>
        </p:grpSpPr>
        <p:sp>
          <p:nvSpPr>
            <p:cNvPr id="282" name="직사각형 281">
              <a:extLst>
                <a:ext uri="{FF2B5EF4-FFF2-40B4-BE49-F238E27FC236}">
                  <a16:creationId xmlns:a16="http://schemas.microsoft.com/office/drawing/2014/main" id="{B53765DF-9FD5-46D2-97C4-944E45B45B58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4B18EED8-22E1-4E8E-A293-A14634FFBB2D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677FFC3C-9D13-410C-AA5F-BA469085E2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2308" y="4246290"/>
            <a:ext cx="1933267" cy="1203974"/>
          </a:xfrm>
          <a:prstGeom prst="roundRect">
            <a:avLst>
              <a:gd name="adj" fmla="val 5498"/>
            </a:avLst>
          </a:prstGeom>
        </p:spPr>
      </p:pic>
      <p:grpSp>
        <p:nvGrpSpPr>
          <p:cNvPr id="108" name="그룹 107">
            <a:extLst>
              <a:ext uri="{FF2B5EF4-FFF2-40B4-BE49-F238E27FC236}">
                <a16:creationId xmlns:a16="http://schemas.microsoft.com/office/drawing/2014/main" id="{828CFA44-8B48-4FC1-80E1-B50DFCA755FD}"/>
              </a:ext>
            </a:extLst>
          </p:cNvPr>
          <p:cNvGrpSpPr/>
          <p:nvPr/>
        </p:nvGrpSpPr>
        <p:grpSpPr>
          <a:xfrm>
            <a:off x="6881044" y="4242296"/>
            <a:ext cx="1944000" cy="1189703"/>
            <a:chOff x="3925318" y="3675504"/>
            <a:chExt cx="1124954" cy="765997"/>
          </a:xfrm>
        </p:grpSpPr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D07822B2-597E-488F-94F2-FB464365DA45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16" name="직선 연결선 115">
              <a:extLst>
                <a:ext uri="{FF2B5EF4-FFF2-40B4-BE49-F238E27FC236}">
                  <a16:creationId xmlns:a16="http://schemas.microsoft.com/office/drawing/2014/main" id="{710064E5-84F2-489C-A0A5-EABD74E5A461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직선 연결선 116">
              <a:extLst>
                <a:ext uri="{FF2B5EF4-FFF2-40B4-BE49-F238E27FC236}">
                  <a16:creationId xmlns:a16="http://schemas.microsoft.com/office/drawing/2014/main" id="{7788FA51-91E7-49D4-8339-43E5161D28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16B828A1-64CE-4CEC-B8F5-E5B61F0F25F6}"/>
              </a:ext>
            </a:extLst>
          </p:cNvPr>
          <p:cNvSpPr/>
          <p:nvPr/>
        </p:nvSpPr>
        <p:spPr>
          <a:xfrm>
            <a:off x="4016298" y="5215451"/>
            <a:ext cx="446139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09:33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86" name="표 10">
            <a:extLst>
              <a:ext uri="{FF2B5EF4-FFF2-40B4-BE49-F238E27FC236}">
                <a16:creationId xmlns:a16="http://schemas.microsoft.com/office/drawing/2014/main" id="{09E0102A-9449-4399-A34B-7E9A2ADF88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442025"/>
              </p:ext>
            </p:extLst>
          </p:nvPr>
        </p:nvGraphicFramePr>
        <p:xfrm>
          <a:off x="9275970" y="767946"/>
          <a:ext cx="2915205" cy="28143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7882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7323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92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269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 열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려 있는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69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및 필터 기능 적용한 컨텐츠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471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3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사용한 경우에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이 보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변경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3072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4232071"/>
                  </a:ext>
                </a:extLst>
              </a:tr>
              <a:tr h="235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영역 펼쳐져 있을 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영역 접었을 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</a:tbl>
          </a:graphicData>
        </a:graphic>
      </p:graphicFrame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BE327D31-5816-40CD-9CDE-2CF5A9AD697F}"/>
              </a:ext>
            </a:extLst>
          </p:cNvPr>
          <p:cNvSpPr/>
          <p:nvPr/>
        </p:nvSpPr>
        <p:spPr>
          <a:xfrm>
            <a:off x="2955331" y="37969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A54D7AEF-D059-4C94-B9FF-640F1DAA351E}"/>
              </a:ext>
            </a:extLst>
          </p:cNvPr>
          <p:cNvSpPr/>
          <p:nvPr/>
        </p:nvSpPr>
        <p:spPr>
          <a:xfrm>
            <a:off x="6211216" y="37963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F862BDB7-2588-406E-8006-5E6404370AA1}"/>
              </a:ext>
            </a:extLst>
          </p:cNvPr>
          <p:cNvSpPr/>
          <p:nvPr/>
        </p:nvSpPr>
        <p:spPr>
          <a:xfrm>
            <a:off x="5796642" y="5206405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DD53FEEA-FB53-4C64-8949-7F7FD4FACDB9}"/>
              </a:ext>
            </a:extLst>
          </p:cNvPr>
          <p:cNvSpPr/>
          <p:nvPr/>
        </p:nvSpPr>
        <p:spPr>
          <a:xfrm>
            <a:off x="7909793" y="5206405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E6CA67D8-626A-4965-A145-DAC299D1C128}"/>
              </a:ext>
            </a:extLst>
          </p:cNvPr>
          <p:cNvGrpSpPr/>
          <p:nvPr/>
        </p:nvGrpSpPr>
        <p:grpSpPr>
          <a:xfrm>
            <a:off x="2622406" y="6156001"/>
            <a:ext cx="1795182" cy="389623"/>
            <a:chOff x="2640783" y="6163907"/>
            <a:chExt cx="1795182" cy="389623"/>
          </a:xfrm>
        </p:grpSpPr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AD55604C-7183-414D-9085-9F5BE4DB88EB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07" name="직사각형 106">
                <a:extLst>
                  <a:ext uri="{FF2B5EF4-FFF2-40B4-BE49-F238E27FC236}">
                    <a16:creationId xmlns:a16="http://schemas.microsoft.com/office/drawing/2014/main" id="{14A944DE-FF2D-44AC-9F4C-A79F0CBA3FCE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EECFE6DE-EF6A-4687-8E10-C8949570CB42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23" name="직사각형 122">
                <a:extLst>
                  <a:ext uri="{FF2B5EF4-FFF2-40B4-BE49-F238E27FC236}">
                    <a16:creationId xmlns:a16="http://schemas.microsoft.com/office/drawing/2014/main" id="{9CD5B060-65B1-4CD4-8D10-B403A2E67CD6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6" name="직사각형 105">
              <a:extLst>
                <a:ext uri="{FF2B5EF4-FFF2-40B4-BE49-F238E27FC236}">
                  <a16:creationId xmlns:a16="http://schemas.microsoft.com/office/drawing/2014/main" id="{748E30E7-0857-48E4-8A58-5F5D02378884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70243CA7-A074-4396-843F-19F73572689B}"/>
              </a:ext>
            </a:extLst>
          </p:cNvPr>
          <p:cNvGrpSpPr/>
          <p:nvPr/>
        </p:nvGrpSpPr>
        <p:grpSpPr>
          <a:xfrm>
            <a:off x="4798239" y="6147423"/>
            <a:ext cx="1795182" cy="389623"/>
            <a:chOff x="2640783" y="6163907"/>
            <a:chExt cx="1795182" cy="389623"/>
          </a:xfrm>
        </p:grpSpPr>
        <p:grpSp>
          <p:nvGrpSpPr>
            <p:cNvPr id="125" name="그룹 124">
              <a:extLst>
                <a:ext uri="{FF2B5EF4-FFF2-40B4-BE49-F238E27FC236}">
                  <a16:creationId xmlns:a16="http://schemas.microsoft.com/office/drawing/2014/main" id="{F2A4C290-1B5A-476F-8CA2-26A40F34193F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8145DBCB-FECC-4D61-8015-F20C007D0D5A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28" name="직사각형 127">
                <a:extLst>
                  <a:ext uri="{FF2B5EF4-FFF2-40B4-BE49-F238E27FC236}">
                    <a16:creationId xmlns:a16="http://schemas.microsoft.com/office/drawing/2014/main" id="{9DACB098-D689-4313-9C0A-087FE69ED05B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29" name="직사각형 128">
                <a:extLst>
                  <a:ext uri="{FF2B5EF4-FFF2-40B4-BE49-F238E27FC236}">
                    <a16:creationId xmlns:a16="http://schemas.microsoft.com/office/drawing/2014/main" id="{4418DF8D-A64C-43AE-9873-F58A715E4911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0AA8997F-93AD-4E42-BE83-5CBE8051D945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20D86E62-5429-43E1-8DBF-56863F84BF4E}"/>
              </a:ext>
            </a:extLst>
          </p:cNvPr>
          <p:cNvGrpSpPr/>
          <p:nvPr/>
        </p:nvGrpSpPr>
        <p:grpSpPr>
          <a:xfrm>
            <a:off x="6865845" y="6148513"/>
            <a:ext cx="1795182" cy="389623"/>
            <a:chOff x="2640783" y="6163907"/>
            <a:chExt cx="1795182" cy="389623"/>
          </a:xfrm>
        </p:grpSpPr>
        <p:grpSp>
          <p:nvGrpSpPr>
            <p:cNvPr id="131" name="그룹 130">
              <a:extLst>
                <a:ext uri="{FF2B5EF4-FFF2-40B4-BE49-F238E27FC236}">
                  <a16:creationId xmlns:a16="http://schemas.microsoft.com/office/drawing/2014/main" id="{BD42D69B-5012-459D-B7F2-C927D62A01AD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78690827-0237-4998-953D-818FA6DCAFE4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F997FB56-96B2-461F-84BD-17D168BDB015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721362EF-F750-4773-B593-CBACC5A4B289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CFE87DF7-D5F3-4478-B1C6-E8DF77CE4A87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88CDEE1D-C91E-4C77-928C-C153E303829A}"/>
              </a:ext>
            </a:extLst>
          </p:cNvPr>
          <p:cNvSpPr/>
          <p:nvPr/>
        </p:nvSpPr>
        <p:spPr>
          <a:xfrm>
            <a:off x="2582689" y="4172767"/>
            <a:ext cx="6302170" cy="2513707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39165BE2-BABB-41FB-8C86-E856E645C971}"/>
              </a:ext>
            </a:extLst>
          </p:cNvPr>
          <p:cNvSpPr/>
          <p:nvPr/>
        </p:nvSpPr>
        <p:spPr>
          <a:xfrm>
            <a:off x="5644701" y="51612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042BECAF-DFDD-4B45-BF66-93B60866253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6594"/>
          <a:stretch/>
        </p:blipFill>
        <p:spPr>
          <a:xfrm>
            <a:off x="512159" y="3738238"/>
            <a:ext cx="1990392" cy="2938742"/>
          </a:xfrm>
          <a:prstGeom prst="rect">
            <a:avLst/>
          </a:prstGeom>
        </p:spPr>
      </p:pic>
      <p:sp>
        <p:nvSpPr>
          <p:cNvPr id="78" name="직사각형 77">
            <a:extLst>
              <a:ext uri="{FF2B5EF4-FFF2-40B4-BE49-F238E27FC236}">
                <a16:creationId xmlns:a16="http://schemas.microsoft.com/office/drawing/2014/main" id="{87571092-E5F4-4511-B5E7-12428422BB8A}"/>
              </a:ext>
            </a:extLst>
          </p:cNvPr>
          <p:cNvSpPr/>
          <p:nvPr/>
        </p:nvSpPr>
        <p:spPr>
          <a:xfrm>
            <a:off x="491067" y="3758290"/>
            <a:ext cx="2008915" cy="291868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598E494E-6DF4-4A82-A31B-3E908EC3D38B}"/>
              </a:ext>
            </a:extLst>
          </p:cNvPr>
          <p:cNvSpPr/>
          <p:nvPr/>
        </p:nvSpPr>
        <p:spPr>
          <a:xfrm>
            <a:off x="1423043" y="51534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DB1B9B2C-C982-4779-B02E-063294B9CCB3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15665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76" name="표 4">
            <a:extLst>
              <a:ext uri="{FF2B5EF4-FFF2-40B4-BE49-F238E27FC236}">
                <a16:creationId xmlns:a16="http://schemas.microsoft.com/office/drawing/2014/main" id="{3FE338A1-AF11-42F0-A8A5-F61E6F479C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9809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75" name="직사각형 74">
            <a:extLst>
              <a:ext uri="{FF2B5EF4-FFF2-40B4-BE49-F238E27FC236}">
                <a16:creationId xmlns:a16="http://schemas.microsoft.com/office/drawing/2014/main" id="{DF4FC33A-D5DE-4451-B5A8-9271581F344D}"/>
              </a:ext>
            </a:extLst>
          </p:cNvPr>
          <p:cNvSpPr/>
          <p:nvPr/>
        </p:nvSpPr>
        <p:spPr>
          <a:xfrm>
            <a:off x="5986286" y="388402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FD112797-CD0F-40C7-AE92-CAE481B7D68E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2120BCFB-FF22-4205-A442-16322FBD5319}"/>
              </a:ext>
            </a:extLst>
          </p:cNvPr>
          <p:cNvSpPr/>
          <p:nvPr/>
        </p:nvSpPr>
        <p:spPr>
          <a:xfrm>
            <a:off x="2494099" y="374233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E0D44E9C-C477-4E0A-B100-4AF37A65DB1C}"/>
              </a:ext>
            </a:extLst>
          </p:cNvPr>
          <p:cNvSpPr/>
          <p:nvPr/>
        </p:nvSpPr>
        <p:spPr>
          <a:xfrm>
            <a:off x="2431644" y="36986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F5617C1C-C007-4E11-91D3-886241E33F09}"/>
              </a:ext>
            </a:extLst>
          </p:cNvPr>
          <p:cNvSpPr/>
          <p:nvPr/>
        </p:nvSpPr>
        <p:spPr>
          <a:xfrm>
            <a:off x="358430" y="1604319"/>
            <a:ext cx="1760788" cy="245526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Korea Insights</a:t>
            </a:r>
            <a:endParaRPr lang="ko-KR" altLang="en-US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119BDA3-8380-424D-9B0F-006C7C5948B3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53468262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그룹 85">
            <a:extLst>
              <a:ext uri="{FF2B5EF4-FFF2-40B4-BE49-F238E27FC236}">
                <a16:creationId xmlns:a16="http://schemas.microsoft.com/office/drawing/2014/main" id="{53218236-836B-4A8F-9EA2-EA1FBC308E2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7" name="그림 86">
              <a:extLst>
                <a:ext uri="{FF2B5EF4-FFF2-40B4-BE49-F238E27FC236}">
                  <a16:creationId xmlns:a16="http://schemas.microsoft.com/office/drawing/2014/main" id="{BBED0A56-02E3-4437-843B-0CAFAB1ADF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DDE13A48-3AC3-44F1-980B-46E87A238AF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0" name="그림 89">
              <a:extLst>
                <a:ext uri="{FF2B5EF4-FFF2-40B4-BE49-F238E27FC236}">
                  <a16:creationId xmlns:a16="http://schemas.microsoft.com/office/drawing/2014/main" id="{66CC92A1-C9E5-4F08-9DE8-1EA8C32A9A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311544"/>
              </p:ext>
            </p:extLst>
          </p:nvPr>
        </p:nvGraphicFramePr>
        <p:xfrm>
          <a:off x="9271192" y="759198"/>
          <a:ext cx="2919084" cy="23372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018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106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역 클릭 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열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5281507"/>
                  </a:ext>
                </a:extLst>
              </a:tr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영상 이미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도 등록 없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1284643"/>
                  </a:ext>
                </a:extLst>
              </a:tr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135293"/>
                  </a:ext>
                </a:extLst>
              </a:tr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386974"/>
                  </a:ext>
                </a:extLst>
              </a:tr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825344"/>
                  </a:ext>
                </a:extLst>
              </a:tr>
              <a:tr h="2935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609528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51325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게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15665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3A109657-77AC-4F14-B4EB-9C1C88011D6A}"/>
              </a:ext>
            </a:extLst>
          </p:cNvPr>
          <p:cNvSpPr/>
          <p:nvPr/>
        </p:nvSpPr>
        <p:spPr>
          <a:xfrm>
            <a:off x="2897402" y="3490999"/>
            <a:ext cx="2591159" cy="4911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D3467843-3E76-4572-AD72-431882F07629}"/>
              </a:ext>
            </a:extLst>
          </p:cNvPr>
          <p:cNvGrpSpPr/>
          <p:nvPr/>
        </p:nvGrpSpPr>
        <p:grpSpPr>
          <a:xfrm>
            <a:off x="4794985" y="2092864"/>
            <a:ext cx="1944000" cy="1189703"/>
            <a:chOff x="3925318" y="3675504"/>
            <a:chExt cx="1124954" cy="765997"/>
          </a:xfrm>
        </p:grpSpPr>
        <p:sp>
          <p:nvSpPr>
            <p:cNvPr id="176" name="사각형: 둥근 모서리 175">
              <a:extLst>
                <a:ext uri="{FF2B5EF4-FFF2-40B4-BE49-F238E27FC236}">
                  <a16:creationId xmlns:a16="http://schemas.microsoft.com/office/drawing/2014/main" id="{EA465C30-5574-4AF3-9013-6C2B288739E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77" name="직선 연결선 176">
              <a:extLst>
                <a:ext uri="{FF2B5EF4-FFF2-40B4-BE49-F238E27FC236}">
                  <a16:creationId xmlns:a16="http://schemas.microsoft.com/office/drawing/2014/main" id="{637E8DCF-7021-43B6-AC1F-E8AD9D4A81A9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직선 연결선 177">
              <a:extLst>
                <a:ext uri="{FF2B5EF4-FFF2-40B4-BE49-F238E27FC236}">
                  <a16:creationId xmlns:a16="http://schemas.microsoft.com/office/drawing/2014/main" id="{3E87FA63-450A-4249-A098-0496D4F6A6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B6F0EEEF-EC26-466E-AA81-7278D565AC81}"/>
              </a:ext>
            </a:extLst>
          </p:cNvPr>
          <p:cNvGrpSpPr/>
          <p:nvPr/>
        </p:nvGrpSpPr>
        <p:grpSpPr>
          <a:xfrm>
            <a:off x="4752040" y="3386857"/>
            <a:ext cx="2019650" cy="538037"/>
            <a:chOff x="766908" y="5336725"/>
            <a:chExt cx="2019650" cy="538037"/>
          </a:xfrm>
        </p:grpSpPr>
        <p:sp>
          <p:nvSpPr>
            <p:cNvPr id="273" name="직사각형 272">
              <a:extLst>
                <a:ext uri="{FF2B5EF4-FFF2-40B4-BE49-F238E27FC236}">
                  <a16:creationId xmlns:a16="http://schemas.microsoft.com/office/drawing/2014/main" id="{6D2DF30B-3719-44ED-AE6A-15853908BBCD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72" name="직사각형 271">
              <a:extLst>
                <a:ext uri="{FF2B5EF4-FFF2-40B4-BE49-F238E27FC236}">
                  <a16:creationId xmlns:a16="http://schemas.microsoft.com/office/drawing/2014/main" id="{EC6CC86A-C9AC-4F59-B018-BD18C9BA5FEC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279" name="그룹 278">
            <a:extLst>
              <a:ext uri="{FF2B5EF4-FFF2-40B4-BE49-F238E27FC236}">
                <a16:creationId xmlns:a16="http://schemas.microsoft.com/office/drawing/2014/main" id="{69A44275-0B30-405F-8982-10095F7211FD}"/>
              </a:ext>
            </a:extLst>
          </p:cNvPr>
          <p:cNvGrpSpPr/>
          <p:nvPr/>
        </p:nvGrpSpPr>
        <p:grpSpPr>
          <a:xfrm>
            <a:off x="6835293" y="3354591"/>
            <a:ext cx="2019650" cy="562421"/>
            <a:chOff x="766908" y="5312341"/>
            <a:chExt cx="2019650" cy="562421"/>
          </a:xfrm>
        </p:grpSpPr>
        <p:sp>
          <p:nvSpPr>
            <p:cNvPr id="282" name="직사각형 281">
              <a:extLst>
                <a:ext uri="{FF2B5EF4-FFF2-40B4-BE49-F238E27FC236}">
                  <a16:creationId xmlns:a16="http://schemas.microsoft.com/office/drawing/2014/main" id="{B53765DF-9FD5-46D2-97C4-944E45B45B58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4B18EED8-22E1-4E8E-A293-A14634FFBB2D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108" name="그룹 107">
            <a:extLst>
              <a:ext uri="{FF2B5EF4-FFF2-40B4-BE49-F238E27FC236}">
                <a16:creationId xmlns:a16="http://schemas.microsoft.com/office/drawing/2014/main" id="{828CFA44-8B48-4FC1-80E1-B50DFCA755FD}"/>
              </a:ext>
            </a:extLst>
          </p:cNvPr>
          <p:cNvGrpSpPr/>
          <p:nvPr/>
        </p:nvGrpSpPr>
        <p:grpSpPr>
          <a:xfrm>
            <a:off x="6917977" y="2086557"/>
            <a:ext cx="1944000" cy="1189703"/>
            <a:chOff x="3925318" y="3675504"/>
            <a:chExt cx="1124954" cy="765997"/>
          </a:xfrm>
        </p:grpSpPr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D07822B2-597E-488F-94F2-FB464365DA45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16" name="직선 연결선 115">
              <a:extLst>
                <a:ext uri="{FF2B5EF4-FFF2-40B4-BE49-F238E27FC236}">
                  <a16:creationId xmlns:a16="http://schemas.microsoft.com/office/drawing/2014/main" id="{710064E5-84F2-489C-A0A5-EABD74E5A461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직선 연결선 116">
              <a:extLst>
                <a:ext uri="{FF2B5EF4-FFF2-40B4-BE49-F238E27FC236}">
                  <a16:creationId xmlns:a16="http://schemas.microsoft.com/office/drawing/2014/main" id="{7788FA51-91E7-49D4-8339-43E5161D28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FDE4D8A6-44F4-4879-B74C-21730E0CDAA5}"/>
              </a:ext>
            </a:extLst>
          </p:cNvPr>
          <p:cNvGrpSpPr/>
          <p:nvPr/>
        </p:nvGrpSpPr>
        <p:grpSpPr>
          <a:xfrm>
            <a:off x="2420137" y="1573570"/>
            <a:ext cx="559062" cy="439813"/>
            <a:chOff x="377030" y="3751488"/>
            <a:chExt cx="452615" cy="356071"/>
          </a:xfrm>
        </p:grpSpPr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3EF29AC1-6D24-4D36-8BBE-C9C24F545E2A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0" name="직사각형 129">
              <a:extLst>
                <a:ext uri="{FF2B5EF4-FFF2-40B4-BE49-F238E27FC236}">
                  <a16:creationId xmlns:a16="http://schemas.microsoft.com/office/drawing/2014/main" id="{B1B9499C-0012-4C2D-BBEB-CD388D43064F}"/>
                </a:ext>
              </a:extLst>
            </p:cNvPr>
            <p:cNvSpPr/>
            <p:nvPr/>
          </p:nvSpPr>
          <p:spPr>
            <a:xfrm>
              <a:off x="377030" y="3751488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31" name="직선 연결선 130">
            <a:extLst>
              <a:ext uri="{FF2B5EF4-FFF2-40B4-BE49-F238E27FC236}">
                <a16:creationId xmlns:a16="http://schemas.microsoft.com/office/drawing/2014/main" id="{6FB975D0-7AA5-4338-82DF-42C55AB651A2}"/>
              </a:ext>
            </a:extLst>
          </p:cNvPr>
          <p:cNvCxnSpPr>
            <a:cxnSpLocks/>
          </p:cNvCxnSpPr>
          <p:nvPr/>
        </p:nvCxnSpPr>
        <p:spPr>
          <a:xfrm>
            <a:off x="2495600" y="1990792"/>
            <a:ext cx="6369843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2F3F852E-D4AB-4617-9FE1-186ACE9245A7}"/>
              </a:ext>
            </a:extLst>
          </p:cNvPr>
          <p:cNvSpPr/>
          <p:nvPr/>
        </p:nvSpPr>
        <p:spPr>
          <a:xfrm>
            <a:off x="2852352" y="1739312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81" name="표 21">
            <a:extLst>
              <a:ext uri="{FF2B5EF4-FFF2-40B4-BE49-F238E27FC236}">
                <a16:creationId xmlns:a16="http://schemas.microsoft.com/office/drawing/2014/main" id="{0458B3F6-0F17-47D3-A746-4A8FDC8C89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3362638"/>
              </p:ext>
            </p:extLst>
          </p:nvPr>
        </p:nvGraphicFramePr>
        <p:xfrm>
          <a:off x="4268064" y="6010910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E3D729CC-6F21-4A1D-A130-A5EEE91CA962}"/>
              </a:ext>
            </a:extLst>
          </p:cNvPr>
          <p:cNvSpPr/>
          <p:nvPr/>
        </p:nvSpPr>
        <p:spPr>
          <a:xfrm>
            <a:off x="3701837" y="6024522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5DB84DD0-5605-45DF-9488-166A31B59A0D}"/>
              </a:ext>
            </a:extLst>
          </p:cNvPr>
          <p:cNvSpPr/>
          <p:nvPr/>
        </p:nvSpPr>
        <p:spPr>
          <a:xfrm flipV="1">
            <a:off x="6866882" y="601091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2" name="사각형: 둥근 모서리 191">
            <a:extLst>
              <a:ext uri="{FF2B5EF4-FFF2-40B4-BE49-F238E27FC236}">
                <a16:creationId xmlns:a16="http://schemas.microsoft.com/office/drawing/2014/main" id="{17F1BC1D-2B3F-4210-8CE5-B0F0DB63FDC4}"/>
              </a:ext>
            </a:extLst>
          </p:cNvPr>
          <p:cNvSpPr/>
          <p:nvPr/>
        </p:nvSpPr>
        <p:spPr>
          <a:xfrm>
            <a:off x="4180886" y="59371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D28B9982-3A34-4964-A8D4-49AA29AB7870}"/>
              </a:ext>
            </a:extLst>
          </p:cNvPr>
          <p:cNvSpPr/>
          <p:nvPr/>
        </p:nvSpPr>
        <p:spPr>
          <a:xfrm>
            <a:off x="2669684" y="2067118"/>
            <a:ext cx="2005054" cy="2441995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01" name="사각형: 둥근 모서리 200">
            <a:extLst>
              <a:ext uri="{FF2B5EF4-FFF2-40B4-BE49-F238E27FC236}">
                <a16:creationId xmlns:a16="http://schemas.microsoft.com/office/drawing/2014/main" id="{7FAB8469-5133-46A6-9155-3F06482584A1}"/>
              </a:ext>
            </a:extLst>
          </p:cNvPr>
          <p:cNvSpPr/>
          <p:nvPr/>
        </p:nvSpPr>
        <p:spPr>
          <a:xfrm>
            <a:off x="2605305" y="2017620"/>
            <a:ext cx="146923" cy="11709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8" name="사각형: 둥근 모서리 197">
            <a:extLst>
              <a:ext uri="{FF2B5EF4-FFF2-40B4-BE49-F238E27FC236}">
                <a16:creationId xmlns:a16="http://schemas.microsoft.com/office/drawing/2014/main" id="{71DFEC55-0B6D-4F26-BC43-30F03BA80E76}"/>
              </a:ext>
            </a:extLst>
          </p:cNvPr>
          <p:cNvSpPr/>
          <p:nvPr/>
        </p:nvSpPr>
        <p:spPr>
          <a:xfrm>
            <a:off x="5059204" y="26408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9" name="사각형: 둥근 모서리 198">
            <a:extLst>
              <a:ext uri="{FF2B5EF4-FFF2-40B4-BE49-F238E27FC236}">
                <a16:creationId xmlns:a16="http://schemas.microsoft.com/office/drawing/2014/main" id="{54C5851D-A2EF-4730-A9C9-97FC0103F713}"/>
              </a:ext>
            </a:extLst>
          </p:cNvPr>
          <p:cNvSpPr/>
          <p:nvPr/>
        </p:nvSpPr>
        <p:spPr>
          <a:xfrm>
            <a:off x="4733411" y="32687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4" name="사각형: 둥근 모서리 203">
            <a:extLst>
              <a:ext uri="{FF2B5EF4-FFF2-40B4-BE49-F238E27FC236}">
                <a16:creationId xmlns:a16="http://schemas.microsoft.com/office/drawing/2014/main" id="{88A8595A-7F9E-4CFC-ABC2-938C39999C53}"/>
              </a:ext>
            </a:extLst>
          </p:cNvPr>
          <p:cNvSpPr/>
          <p:nvPr/>
        </p:nvSpPr>
        <p:spPr>
          <a:xfrm>
            <a:off x="4737772" y="36722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5" name="그룹 204">
            <a:extLst>
              <a:ext uri="{FF2B5EF4-FFF2-40B4-BE49-F238E27FC236}">
                <a16:creationId xmlns:a16="http://schemas.microsoft.com/office/drawing/2014/main" id="{89753E3E-6924-4042-BF8B-45113525F2DA}"/>
              </a:ext>
            </a:extLst>
          </p:cNvPr>
          <p:cNvGrpSpPr/>
          <p:nvPr/>
        </p:nvGrpSpPr>
        <p:grpSpPr>
          <a:xfrm>
            <a:off x="4814718" y="4016419"/>
            <a:ext cx="1795182" cy="389623"/>
            <a:chOff x="2640783" y="6163907"/>
            <a:chExt cx="1795182" cy="389623"/>
          </a:xfrm>
        </p:grpSpPr>
        <p:grpSp>
          <p:nvGrpSpPr>
            <p:cNvPr id="206" name="그룹 205">
              <a:extLst>
                <a:ext uri="{FF2B5EF4-FFF2-40B4-BE49-F238E27FC236}">
                  <a16:creationId xmlns:a16="http://schemas.microsoft.com/office/drawing/2014/main" id="{7CD0E626-3865-426A-A010-B3688A1CF9F1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21B76E87-7881-474D-AD8F-1E981C10A30C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1F9E0DC-11C3-4955-A499-60035E06E4F6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4E74AD8D-FAA0-432A-ABB9-289C1B8A761B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07" name="직사각형 206">
              <a:extLst>
                <a:ext uri="{FF2B5EF4-FFF2-40B4-BE49-F238E27FC236}">
                  <a16:creationId xmlns:a16="http://schemas.microsoft.com/office/drawing/2014/main" id="{008D61B6-06E2-4E57-B226-B9012B10BD2C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11" name="그룹 210">
            <a:extLst>
              <a:ext uri="{FF2B5EF4-FFF2-40B4-BE49-F238E27FC236}">
                <a16:creationId xmlns:a16="http://schemas.microsoft.com/office/drawing/2014/main" id="{8B7A9736-0CA9-4384-ACB8-1810349BF54A}"/>
              </a:ext>
            </a:extLst>
          </p:cNvPr>
          <p:cNvGrpSpPr/>
          <p:nvPr/>
        </p:nvGrpSpPr>
        <p:grpSpPr>
          <a:xfrm>
            <a:off x="6903512" y="4016419"/>
            <a:ext cx="1795182" cy="389623"/>
            <a:chOff x="2640783" y="6163907"/>
            <a:chExt cx="1795182" cy="389623"/>
          </a:xfrm>
        </p:grpSpPr>
        <p:grpSp>
          <p:nvGrpSpPr>
            <p:cNvPr id="212" name="그룹 211">
              <a:extLst>
                <a:ext uri="{FF2B5EF4-FFF2-40B4-BE49-F238E27FC236}">
                  <a16:creationId xmlns:a16="http://schemas.microsoft.com/office/drawing/2014/main" id="{4FDC7BDB-84F4-49DA-B127-78B9D9B78681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214" name="직사각형 213">
                <a:extLst>
                  <a:ext uri="{FF2B5EF4-FFF2-40B4-BE49-F238E27FC236}">
                    <a16:creationId xmlns:a16="http://schemas.microsoft.com/office/drawing/2014/main" id="{301C5C0A-9A07-4A19-9728-A60279A4961A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215" name="직사각형 214">
                <a:extLst>
                  <a:ext uri="{FF2B5EF4-FFF2-40B4-BE49-F238E27FC236}">
                    <a16:creationId xmlns:a16="http://schemas.microsoft.com/office/drawing/2014/main" id="{61859014-9C2A-40BA-BFD6-D97E45A7C180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216" name="직사각형 215">
                <a:extLst>
                  <a:ext uri="{FF2B5EF4-FFF2-40B4-BE49-F238E27FC236}">
                    <a16:creationId xmlns:a16="http://schemas.microsoft.com/office/drawing/2014/main" id="{E3C574D5-865C-4825-B931-0C4BD72BCE4C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13" name="직사각형 212">
              <a:extLst>
                <a:ext uri="{FF2B5EF4-FFF2-40B4-BE49-F238E27FC236}">
                  <a16:creationId xmlns:a16="http://schemas.microsoft.com/office/drawing/2014/main" id="{225A3D72-DDF4-41F3-9338-B6FB19302D40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F22934C-0F96-4E1E-B04E-3A94AF79B6C3}"/>
              </a:ext>
            </a:extLst>
          </p:cNvPr>
          <p:cNvGrpSpPr/>
          <p:nvPr/>
        </p:nvGrpSpPr>
        <p:grpSpPr>
          <a:xfrm>
            <a:off x="2699975" y="2099075"/>
            <a:ext cx="1944000" cy="1189703"/>
            <a:chOff x="3925318" y="3675504"/>
            <a:chExt cx="1124954" cy="765997"/>
          </a:xfrm>
        </p:grpSpPr>
        <p:sp>
          <p:nvSpPr>
            <p:cNvPr id="239" name="사각형: 둥근 모서리 238">
              <a:extLst>
                <a:ext uri="{FF2B5EF4-FFF2-40B4-BE49-F238E27FC236}">
                  <a16:creationId xmlns:a16="http://schemas.microsoft.com/office/drawing/2014/main" id="{47329780-B255-4511-B106-26272B8EACD6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40" name="직선 연결선 239">
              <a:extLst>
                <a:ext uri="{FF2B5EF4-FFF2-40B4-BE49-F238E27FC236}">
                  <a16:creationId xmlns:a16="http://schemas.microsoft.com/office/drawing/2014/main" id="{5266F539-E64F-4992-9ABA-647C1DD32513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직선 연결선 240">
              <a:extLst>
                <a:ext uri="{FF2B5EF4-FFF2-40B4-BE49-F238E27FC236}">
                  <a16:creationId xmlns:a16="http://schemas.microsoft.com/office/drawing/2014/main" id="{6157CA18-86F6-4B20-97C1-3BAA5CBFEB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2" name="그룹 241">
            <a:extLst>
              <a:ext uri="{FF2B5EF4-FFF2-40B4-BE49-F238E27FC236}">
                <a16:creationId xmlns:a16="http://schemas.microsoft.com/office/drawing/2014/main" id="{C72F989A-54AF-40AE-ABA9-A4D4D824B388}"/>
              </a:ext>
            </a:extLst>
          </p:cNvPr>
          <p:cNvGrpSpPr/>
          <p:nvPr/>
        </p:nvGrpSpPr>
        <p:grpSpPr>
          <a:xfrm>
            <a:off x="2657030" y="3393068"/>
            <a:ext cx="2019650" cy="538037"/>
            <a:chOff x="766908" y="5336725"/>
            <a:chExt cx="2019650" cy="538037"/>
          </a:xfrm>
        </p:grpSpPr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786E048B-188C-4430-9333-3654C1587131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U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업 지속 가능성 보고 지침 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내용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44" name="직사각형 243">
              <a:extLst>
                <a:ext uri="{FF2B5EF4-FFF2-40B4-BE49-F238E27FC236}">
                  <a16:creationId xmlns:a16="http://schemas.microsoft.com/office/drawing/2014/main" id="{2554263A-17D9-4776-B5DB-EAB4A50759FE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245" name="그룹 244">
            <a:extLst>
              <a:ext uri="{FF2B5EF4-FFF2-40B4-BE49-F238E27FC236}">
                <a16:creationId xmlns:a16="http://schemas.microsoft.com/office/drawing/2014/main" id="{B1AD8819-CAC1-4CE9-896F-4E7AE0AA69B1}"/>
              </a:ext>
            </a:extLst>
          </p:cNvPr>
          <p:cNvGrpSpPr/>
          <p:nvPr/>
        </p:nvGrpSpPr>
        <p:grpSpPr>
          <a:xfrm>
            <a:off x="2719708" y="4022630"/>
            <a:ext cx="1795182" cy="389623"/>
            <a:chOff x="2640783" y="6163907"/>
            <a:chExt cx="1795182" cy="389623"/>
          </a:xfrm>
        </p:grpSpPr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3C1A2721-3ACE-49BE-9A0E-C5B6916F4EF6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248" name="직사각형 247">
                <a:extLst>
                  <a:ext uri="{FF2B5EF4-FFF2-40B4-BE49-F238E27FC236}">
                    <a16:creationId xmlns:a16="http://schemas.microsoft.com/office/drawing/2014/main" id="{9FD78E59-FFD1-4A33-B026-5680A00E76EE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249" name="직사각형 248">
                <a:extLst>
                  <a:ext uri="{FF2B5EF4-FFF2-40B4-BE49-F238E27FC236}">
                    <a16:creationId xmlns:a16="http://schemas.microsoft.com/office/drawing/2014/main" id="{FD564E7F-0988-443E-A7F3-DEB5CE3F9C35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250" name="직사각형 249">
                <a:extLst>
                  <a:ext uri="{FF2B5EF4-FFF2-40B4-BE49-F238E27FC236}">
                    <a16:creationId xmlns:a16="http://schemas.microsoft.com/office/drawing/2014/main" id="{3C5A6104-01A9-466A-85A7-F58E410C6A4F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47" name="직사각형 246">
              <a:extLst>
                <a:ext uri="{FF2B5EF4-FFF2-40B4-BE49-F238E27FC236}">
                  <a16:creationId xmlns:a16="http://schemas.microsoft.com/office/drawing/2014/main" id="{4B93375F-8F7A-4F95-82E5-1D89F193FDD7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203" name="사각형: 둥근 모서리 202">
            <a:extLst>
              <a:ext uri="{FF2B5EF4-FFF2-40B4-BE49-F238E27FC236}">
                <a16:creationId xmlns:a16="http://schemas.microsoft.com/office/drawing/2014/main" id="{447F7682-E952-4EFC-9B34-E48901A7F844}"/>
              </a:ext>
            </a:extLst>
          </p:cNvPr>
          <p:cNvSpPr/>
          <p:nvPr/>
        </p:nvSpPr>
        <p:spPr>
          <a:xfrm>
            <a:off x="4732028" y="394750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2" name="사각형: 둥근 모서리 201">
            <a:extLst>
              <a:ext uri="{FF2B5EF4-FFF2-40B4-BE49-F238E27FC236}">
                <a16:creationId xmlns:a16="http://schemas.microsoft.com/office/drawing/2014/main" id="{285DC059-A693-4F1E-ABE8-BBB62EC2E92B}"/>
              </a:ext>
            </a:extLst>
          </p:cNvPr>
          <p:cNvSpPr/>
          <p:nvPr/>
        </p:nvSpPr>
        <p:spPr>
          <a:xfrm>
            <a:off x="4736497" y="42042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5" name="표 84">
            <a:extLst>
              <a:ext uri="{FF2B5EF4-FFF2-40B4-BE49-F238E27FC236}">
                <a16:creationId xmlns:a16="http://schemas.microsoft.com/office/drawing/2014/main" id="{590B0E4B-D14D-437B-A6BA-10EE927BC2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635435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발간물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99" name="그룹 98">
            <a:extLst>
              <a:ext uri="{FF2B5EF4-FFF2-40B4-BE49-F238E27FC236}">
                <a16:creationId xmlns:a16="http://schemas.microsoft.com/office/drawing/2014/main" id="{1E943FC6-25B0-49BD-8D01-2AE239C5EF82}"/>
              </a:ext>
            </a:extLst>
          </p:cNvPr>
          <p:cNvGrpSpPr/>
          <p:nvPr/>
        </p:nvGrpSpPr>
        <p:grpSpPr>
          <a:xfrm>
            <a:off x="3531364" y="2538290"/>
            <a:ext cx="317115" cy="317115"/>
            <a:chOff x="1519093" y="5661249"/>
            <a:chExt cx="504056" cy="504056"/>
          </a:xfrm>
        </p:grpSpPr>
        <p:sp>
          <p:nvSpPr>
            <p:cNvPr id="100" name="타원 99">
              <a:extLst>
                <a:ext uri="{FF2B5EF4-FFF2-40B4-BE49-F238E27FC236}">
                  <a16:creationId xmlns:a16="http://schemas.microsoft.com/office/drawing/2014/main" id="{851AA5DC-3CF1-4F44-BE5E-0FDF0F760245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1" name="이등변 삼각형 100">
              <a:extLst>
                <a:ext uri="{FF2B5EF4-FFF2-40B4-BE49-F238E27FC236}">
                  <a16:creationId xmlns:a16="http://schemas.microsoft.com/office/drawing/2014/main" id="{1C2A0265-BB17-465D-A1B5-9F352E16BD6F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DB2E99E4-2CFD-4A1E-96C1-FF5823757475}"/>
              </a:ext>
            </a:extLst>
          </p:cNvPr>
          <p:cNvGrpSpPr/>
          <p:nvPr/>
        </p:nvGrpSpPr>
        <p:grpSpPr>
          <a:xfrm>
            <a:off x="5613880" y="2538290"/>
            <a:ext cx="317115" cy="317115"/>
            <a:chOff x="1519093" y="5661249"/>
            <a:chExt cx="504056" cy="504056"/>
          </a:xfrm>
        </p:grpSpPr>
        <p:sp>
          <p:nvSpPr>
            <p:cNvPr id="103" name="타원 102">
              <a:extLst>
                <a:ext uri="{FF2B5EF4-FFF2-40B4-BE49-F238E27FC236}">
                  <a16:creationId xmlns:a16="http://schemas.microsoft.com/office/drawing/2014/main" id="{98B2785C-1E00-4D5C-BB42-26C9F7845D96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4" name="이등변 삼각형 103">
              <a:extLst>
                <a:ext uri="{FF2B5EF4-FFF2-40B4-BE49-F238E27FC236}">
                  <a16:creationId xmlns:a16="http://schemas.microsoft.com/office/drawing/2014/main" id="{7F84BB06-4BBD-4C06-B5F8-4969399A0AAF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3E810141-DFF7-4E12-B397-1F76EA4F23DB}"/>
              </a:ext>
            </a:extLst>
          </p:cNvPr>
          <p:cNvGrpSpPr/>
          <p:nvPr/>
        </p:nvGrpSpPr>
        <p:grpSpPr>
          <a:xfrm>
            <a:off x="7752188" y="2522623"/>
            <a:ext cx="317115" cy="317115"/>
            <a:chOff x="1519093" y="5661249"/>
            <a:chExt cx="504056" cy="504056"/>
          </a:xfrm>
        </p:grpSpPr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FC0E09A6-B638-40E2-AAB7-B0A7CF86539C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7" name="이등변 삼각형 106">
              <a:extLst>
                <a:ext uri="{FF2B5EF4-FFF2-40B4-BE49-F238E27FC236}">
                  <a16:creationId xmlns:a16="http://schemas.microsoft.com/office/drawing/2014/main" id="{2CAF8844-3517-4ACA-AC75-D0E470898C3B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9B711CF3-1CE6-46B0-8DC3-9CB4B90C6AC1}"/>
              </a:ext>
            </a:extLst>
          </p:cNvPr>
          <p:cNvSpPr/>
          <p:nvPr/>
        </p:nvSpPr>
        <p:spPr>
          <a:xfrm>
            <a:off x="4087941" y="3065045"/>
            <a:ext cx="49657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09:33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64D3127D-1499-4C2C-AC9B-E8E3A888D824}"/>
              </a:ext>
            </a:extLst>
          </p:cNvPr>
          <p:cNvSpPr/>
          <p:nvPr/>
        </p:nvSpPr>
        <p:spPr>
          <a:xfrm>
            <a:off x="5813102" y="3065045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7A992266-5A0D-4FFE-81B7-E7CD831B276E}"/>
              </a:ext>
            </a:extLst>
          </p:cNvPr>
          <p:cNvSpPr/>
          <p:nvPr/>
        </p:nvSpPr>
        <p:spPr>
          <a:xfrm>
            <a:off x="7952934" y="3065045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AF12BFA2-0D4F-4606-BCF5-7CC9E1296C72}"/>
              </a:ext>
            </a:extLst>
          </p:cNvPr>
          <p:cNvSpPr/>
          <p:nvPr/>
        </p:nvSpPr>
        <p:spPr>
          <a:xfrm>
            <a:off x="5710026" y="30307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76BC0D1-4CAA-4E0C-A3F9-F787C9023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041"/>
          <a:stretch/>
        </p:blipFill>
        <p:spPr>
          <a:xfrm>
            <a:off x="467506" y="1558289"/>
            <a:ext cx="2164268" cy="4853701"/>
          </a:xfrm>
          <a:prstGeom prst="rect">
            <a:avLst/>
          </a:prstGeom>
        </p:spPr>
      </p:pic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28DFB0BB-AB09-445C-8ACA-CE6E825C5D15}"/>
              </a:ext>
            </a:extLst>
          </p:cNvPr>
          <p:cNvSpPr/>
          <p:nvPr/>
        </p:nvSpPr>
        <p:spPr>
          <a:xfrm>
            <a:off x="491367" y="1607261"/>
            <a:ext cx="1999598" cy="482731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482C148E-B851-4EE8-8EF1-3D4ACD8724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3723"/>
          <a:stretch/>
        </p:blipFill>
        <p:spPr>
          <a:xfrm>
            <a:off x="2659275" y="4679398"/>
            <a:ext cx="6212362" cy="1077748"/>
          </a:xfrm>
          <a:prstGeom prst="rect">
            <a:avLst/>
          </a:prstGeom>
        </p:spPr>
      </p:pic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B4AD7DBB-18D4-4AE4-978B-4E36E3ADF38F}"/>
              </a:ext>
            </a:extLst>
          </p:cNvPr>
          <p:cNvSpPr/>
          <p:nvPr/>
        </p:nvSpPr>
        <p:spPr bwMode="auto">
          <a:xfrm>
            <a:off x="341695" y="6411991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F1F84CB3-3E41-43F1-9DEB-06D033FFE032}"/>
              </a:ext>
            </a:extLst>
          </p:cNvPr>
          <p:cNvSpPr/>
          <p:nvPr/>
        </p:nvSpPr>
        <p:spPr>
          <a:xfrm>
            <a:off x="5986286" y="173155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702B08D1-9822-44A2-964E-83752DCAFE6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2D93961C-0B4E-4AA5-B659-85C6352DE487}"/>
              </a:ext>
            </a:extLst>
          </p:cNvPr>
          <p:cNvSpPr/>
          <p:nvPr/>
        </p:nvSpPr>
        <p:spPr>
          <a:xfrm>
            <a:off x="2484593" y="156597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4E92A8D6-451A-45EC-A052-3EE3D3301BE9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80200854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그룹 40">
            <a:extLst>
              <a:ext uri="{FF2B5EF4-FFF2-40B4-BE49-F238E27FC236}">
                <a16:creationId xmlns:a16="http://schemas.microsoft.com/office/drawing/2014/main" id="{0E301CF3-27C4-468A-8C2C-B0A8CA885F4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27CA0088-5ABD-49F9-ACC7-35AE48BAE2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1509CE3E-E6AA-4A60-B94E-CBA4282E954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8DF63FCA-66CB-42A9-9D4A-055777DAEF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264290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발간물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하여 삼일에서 발간한 뉴스레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자료를 조회하고 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52742" y="2629765"/>
            <a:ext cx="8627560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07540AE-5B67-4D9A-84E0-8AC7872222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599452"/>
              </p:ext>
            </p:extLst>
          </p:nvPr>
        </p:nvGraphicFramePr>
        <p:xfrm>
          <a:off x="352742" y="3240365"/>
          <a:ext cx="8627560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0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문가 리스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graphicFrame>
        <p:nvGraphicFramePr>
          <p:cNvPr id="84" name="표 12">
            <a:extLst>
              <a:ext uri="{FF2B5EF4-FFF2-40B4-BE49-F238E27FC236}">
                <a16:creationId xmlns:a16="http://schemas.microsoft.com/office/drawing/2014/main" id="{861791F4-FF03-4DDF-A88B-77F4CB4F31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474421"/>
              </p:ext>
            </p:extLst>
          </p:nvPr>
        </p:nvGraphicFramePr>
        <p:xfrm>
          <a:off x="482292" y="4252634"/>
          <a:ext cx="8352669" cy="16804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769">
                  <a:extLst>
                    <a:ext uri="{9D8B030D-6E8A-4147-A177-3AD203B41FA5}">
                      <a16:colId xmlns:a16="http://schemas.microsoft.com/office/drawing/2014/main" val="3872563392"/>
                    </a:ext>
                  </a:extLst>
                </a:gridCol>
                <a:gridCol w="5640176">
                  <a:extLst>
                    <a:ext uri="{9D8B030D-6E8A-4147-A177-3AD203B41FA5}">
                      <a16:colId xmlns:a16="http://schemas.microsoft.com/office/drawing/2014/main" val="2282817696"/>
                    </a:ext>
                  </a:extLst>
                </a:gridCol>
                <a:gridCol w="1094362">
                  <a:extLst>
                    <a:ext uri="{9D8B030D-6E8A-4147-A177-3AD203B41FA5}">
                      <a16:colId xmlns:a16="http://schemas.microsoft.com/office/drawing/2014/main" val="3592074372"/>
                    </a:ext>
                  </a:extLst>
                </a:gridCol>
                <a:gridCol w="1094362">
                  <a:extLst>
                    <a:ext uri="{9D8B030D-6E8A-4147-A177-3AD203B41FA5}">
                      <a16:colId xmlns:a16="http://schemas.microsoft.com/office/drawing/2014/main" val="665613475"/>
                    </a:ext>
                  </a:extLst>
                </a:gridCol>
              </a:tblGrid>
              <a:tr h="286201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959897"/>
                  </a:ext>
                </a:extLst>
              </a:tr>
              <a:tr h="46473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0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차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News Letter </a:t>
                      </a:r>
                      <a:endParaRPr lang="ko-KR" altLang="en-US" sz="1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14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7360235"/>
                  </a:ext>
                </a:extLst>
              </a:tr>
              <a:tr h="46473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0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차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News Letter </a:t>
                      </a:r>
                      <a:endParaRPr lang="ko-KR" altLang="en-US" sz="1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07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412582"/>
                  </a:ext>
                </a:extLst>
              </a:tr>
              <a:tr h="46473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9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차</a:t>
                      </a:r>
                      <a:r>
                        <a:rPr lang="en-US" altLang="ko-KR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News Letter </a:t>
                      </a:r>
                      <a:endParaRPr lang="ko-KR" altLang="en-US" sz="1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2.09.30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901336"/>
                  </a:ext>
                </a:extLst>
              </a:tr>
            </a:tbl>
          </a:graphicData>
        </a:graphic>
      </p:graphicFrame>
      <p:cxnSp>
        <p:nvCxnSpPr>
          <p:cNvPr id="90" name="직선 연결선 89">
            <a:extLst>
              <a:ext uri="{FF2B5EF4-FFF2-40B4-BE49-F238E27FC236}">
                <a16:creationId xmlns:a16="http://schemas.microsoft.com/office/drawing/2014/main" id="{64B1E57D-B3AE-4083-921B-BD18AB336282}"/>
              </a:ext>
            </a:extLst>
          </p:cNvPr>
          <p:cNvCxnSpPr>
            <a:cxnSpLocks/>
          </p:cNvCxnSpPr>
          <p:nvPr/>
        </p:nvCxnSpPr>
        <p:spPr>
          <a:xfrm>
            <a:off x="482293" y="4146140"/>
            <a:ext cx="835267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1" name="표 21">
            <a:extLst>
              <a:ext uri="{FF2B5EF4-FFF2-40B4-BE49-F238E27FC236}">
                <a16:creationId xmlns:a16="http://schemas.microsoft.com/office/drawing/2014/main" id="{11244199-3B3C-4557-A494-DB0BD64755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381048"/>
              </p:ext>
            </p:extLst>
          </p:nvPr>
        </p:nvGraphicFramePr>
        <p:xfrm>
          <a:off x="3249496" y="6099772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92" name="직사각형 91">
            <a:extLst>
              <a:ext uri="{FF2B5EF4-FFF2-40B4-BE49-F238E27FC236}">
                <a16:creationId xmlns:a16="http://schemas.microsoft.com/office/drawing/2014/main" id="{1026E811-1164-4B34-A1AB-8440AD465939}"/>
              </a:ext>
            </a:extLst>
          </p:cNvPr>
          <p:cNvSpPr/>
          <p:nvPr/>
        </p:nvSpPr>
        <p:spPr>
          <a:xfrm>
            <a:off x="2683269" y="611419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D0E32C69-7CE2-49FF-A7A3-514CABE5E59C}"/>
              </a:ext>
            </a:extLst>
          </p:cNvPr>
          <p:cNvSpPr/>
          <p:nvPr/>
        </p:nvSpPr>
        <p:spPr>
          <a:xfrm flipV="1">
            <a:off x="5848314" y="611419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5" name="표 10">
            <a:extLst>
              <a:ext uri="{FF2B5EF4-FFF2-40B4-BE49-F238E27FC236}">
                <a16:creationId xmlns:a16="http://schemas.microsoft.com/office/drawing/2014/main" id="{3CBB1D43-7480-48FA-9ED3-29DB3E0B91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863428"/>
              </p:ext>
            </p:extLst>
          </p:nvPr>
        </p:nvGraphicFramePr>
        <p:xfrm>
          <a:off x="9275970" y="767946"/>
          <a:ext cx="2915205" cy="39005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7882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7323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92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3247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 적용한 컨텐츠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는 필터 기능 사용 안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69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3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사용한 경우에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이 보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변경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753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35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열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3463685"/>
                  </a:ext>
                </a:extLst>
              </a:tr>
              <a:tr h="235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올림차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222843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8817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29209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240933"/>
                  </a:ext>
                </a:extLst>
              </a:tr>
            </a:tbl>
          </a:graphicData>
        </a:graphic>
      </p:graphicFrame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DB443911-E333-490D-9286-01D5537C40C9}"/>
              </a:ext>
            </a:extLst>
          </p:cNvPr>
          <p:cNvSpPr/>
          <p:nvPr/>
        </p:nvSpPr>
        <p:spPr>
          <a:xfrm>
            <a:off x="6168218" y="38399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93F8304A-7A4B-4A02-B4CB-F2438576DC53}"/>
              </a:ext>
            </a:extLst>
          </p:cNvPr>
          <p:cNvSpPr/>
          <p:nvPr/>
        </p:nvSpPr>
        <p:spPr>
          <a:xfrm>
            <a:off x="341695" y="3886133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37DA15D7-A43A-4C32-8C93-1B60AF33CE9C}"/>
              </a:ext>
            </a:extLst>
          </p:cNvPr>
          <p:cNvSpPr/>
          <p:nvPr/>
        </p:nvSpPr>
        <p:spPr>
          <a:xfrm>
            <a:off x="407660" y="37942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C45D3D42-A977-47AF-B7DA-013E94A18F4F}"/>
              </a:ext>
            </a:extLst>
          </p:cNvPr>
          <p:cNvSpPr/>
          <p:nvPr/>
        </p:nvSpPr>
        <p:spPr>
          <a:xfrm>
            <a:off x="486650" y="50446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81739221-1EB7-41B4-B7D7-6EA17DCE8D6F}"/>
              </a:ext>
            </a:extLst>
          </p:cNvPr>
          <p:cNvSpPr/>
          <p:nvPr/>
        </p:nvSpPr>
        <p:spPr>
          <a:xfrm>
            <a:off x="1030452" y="50446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C5238E7D-A3D2-46E8-B337-63AACE18CD4B}"/>
              </a:ext>
            </a:extLst>
          </p:cNvPr>
          <p:cNvSpPr/>
          <p:nvPr/>
        </p:nvSpPr>
        <p:spPr>
          <a:xfrm>
            <a:off x="6783033" y="50446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B221573E-3E07-49E7-B37D-39DCC54C7AF5}"/>
              </a:ext>
            </a:extLst>
          </p:cNvPr>
          <p:cNvSpPr/>
          <p:nvPr/>
        </p:nvSpPr>
        <p:spPr>
          <a:xfrm>
            <a:off x="7808997" y="50436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4D58C70C-133A-485E-ADF6-03FD900BC518}"/>
              </a:ext>
            </a:extLst>
          </p:cNvPr>
          <p:cNvSpPr/>
          <p:nvPr/>
        </p:nvSpPr>
        <p:spPr>
          <a:xfrm>
            <a:off x="2668405" y="60327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18DB3870-F439-4D87-82FD-D885AE7F5F65}"/>
              </a:ext>
            </a:extLst>
          </p:cNvPr>
          <p:cNvSpPr/>
          <p:nvPr/>
        </p:nvSpPr>
        <p:spPr>
          <a:xfrm>
            <a:off x="482292" y="4541195"/>
            <a:ext cx="8351744" cy="451796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F93058CB-172B-4738-A1D8-BB15AD92FBEE}"/>
              </a:ext>
            </a:extLst>
          </p:cNvPr>
          <p:cNvSpPr/>
          <p:nvPr/>
        </p:nvSpPr>
        <p:spPr>
          <a:xfrm>
            <a:off x="443161" y="45396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F422A0BA-391E-4A2F-9E07-C636FA550708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15665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3CBAF164-87F8-48AF-AE7D-3FA0CE2C1799}"/>
              </a:ext>
            </a:extLst>
          </p:cNvPr>
          <p:cNvSpPr/>
          <p:nvPr/>
        </p:nvSpPr>
        <p:spPr>
          <a:xfrm>
            <a:off x="309780" y="42240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0" name="표 4">
            <a:extLst>
              <a:ext uri="{FF2B5EF4-FFF2-40B4-BE49-F238E27FC236}">
                <a16:creationId xmlns:a16="http://schemas.microsoft.com/office/drawing/2014/main" id="{924005A8-F2A2-4EF0-B60B-81FF0B5802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9809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38" name="직사각형 37">
            <a:extLst>
              <a:ext uri="{FF2B5EF4-FFF2-40B4-BE49-F238E27FC236}">
                <a16:creationId xmlns:a16="http://schemas.microsoft.com/office/drawing/2014/main" id="{A15CDB72-4446-4E53-A063-B5DDDBEEB5BD}"/>
              </a:ext>
            </a:extLst>
          </p:cNvPr>
          <p:cNvSpPr/>
          <p:nvPr/>
        </p:nvSpPr>
        <p:spPr>
          <a:xfrm>
            <a:off x="5986286" y="389941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5F8AD269-55EA-4300-80A3-5B61EA12BE8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C000DC7E-CB7D-4672-AA29-010B36B18A7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638989346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그룹 34">
            <a:extLst>
              <a:ext uri="{FF2B5EF4-FFF2-40B4-BE49-F238E27FC236}">
                <a16:creationId xmlns:a16="http://schemas.microsoft.com/office/drawing/2014/main" id="{2184996F-8C09-4DA3-BD1D-12E95AC21313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7DFCD99C-37F3-4D7B-B41A-7F9579940F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52FFEBB8-495B-44F1-9D8D-69E3CD6C158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1" name="그림 50">
              <a:extLst>
                <a:ext uri="{FF2B5EF4-FFF2-40B4-BE49-F238E27FC236}">
                  <a16:creationId xmlns:a16="http://schemas.microsoft.com/office/drawing/2014/main" id="{45B24A44-1641-4D05-94D0-E9BA3D8A4D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688017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리스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발간물을 분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약해서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삼일 인사이트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하여 삼일에서 발간한 뉴스레터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자료를 조회하고 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52742" y="2629765"/>
            <a:ext cx="8627560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07540AE-5B67-4D9A-84E0-8AC7872222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사이트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417571"/>
              </p:ext>
            </p:extLst>
          </p:nvPr>
        </p:nvGraphicFramePr>
        <p:xfrm>
          <a:off x="352742" y="3240365"/>
          <a:ext cx="8627560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0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0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문가 리스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cxnSp>
        <p:nvCxnSpPr>
          <p:cNvPr id="90" name="직선 연결선 89">
            <a:extLst>
              <a:ext uri="{FF2B5EF4-FFF2-40B4-BE49-F238E27FC236}">
                <a16:creationId xmlns:a16="http://schemas.microsoft.com/office/drawing/2014/main" id="{64B1E57D-B3AE-4083-921B-BD18AB336282}"/>
              </a:ext>
            </a:extLst>
          </p:cNvPr>
          <p:cNvCxnSpPr>
            <a:cxnSpLocks/>
          </p:cNvCxnSpPr>
          <p:nvPr/>
        </p:nvCxnSpPr>
        <p:spPr>
          <a:xfrm>
            <a:off x="482293" y="4146140"/>
            <a:ext cx="835267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표 12">
            <a:extLst>
              <a:ext uri="{FF2B5EF4-FFF2-40B4-BE49-F238E27FC236}">
                <a16:creationId xmlns:a16="http://schemas.microsoft.com/office/drawing/2014/main" id="{65FE0511-D04B-419C-A00C-42925DADC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883301"/>
              </p:ext>
            </p:extLst>
          </p:nvPr>
        </p:nvGraphicFramePr>
        <p:xfrm>
          <a:off x="482293" y="4233203"/>
          <a:ext cx="8352670" cy="11107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97880">
                  <a:extLst>
                    <a:ext uri="{9D8B030D-6E8A-4147-A177-3AD203B41FA5}">
                      <a16:colId xmlns:a16="http://schemas.microsoft.com/office/drawing/2014/main" val="3872563392"/>
                    </a:ext>
                  </a:extLst>
                </a:gridCol>
                <a:gridCol w="5655987">
                  <a:extLst>
                    <a:ext uri="{9D8B030D-6E8A-4147-A177-3AD203B41FA5}">
                      <a16:colId xmlns:a16="http://schemas.microsoft.com/office/drawing/2014/main" val="2282817696"/>
                    </a:ext>
                  </a:extLst>
                </a:gridCol>
                <a:gridCol w="1298803">
                  <a:extLst>
                    <a:ext uri="{9D8B030D-6E8A-4147-A177-3AD203B41FA5}">
                      <a16:colId xmlns:a16="http://schemas.microsoft.com/office/drawing/2014/main" val="2329175038"/>
                    </a:ext>
                  </a:extLst>
                </a:gridCol>
              </a:tblGrid>
              <a:tr h="261509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성명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및 직함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하기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959897"/>
                  </a:ext>
                </a:extLst>
              </a:tr>
              <a:tr h="4246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진규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담당 파트너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7360235"/>
                  </a:ext>
                </a:extLst>
              </a:tr>
              <a:tr h="4246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1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endParaRPr lang="ko-KR" altLang="en-US" sz="10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412582"/>
                  </a:ext>
                </a:extLst>
              </a:tr>
            </a:tbl>
          </a:graphicData>
        </a:graphic>
      </p:graphicFrame>
      <p:sp>
        <p:nvSpPr>
          <p:cNvPr id="33" name="직사각형 32">
            <a:extLst>
              <a:ext uri="{FF2B5EF4-FFF2-40B4-BE49-F238E27FC236}">
                <a16:creationId xmlns:a16="http://schemas.microsoft.com/office/drawing/2014/main" id="{122545CC-ED01-4129-A34F-A0188623E193}"/>
              </a:ext>
            </a:extLst>
          </p:cNvPr>
          <p:cNvSpPr/>
          <p:nvPr/>
        </p:nvSpPr>
        <p:spPr>
          <a:xfrm>
            <a:off x="408997" y="3911042"/>
            <a:ext cx="1009911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CD088048-1262-435F-8066-A4D57BA3D333}"/>
              </a:ext>
            </a:extLst>
          </p:cNvPr>
          <p:cNvCxnSpPr>
            <a:cxnSpLocks/>
          </p:cNvCxnSpPr>
          <p:nvPr/>
        </p:nvCxnSpPr>
        <p:spPr>
          <a:xfrm>
            <a:off x="482293" y="5804906"/>
            <a:ext cx="835267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515C3CA-2736-4183-BB69-FD51D3371615}"/>
              </a:ext>
            </a:extLst>
          </p:cNvPr>
          <p:cNvSpPr/>
          <p:nvPr/>
        </p:nvSpPr>
        <p:spPr>
          <a:xfrm>
            <a:off x="408997" y="5569808"/>
            <a:ext cx="1009911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설팅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1" name="표 12">
            <a:extLst>
              <a:ext uri="{FF2B5EF4-FFF2-40B4-BE49-F238E27FC236}">
                <a16:creationId xmlns:a16="http://schemas.microsoft.com/office/drawing/2014/main" id="{37660BDF-1416-4FA4-9BD3-D1F107014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8321246"/>
              </p:ext>
            </p:extLst>
          </p:nvPr>
        </p:nvGraphicFramePr>
        <p:xfrm>
          <a:off x="482293" y="5913612"/>
          <a:ext cx="8352670" cy="6861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97880">
                  <a:extLst>
                    <a:ext uri="{9D8B030D-6E8A-4147-A177-3AD203B41FA5}">
                      <a16:colId xmlns:a16="http://schemas.microsoft.com/office/drawing/2014/main" val="3872563392"/>
                    </a:ext>
                  </a:extLst>
                </a:gridCol>
                <a:gridCol w="5655987">
                  <a:extLst>
                    <a:ext uri="{9D8B030D-6E8A-4147-A177-3AD203B41FA5}">
                      <a16:colId xmlns:a16="http://schemas.microsoft.com/office/drawing/2014/main" val="2282817696"/>
                    </a:ext>
                  </a:extLst>
                </a:gridCol>
                <a:gridCol w="1298803">
                  <a:extLst>
                    <a:ext uri="{9D8B030D-6E8A-4147-A177-3AD203B41FA5}">
                      <a16:colId xmlns:a16="http://schemas.microsoft.com/office/drawing/2014/main" val="2329175038"/>
                    </a:ext>
                  </a:extLst>
                </a:gridCol>
              </a:tblGrid>
              <a:tr h="261509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성명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및 직함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락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959897"/>
                  </a:ext>
                </a:extLst>
              </a:tr>
              <a:tr h="4246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진유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담당 파트너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7360235"/>
                  </a:ext>
                </a:extLst>
              </a:tr>
            </a:tbl>
          </a:graphicData>
        </a:graphic>
      </p:graphicFrame>
      <p:graphicFrame>
        <p:nvGraphicFramePr>
          <p:cNvPr id="43" name="표 10">
            <a:extLst>
              <a:ext uri="{FF2B5EF4-FFF2-40B4-BE49-F238E27FC236}">
                <a16:creationId xmlns:a16="http://schemas.microsoft.com/office/drawing/2014/main" id="{D7AD0607-B6CD-48B6-8BF6-DC42E10BD1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458029"/>
              </p:ext>
            </p:extLst>
          </p:nvPr>
        </p:nvGraphicFramePr>
        <p:xfrm>
          <a:off x="9275970" y="767946"/>
          <a:ext cx="2915205" cy="18892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7882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7323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92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 리스트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어드민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관리 없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6067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성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및 직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일주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메시지 작성 화면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</a:tbl>
          </a:graphicData>
        </a:graphic>
      </p:graphicFrame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E1720C75-FCE1-4711-B2DE-84BBB780A870}"/>
              </a:ext>
            </a:extLst>
          </p:cNvPr>
          <p:cNvSpPr/>
          <p:nvPr/>
        </p:nvSpPr>
        <p:spPr>
          <a:xfrm>
            <a:off x="408997" y="38204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6C6A8AB9-7C70-4959-A930-0929305D2E40}"/>
              </a:ext>
            </a:extLst>
          </p:cNvPr>
          <p:cNvSpPr/>
          <p:nvPr/>
        </p:nvSpPr>
        <p:spPr>
          <a:xfrm>
            <a:off x="841471" y="45376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C80C4537-FF0F-4D7E-A1C6-FA5930BE32BD}"/>
              </a:ext>
            </a:extLst>
          </p:cNvPr>
          <p:cNvSpPr/>
          <p:nvPr/>
        </p:nvSpPr>
        <p:spPr>
          <a:xfrm>
            <a:off x="1805111" y="45376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A919C09C-73E5-436C-A381-5F3A0E2575E2}"/>
              </a:ext>
            </a:extLst>
          </p:cNvPr>
          <p:cNvSpPr/>
          <p:nvPr/>
        </p:nvSpPr>
        <p:spPr>
          <a:xfrm>
            <a:off x="7506579" y="45376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6D4FE37-B1DC-4DB7-978E-202B41E62728}"/>
              </a:ext>
            </a:extLst>
          </p:cNvPr>
          <p:cNvSpPr txBox="1"/>
          <p:nvPr/>
        </p:nvSpPr>
        <p:spPr>
          <a:xfrm>
            <a:off x="7607409" y="4596434"/>
            <a:ext cx="136815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6"/>
              </a:rPr>
              <a:t>Jin-kyu.lee@pwc.com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F459F45-4E59-4FCD-9932-0D4ABE04FEF6}"/>
              </a:ext>
            </a:extLst>
          </p:cNvPr>
          <p:cNvSpPr txBox="1"/>
          <p:nvPr/>
        </p:nvSpPr>
        <p:spPr>
          <a:xfrm>
            <a:off x="7636995" y="6265815"/>
            <a:ext cx="136815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6"/>
              </a:rPr>
              <a:t>Jin-you.kim@pwc.com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dirty="0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09E22F9-B989-4E56-8D62-56ED83FD6198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15665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8" name="표 4">
            <a:extLst>
              <a:ext uri="{FF2B5EF4-FFF2-40B4-BE49-F238E27FC236}">
                <a16:creationId xmlns:a16="http://schemas.microsoft.com/office/drawing/2014/main" id="{49008E17-12A7-4F2E-987B-B685E2835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9809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52" name="직사각형 51">
            <a:extLst>
              <a:ext uri="{FF2B5EF4-FFF2-40B4-BE49-F238E27FC236}">
                <a16:creationId xmlns:a16="http://schemas.microsoft.com/office/drawing/2014/main" id="{89963A28-ECAD-49A5-AB3B-689BA301E85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41A4B67-94D3-4300-9C7E-E6AC02D61D8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09026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293817"/>
              </p:ext>
            </p:extLst>
          </p:nvPr>
        </p:nvGraphicFramePr>
        <p:xfrm>
          <a:off x="335360" y="822058"/>
          <a:ext cx="11521280" cy="54954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4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35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6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6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092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34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7.2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2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본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작성 완료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0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982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NB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홈화면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내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: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→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666985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홈화면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&gt; PwC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인사이트 내 탭 명 수정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 → 미디어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466296"/>
                  </a:ext>
                </a:extLst>
              </a:tr>
              <a:tr h="272937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로팅배너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로팅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배너는 전 화면에서 동일하게 출력되는 것으로 변경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에 있던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로팅배너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목차는 본 화면에서 출력됨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252667"/>
                  </a:ext>
                </a:extLst>
              </a:tr>
              <a:tr h="25134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3] :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 수정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34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7]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omment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분 추가 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14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필터 삭제로 해당 화면 전체 삭제 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4 - P01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가이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 사이드바 기능 추가하여 경영활동가이드 목차 출력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별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탭 기능 삭제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73p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참고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74-93p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까지 전체 반영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8646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5 - P01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삼일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안내 →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Korea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안내로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반영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소개 영역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진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부서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법인 순으로 출력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클릭 시 해당 부서 사이트로 이동하는 기능 삭제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삼일 서비스 문의하기 → 서비스 문의하기도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34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00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섹션명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「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」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념 정의 → 「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」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이해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//     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→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//   </a:t>
                      </a:r>
                      <a:r>
                        <a:rPr lang="en-US" altLang="ko-KR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mil’s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Talk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Talk 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890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00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et’s Talk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소개 영역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진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부서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법인 순으로 출력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클릭 시 해당 부서 사이트로 이동하는 기능 삭제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삼일 서비스 문의하기 → 서비스 문의하기도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 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1 – R01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 사이드바 기능 추가하여 공시 기준서 리스트 출력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반영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기준서 컬럼 삭제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002 – R01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서별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련 컨텐츠 내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추가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기준서 반영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영역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ESG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ESG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로 명칭 수정 및 출력양식 변경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디오버튼 → 태그형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복수선택 가능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)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 추가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/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필터 삭제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021499"/>
                  </a:ext>
                </a:extLst>
              </a:tr>
              <a:tr h="31723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01- LOO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 →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Korea </a:t>
                      </a:r>
                      <a:r>
                        <a:rPr lang="en-US" altLang="ko-KR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sghts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660569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</p:spTree>
    <p:extLst>
      <p:ext uri="{BB962C8B-B14F-4D97-AF65-F5344CB8AC3E}">
        <p14:creationId xmlns:p14="http://schemas.microsoft.com/office/powerpoint/2010/main" val="18576623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02379"/>
              </p:ext>
            </p:extLst>
          </p:nvPr>
        </p:nvGraphicFramePr>
        <p:xfrm>
          <a:off x="-1723" y="-19573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B92A537-E4B5-4F6E-AC0C-DC326FB06E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45785" y="1601514"/>
            <a:ext cx="4299597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토픽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CC16BCB-D05D-4647-A9A8-5A60F81B25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23078" y="1687772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3F9BB08E-CAD5-41A8-B830-08A51A9900D4}"/>
              </a:ext>
            </a:extLst>
          </p:cNvPr>
          <p:cNvGrpSpPr/>
          <p:nvPr/>
        </p:nvGrpSpPr>
        <p:grpSpPr>
          <a:xfrm>
            <a:off x="585783" y="2117617"/>
            <a:ext cx="1882476" cy="1150601"/>
            <a:chOff x="985833" y="3399096"/>
            <a:chExt cx="1843952" cy="1150601"/>
          </a:xfrm>
        </p:grpSpPr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7738559F-B056-4B17-84CB-193E18AD9B22}"/>
                </a:ext>
              </a:extLst>
            </p:cNvPr>
            <p:cNvSpPr/>
            <p:nvPr/>
          </p:nvSpPr>
          <p:spPr>
            <a:xfrm>
              <a:off x="999809" y="3399096"/>
              <a:ext cx="1829976" cy="1134307"/>
            </a:xfrm>
            <a:prstGeom prst="roundRect">
              <a:avLst>
                <a:gd name="adj" fmla="val 2667"/>
              </a:avLst>
            </a:prstGeom>
            <a:solidFill>
              <a:srgbClr val="F2F2F2">
                <a:alpha val="50196"/>
              </a:srgb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4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E0F645B7-BEA0-4F83-9458-BEFF850127B2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992007" y="3619473"/>
              <a:ext cx="935492" cy="194697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</a:t>
              </a:r>
            </a:p>
          </p:txBody>
        </p:sp>
        <p:sp>
          <p:nvSpPr>
            <p:cNvPr id="51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A78B8126-4BB8-485C-9F9E-3C7109FB086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85833" y="3831848"/>
              <a:ext cx="1829976" cy="717849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 latinLnBrk="0">
                <a:lnSpc>
                  <a:spcPct val="130000"/>
                </a:lnSpc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적인 제품 생산 외 협력업체와 물류는 물론 제품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과 폐기 과정에서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생하는 외부 배출을 의미하는 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대한 컨텐츠 모음</a:t>
              </a:r>
              <a:endPara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54D10A25-DE7F-4711-B818-A6E71F1B1FBC}"/>
                </a:ext>
              </a:extLst>
            </p:cNvPr>
            <p:cNvSpPr/>
            <p:nvPr/>
          </p:nvSpPr>
          <p:spPr>
            <a:xfrm>
              <a:off x="1054009" y="3460914"/>
              <a:ext cx="727135" cy="144000"/>
            </a:xfrm>
            <a:prstGeom prst="roundRect">
              <a:avLst>
                <a:gd name="adj" fmla="val 5135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nvironment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EE610B1B-922A-4275-9DDD-A75762BAE698}"/>
              </a:ext>
            </a:extLst>
          </p:cNvPr>
          <p:cNvGrpSpPr/>
          <p:nvPr/>
        </p:nvGrpSpPr>
        <p:grpSpPr>
          <a:xfrm>
            <a:off x="4723976" y="2117616"/>
            <a:ext cx="1910001" cy="1157738"/>
            <a:chOff x="965859" y="3399096"/>
            <a:chExt cx="1870914" cy="1157738"/>
          </a:xfrm>
        </p:grpSpPr>
        <p:sp>
          <p:nvSpPr>
            <p:cNvPr id="107" name="사각형: 둥근 모서리 106">
              <a:extLst>
                <a:ext uri="{FF2B5EF4-FFF2-40B4-BE49-F238E27FC236}">
                  <a16:creationId xmlns:a16="http://schemas.microsoft.com/office/drawing/2014/main" id="{D2AB84D2-F3F5-4744-BF4A-0B8466605CB5}"/>
                </a:ext>
              </a:extLst>
            </p:cNvPr>
            <p:cNvSpPr/>
            <p:nvPr/>
          </p:nvSpPr>
          <p:spPr>
            <a:xfrm>
              <a:off x="999809" y="3399096"/>
              <a:ext cx="1829976" cy="1134307"/>
            </a:xfrm>
            <a:prstGeom prst="roundRect">
              <a:avLst>
                <a:gd name="adj" fmla="val 2667"/>
              </a:avLst>
            </a:prstGeom>
            <a:solidFill>
              <a:srgbClr val="F2F2F2">
                <a:alpha val="50196"/>
              </a:srgb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09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7D8326B1-B3E1-443A-8BA8-6369DA299A5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965859" y="3636819"/>
              <a:ext cx="1095210" cy="194697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부 통제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0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53DC4AEC-E0C7-48E3-9D50-C8A53BDD832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06797" y="3838985"/>
              <a:ext cx="1829976" cy="717849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 latinLnBrk="0">
                <a:lnSpc>
                  <a:spcPct val="130000"/>
                </a:lnSpc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적인 제품 생산 외 협력업체와 물류는 물론 제품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과 폐기 과정에서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생하는 외부 배출을 의미하는 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대한 컨텐츠 모음</a:t>
              </a:r>
              <a:endPara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1D62B262-7D8C-4A4C-BE1D-AC171BACF1B7}"/>
                </a:ext>
              </a:extLst>
            </p:cNvPr>
            <p:cNvSpPr/>
            <p:nvPr/>
          </p:nvSpPr>
          <p:spPr>
            <a:xfrm>
              <a:off x="1049705" y="3445957"/>
              <a:ext cx="695825" cy="144000"/>
            </a:xfrm>
            <a:prstGeom prst="roundRect">
              <a:avLst>
                <a:gd name="adj" fmla="val 5135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overnance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87012C9C-E87A-4C5C-A54C-716199CAFCBE}"/>
              </a:ext>
            </a:extLst>
          </p:cNvPr>
          <p:cNvGrpSpPr/>
          <p:nvPr/>
        </p:nvGrpSpPr>
        <p:grpSpPr>
          <a:xfrm>
            <a:off x="2644469" y="2117617"/>
            <a:ext cx="1882476" cy="1170536"/>
            <a:chOff x="985833" y="3399096"/>
            <a:chExt cx="1843952" cy="1170536"/>
          </a:xfrm>
        </p:grpSpPr>
        <p:sp>
          <p:nvSpPr>
            <p:cNvPr id="113" name="사각형: 둥근 모서리 112">
              <a:extLst>
                <a:ext uri="{FF2B5EF4-FFF2-40B4-BE49-F238E27FC236}">
                  <a16:creationId xmlns:a16="http://schemas.microsoft.com/office/drawing/2014/main" id="{449A1B79-9AAF-4D5D-A2C7-439180BE2E58}"/>
                </a:ext>
              </a:extLst>
            </p:cNvPr>
            <p:cNvSpPr/>
            <p:nvPr/>
          </p:nvSpPr>
          <p:spPr>
            <a:xfrm>
              <a:off x="999809" y="3399096"/>
              <a:ext cx="1829976" cy="1134307"/>
            </a:xfrm>
            <a:prstGeom prst="roundRect">
              <a:avLst>
                <a:gd name="adj" fmla="val 2667"/>
              </a:avLst>
            </a:prstGeom>
            <a:solidFill>
              <a:srgbClr val="F2F2F2">
                <a:alpha val="50196"/>
              </a:srgb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15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5A09D46C-178E-4F9E-B62D-5B04E447AF6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985833" y="3654035"/>
              <a:ext cx="1162771" cy="194697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 관리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C795EBED-A7D2-47B1-81E5-549A580A852F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985833" y="3851783"/>
              <a:ext cx="1829976" cy="717849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 latinLnBrk="0">
                <a:lnSpc>
                  <a:spcPct val="130000"/>
                </a:lnSpc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적인 제품 생산 외 협력업체와 물류는 물론 제품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과 폐기 과정에서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생하는 외부 배출을 의미하는 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대한 컨텐츠 모음</a:t>
              </a:r>
              <a:endPara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7" name="사각형: 둥근 모서리 116">
              <a:extLst>
                <a:ext uri="{FF2B5EF4-FFF2-40B4-BE49-F238E27FC236}">
                  <a16:creationId xmlns:a16="http://schemas.microsoft.com/office/drawing/2014/main" id="{ACCCCB12-604F-4D02-B1C9-03E1F0922460}"/>
                </a:ext>
              </a:extLst>
            </p:cNvPr>
            <p:cNvSpPr/>
            <p:nvPr/>
          </p:nvSpPr>
          <p:spPr>
            <a:xfrm>
              <a:off x="1055557" y="3456589"/>
              <a:ext cx="560332" cy="144000"/>
            </a:xfrm>
            <a:prstGeom prst="roundRect">
              <a:avLst>
                <a:gd name="adj" fmla="val 5135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ocial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812A6E74-EAFC-4095-9973-DB00C61E6530}"/>
              </a:ext>
            </a:extLst>
          </p:cNvPr>
          <p:cNvGrpSpPr/>
          <p:nvPr/>
        </p:nvGrpSpPr>
        <p:grpSpPr>
          <a:xfrm>
            <a:off x="6796431" y="2117617"/>
            <a:ext cx="1892348" cy="1158969"/>
            <a:chOff x="976163" y="3399097"/>
            <a:chExt cx="1853622" cy="1158969"/>
          </a:xfrm>
        </p:grpSpPr>
        <p:sp>
          <p:nvSpPr>
            <p:cNvPr id="119" name="사각형: 둥근 모서리 118">
              <a:extLst>
                <a:ext uri="{FF2B5EF4-FFF2-40B4-BE49-F238E27FC236}">
                  <a16:creationId xmlns:a16="http://schemas.microsoft.com/office/drawing/2014/main" id="{B0C8D5B4-4F45-47D6-8F22-34C50CC4C638}"/>
                </a:ext>
              </a:extLst>
            </p:cNvPr>
            <p:cNvSpPr/>
            <p:nvPr/>
          </p:nvSpPr>
          <p:spPr>
            <a:xfrm>
              <a:off x="999809" y="3399097"/>
              <a:ext cx="1829976" cy="1134306"/>
            </a:xfrm>
            <a:prstGeom prst="roundRect">
              <a:avLst>
                <a:gd name="adj" fmla="val 2667"/>
              </a:avLst>
            </a:prstGeom>
            <a:solidFill>
              <a:srgbClr val="F2F2F2">
                <a:alpha val="50196"/>
              </a:srgb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21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69A951D5-A133-4373-A8F9-5132A80A14F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976163" y="3619474"/>
              <a:ext cx="1177518" cy="194697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 리스크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BED6F099-6FC9-4539-BA76-61C46045CFE6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981794" y="3840217"/>
              <a:ext cx="1829976" cy="717849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 latinLnBrk="0">
                <a:lnSpc>
                  <a:spcPct val="130000"/>
                </a:lnSpc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적인 제품 생산 외 협력업체와 물류는 물론 제품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과 폐기 과정에서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생하는 외부 배출을 의미하는 </a:t>
              </a:r>
              <a:r>
                <a:rPr lang="en-US" altLang="ko-KR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</a:t>
              </a: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대한 컨텐츠 모음</a:t>
              </a:r>
              <a:endPara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3" name="사각형: 둥근 모서리 122">
              <a:extLst>
                <a:ext uri="{FF2B5EF4-FFF2-40B4-BE49-F238E27FC236}">
                  <a16:creationId xmlns:a16="http://schemas.microsoft.com/office/drawing/2014/main" id="{C20B5BA7-7233-4EBC-8525-6AB7C1F0A063}"/>
                </a:ext>
              </a:extLst>
            </p:cNvPr>
            <p:cNvSpPr/>
            <p:nvPr/>
          </p:nvSpPr>
          <p:spPr>
            <a:xfrm>
              <a:off x="1069494" y="3445957"/>
              <a:ext cx="490191" cy="144000"/>
            </a:xfrm>
            <a:prstGeom prst="roundRect">
              <a:avLst>
                <a:gd name="adj" fmla="val 5135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e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01EF86FF-5527-44E0-9B8D-5AE10F69711A}"/>
              </a:ext>
            </a:extLst>
          </p:cNvPr>
          <p:cNvGrpSpPr/>
          <p:nvPr/>
        </p:nvGrpSpPr>
        <p:grpSpPr>
          <a:xfrm>
            <a:off x="377411" y="2553954"/>
            <a:ext cx="360000" cy="360000"/>
            <a:chOff x="402104" y="3118879"/>
            <a:chExt cx="360000" cy="360000"/>
          </a:xfrm>
        </p:grpSpPr>
        <p:sp>
          <p:nvSpPr>
            <p:cNvPr id="4" name="타원 3">
              <a:extLst>
                <a:ext uri="{FF2B5EF4-FFF2-40B4-BE49-F238E27FC236}">
                  <a16:creationId xmlns:a16="http://schemas.microsoft.com/office/drawing/2014/main" id="{165A00EC-CF15-4C9F-84FA-12897EEA5D6B}"/>
                </a:ext>
              </a:extLst>
            </p:cNvPr>
            <p:cNvSpPr/>
            <p:nvPr/>
          </p:nvSpPr>
          <p:spPr>
            <a:xfrm>
              <a:off x="402104" y="3118879"/>
              <a:ext cx="360000" cy="3600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4" name="화살표: 갈매기형 수장 13">
              <a:extLst>
                <a:ext uri="{FF2B5EF4-FFF2-40B4-BE49-F238E27FC236}">
                  <a16:creationId xmlns:a16="http://schemas.microsoft.com/office/drawing/2014/main" id="{EBEBEA39-6B2C-4D42-9C94-51D7055D3F31}"/>
                </a:ext>
              </a:extLst>
            </p:cNvPr>
            <p:cNvSpPr/>
            <p:nvPr/>
          </p:nvSpPr>
          <p:spPr>
            <a:xfrm flipH="1">
              <a:off x="534925" y="3218530"/>
              <a:ext cx="78866" cy="160432"/>
            </a:xfrm>
            <a:prstGeom prst="chevron">
              <a:avLst>
                <a:gd name="adj" fmla="val 75945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48CF8DA-CCB4-4C7D-9559-DAAD5F87C4D9}"/>
              </a:ext>
            </a:extLst>
          </p:cNvPr>
          <p:cNvCxnSpPr>
            <a:cxnSpLocks/>
          </p:cNvCxnSpPr>
          <p:nvPr/>
        </p:nvCxnSpPr>
        <p:spPr>
          <a:xfrm>
            <a:off x="529920" y="1987099"/>
            <a:ext cx="827191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03919DA4-59B4-4D8F-A84E-4E6B61A83724}"/>
              </a:ext>
            </a:extLst>
          </p:cNvPr>
          <p:cNvCxnSpPr/>
          <p:nvPr/>
        </p:nvCxnSpPr>
        <p:spPr>
          <a:xfrm>
            <a:off x="341695" y="1268760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39" name="그룹 138">
            <a:extLst>
              <a:ext uri="{FF2B5EF4-FFF2-40B4-BE49-F238E27FC236}">
                <a16:creationId xmlns:a16="http://schemas.microsoft.com/office/drawing/2014/main" id="{8549ED3B-3061-4430-B187-AAFD6C09FBCC}"/>
              </a:ext>
            </a:extLst>
          </p:cNvPr>
          <p:cNvGrpSpPr/>
          <p:nvPr/>
        </p:nvGrpSpPr>
        <p:grpSpPr>
          <a:xfrm flipH="1">
            <a:off x="8527165" y="2504769"/>
            <a:ext cx="360000" cy="360000"/>
            <a:chOff x="402104" y="3118879"/>
            <a:chExt cx="360000" cy="360000"/>
          </a:xfrm>
        </p:grpSpPr>
        <p:sp>
          <p:nvSpPr>
            <p:cNvPr id="140" name="타원 139">
              <a:extLst>
                <a:ext uri="{FF2B5EF4-FFF2-40B4-BE49-F238E27FC236}">
                  <a16:creationId xmlns:a16="http://schemas.microsoft.com/office/drawing/2014/main" id="{B6F5EBEE-36F8-4822-B8FC-BEA3527C6ABA}"/>
                </a:ext>
              </a:extLst>
            </p:cNvPr>
            <p:cNvSpPr/>
            <p:nvPr/>
          </p:nvSpPr>
          <p:spPr>
            <a:xfrm>
              <a:off x="402104" y="3118879"/>
              <a:ext cx="360000" cy="3600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41" name="화살표: 갈매기형 수장 140">
              <a:extLst>
                <a:ext uri="{FF2B5EF4-FFF2-40B4-BE49-F238E27FC236}">
                  <a16:creationId xmlns:a16="http://schemas.microsoft.com/office/drawing/2014/main" id="{D19AE592-00FA-4700-942E-938B9A281055}"/>
                </a:ext>
              </a:extLst>
            </p:cNvPr>
            <p:cNvSpPr/>
            <p:nvPr/>
          </p:nvSpPr>
          <p:spPr>
            <a:xfrm flipH="1">
              <a:off x="534925" y="3218530"/>
              <a:ext cx="78866" cy="160432"/>
            </a:xfrm>
            <a:prstGeom prst="chevron">
              <a:avLst>
                <a:gd name="adj" fmla="val 75945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4" name="표 10">
            <a:extLst>
              <a:ext uri="{FF2B5EF4-FFF2-40B4-BE49-F238E27FC236}">
                <a16:creationId xmlns:a16="http://schemas.microsoft.com/office/drawing/2014/main" id="{2D2403FA-47F3-4BC4-A53B-EA9016EC62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03915"/>
              </p:ext>
            </p:extLst>
          </p:nvPr>
        </p:nvGraphicFramePr>
        <p:xfrm>
          <a:off x="9267391" y="759198"/>
          <a:ext cx="2922885" cy="238177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817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큐레이션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 토픽 중 조회 순으로 토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자동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래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래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Environment, Social, Governance, Finance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ESG Tax, ESG Deal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핵심개념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ext Area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과 시 줄임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※ 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핵심개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13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참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45" name="직사각형 44">
            <a:extLst>
              <a:ext uri="{FF2B5EF4-FFF2-40B4-BE49-F238E27FC236}">
                <a16:creationId xmlns:a16="http://schemas.microsoft.com/office/drawing/2014/main" id="{71445F95-FA18-4EA4-A2BD-3386EF19F113}"/>
              </a:ext>
            </a:extLst>
          </p:cNvPr>
          <p:cNvSpPr/>
          <p:nvPr/>
        </p:nvSpPr>
        <p:spPr>
          <a:xfrm>
            <a:off x="468445" y="1631061"/>
            <a:ext cx="8418719" cy="1797940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4933B7BA-96BD-4B8A-8E33-B20699121980}"/>
              </a:ext>
            </a:extLst>
          </p:cNvPr>
          <p:cNvSpPr/>
          <p:nvPr/>
        </p:nvSpPr>
        <p:spPr>
          <a:xfrm>
            <a:off x="430098" y="1566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E9084C7A-A543-4FED-A697-6AE0E62EEC4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6C9D2C05-D638-4278-8046-A3D9DC7952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93CC84DD-6049-48E4-97FF-424E063930C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0" name="그림 49">
              <a:extLst>
                <a:ext uri="{FF2B5EF4-FFF2-40B4-BE49-F238E27FC236}">
                  <a16:creationId xmlns:a16="http://schemas.microsoft.com/office/drawing/2014/main" id="{E8BC5D06-FD95-45E6-BC02-1246B394A1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37D2C61F-4AED-410A-AD73-22343A45EE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074BD479-2191-4751-B464-14B66F6DFB20}"/>
              </a:ext>
            </a:extLst>
          </p:cNvPr>
          <p:cNvSpPr/>
          <p:nvPr/>
        </p:nvSpPr>
        <p:spPr>
          <a:xfrm>
            <a:off x="9240095" y="-29940"/>
            <a:ext cx="2950181" cy="10797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5&gt;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수정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큐레이션 →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Topic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섹션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큐레이션 →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플래그 유형 정의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029435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그룹 43">
            <a:extLst>
              <a:ext uri="{FF2B5EF4-FFF2-40B4-BE49-F238E27FC236}">
                <a16:creationId xmlns:a16="http://schemas.microsoft.com/office/drawing/2014/main" id="{A65FCB41-C3A3-45E2-98A5-1EE95D215DC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C4871172-5850-4D16-B14D-AE75C84F09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F872BE4A-33C5-4449-B27A-6BDA73ED702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8" name="그림 47">
              <a:extLst>
                <a:ext uri="{FF2B5EF4-FFF2-40B4-BE49-F238E27FC236}">
                  <a16:creationId xmlns:a16="http://schemas.microsoft.com/office/drawing/2014/main" id="{FDD3FD74-54A1-46CD-839D-29BDADA770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6569DC0-B6B7-4D00-8718-3909BA8028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실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411097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외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문서 목록을 조회하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면은 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 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자료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7878" y="2629765"/>
            <a:ext cx="8642428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06168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542050"/>
              </p:ext>
            </p:extLst>
          </p:nvPr>
        </p:nvGraphicFramePr>
        <p:xfrm>
          <a:off x="352742" y="3240365"/>
          <a:ext cx="8627568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2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3BD15C92-31E9-41B0-B26B-9B07420EA8B9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852B92C5-7AB2-4EED-A8B4-33511CD9C346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E30AD849-6EA3-42C4-A1AE-4CF49FAE1A20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된 가이드라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학술 및 논문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 컨텐츠를 자유롭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736D3ECD-2C49-440E-9B78-C40DA598F858}"/>
              </a:ext>
            </a:extLst>
          </p:cNvPr>
          <p:cNvGrpSpPr/>
          <p:nvPr/>
        </p:nvGrpSpPr>
        <p:grpSpPr>
          <a:xfrm>
            <a:off x="2433854" y="3732954"/>
            <a:ext cx="559062" cy="439813"/>
            <a:chOff x="376836" y="3754755"/>
            <a:chExt cx="452615" cy="356071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2F8CEEE5-1905-4A61-A20A-6C763F65FB3D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2EBFEC0C-0FCF-43F1-8DA4-76142079FE6B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34" name="직선 연결선 133">
            <a:extLst>
              <a:ext uri="{FF2B5EF4-FFF2-40B4-BE49-F238E27FC236}">
                <a16:creationId xmlns:a16="http://schemas.microsoft.com/office/drawing/2014/main" id="{668B1E49-8B5F-4158-88D2-20FF0F3C5F16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CDC71D78-361C-47F6-B848-45BF1AD46C61}"/>
              </a:ext>
            </a:extLst>
          </p:cNvPr>
          <p:cNvSpPr/>
          <p:nvPr/>
        </p:nvSpPr>
        <p:spPr>
          <a:xfrm>
            <a:off x="2868213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9F1EC3DD-1A94-4764-96C4-4A2343D3A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605083"/>
              </p:ext>
            </p:extLst>
          </p:nvPr>
        </p:nvGraphicFramePr>
        <p:xfrm>
          <a:off x="2590184" y="4238509"/>
          <a:ext cx="6244782" cy="20304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8600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3533886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  <a:gridCol w="798594">
                  <a:extLst>
                    <a:ext uri="{9D8B030D-6E8A-4147-A177-3AD203B41FA5}">
                      <a16:colId xmlns:a16="http://schemas.microsoft.com/office/drawing/2014/main" val="1811650588"/>
                    </a:ext>
                  </a:extLst>
                </a:gridCol>
              </a:tblGrid>
              <a:tr h="351976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Apparel, Accessories &amp; Footwear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3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5715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2: General Disclosures 2021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1.03.3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</a:tbl>
          </a:graphicData>
        </a:graphic>
      </p:graphicFrame>
      <p:graphicFrame>
        <p:nvGraphicFramePr>
          <p:cNvPr id="136" name="표 10">
            <a:extLst>
              <a:ext uri="{FF2B5EF4-FFF2-40B4-BE49-F238E27FC236}">
                <a16:creationId xmlns:a16="http://schemas.microsoft.com/office/drawing/2014/main" id="{EBA7196C-B043-4191-BE29-53693106C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0087905"/>
              </p:ext>
            </p:extLst>
          </p:nvPr>
        </p:nvGraphicFramePr>
        <p:xfrm>
          <a:off x="9275970" y="750181"/>
          <a:ext cx="2922885" cy="61132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133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통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129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136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9844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검색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 기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로 구분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 </a:t>
                      </a:r>
                      <a:r>
                        <a:rPr lang="en-US" altLang="ko-KR" sz="800" b="0" i="0" u="none" strike="noStrike" kern="1200" cap="none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은 컨텐츠 등록 시 입력한 태그 키워드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18820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메뉴 내 탭은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으로 구분하여 컨텐츠 자동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180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158807"/>
                  </a:ext>
                </a:extLst>
              </a:tr>
              <a:tr h="5890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 열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려 있는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린 상태에서 닫히는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테이블 열 넓이 자동조정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8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및 필터 기능 적용한 컨텐츠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9844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3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사용한 경우에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이 보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변경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869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808081"/>
                  </a:ext>
                </a:extLst>
              </a:tr>
              <a:tr h="2869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841531"/>
                  </a:ext>
                </a:extLst>
              </a:tr>
            </a:tbl>
          </a:graphicData>
        </a:graphic>
      </p:graphicFrame>
      <p:sp>
        <p:nvSpPr>
          <p:cNvPr id="138" name="사각형: 둥근 모서리 137">
            <a:extLst>
              <a:ext uri="{FF2B5EF4-FFF2-40B4-BE49-F238E27FC236}">
                <a16:creationId xmlns:a16="http://schemas.microsoft.com/office/drawing/2014/main" id="{25C11605-34CF-4989-9129-D5DA11C404AE}"/>
              </a:ext>
            </a:extLst>
          </p:cNvPr>
          <p:cNvSpPr/>
          <p:nvPr/>
        </p:nvSpPr>
        <p:spPr>
          <a:xfrm>
            <a:off x="321942" y="321373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39" name="표 10">
            <a:extLst>
              <a:ext uri="{FF2B5EF4-FFF2-40B4-BE49-F238E27FC236}">
                <a16:creationId xmlns:a16="http://schemas.microsoft.com/office/drawing/2014/main" id="{AA1292A4-1D5E-4989-BE89-5AA1EAF502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042539"/>
              </p:ext>
            </p:extLst>
          </p:nvPr>
        </p:nvGraphicFramePr>
        <p:xfrm>
          <a:off x="9810965" y="3021593"/>
          <a:ext cx="2300574" cy="11833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85906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314668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32833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문서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서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11139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≠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141" name="사각형: 둥근 모서리 140">
            <a:extLst>
              <a:ext uri="{FF2B5EF4-FFF2-40B4-BE49-F238E27FC236}">
                <a16:creationId xmlns:a16="http://schemas.microsoft.com/office/drawing/2014/main" id="{FE8D7078-799D-41E5-8A01-2707710FA7D9}"/>
              </a:ext>
            </a:extLst>
          </p:cNvPr>
          <p:cNvSpPr/>
          <p:nvPr/>
        </p:nvSpPr>
        <p:spPr>
          <a:xfrm>
            <a:off x="2983103" y="38046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9F7F4A42-1FCF-434B-89C1-90D67A09967C}"/>
              </a:ext>
            </a:extLst>
          </p:cNvPr>
          <p:cNvSpPr/>
          <p:nvPr/>
        </p:nvSpPr>
        <p:spPr>
          <a:xfrm>
            <a:off x="6249466" y="38124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4E8B66B-5AA0-45A2-AD24-1B39952A162F}"/>
              </a:ext>
            </a:extLst>
          </p:cNvPr>
          <p:cNvSpPr/>
          <p:nvPr/>
        </p:nvSpPr>
        <p:spPr>
          <a:xfrm>
            <a:off x="2561490" y="4204950"/>
            <a:ext cx="6302170" cy="2472030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A7F58F7F-2DE9-4500-AA98-850A127E135F}"/>
              </a:ext>
            </a:extLst>
          </p:cNvPr>
          <p:cNvSpPr/>
          <p:nvPr/>
        </p:nvSpPr>
        <p:spPr>
          <a:xfrm>
            <a:off x="5668757" y="53282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6E8792-95CE-4070-AB4D-6A99D9D15B5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594"/>
          <a:stretch/>
        </p:blipFill>
        <p:spPr>
          <a:xfrm>
            <a:off x="528154" y="3738238"/>
            <a:ext cx="1990392" cy="2938742"/>
          </a:xfrm>
          <a:prstGeom prst="rect">
            <a:avLst/>
          </a:prstGeom>
        </p:spPr>
      </p:pic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8C50ECE5-2784-428E-AF3A-641B5AAE0441}"/>
              </a:ext>
            </a:extLst>
          </p:cNvPr>
          <p:cNvSpPr/>
          <p:nvPr/>
        </p:nvSpPr>
        <p:spPr>
          <a:xfrm>
            <a:off x="1450869" y="51534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3" name="표 4">
            <a:extLst>
              <a:ext uri="{FF2B5EF4-FFF2-40B4-BE49-F238E27FC236}">
                <a16:creationId xmlns:a16="http://schemas.microsoft.com/office/drawing/2014/main" id="{6EB890B5-D085-469C-84B8-F249D142CA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9809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137" name="사각형: 둥근 모서리 136">
            <a:extLst>
              <a:ext uri="{FF2B5EF4-FFF2-40B4-BE49-F238E27FC236}">
                <a16:creationId xmlns:a16="http://schemas.microsoft.com/office/drawing/2014/main" id="{306B629E-EA32-409C-BA8D-8C215540B4B9}"/>
              </a:ext>
            </a:extLst>
          </p:cNvPr>
          <p:cNvSpPr/>
          <p:nvPr/>
        </p:nvSpPr>
        <p:spPr>
          <a:xfrm>
            <a:off x="4658424" y="26579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9F7F563-9EAB-417E-BC18-1F068B1E8D8B}"/>
              </a:ext>
            </a:extLst>
          </p:cNvPr>
          <p:cNvSpPr/>
          <p:nvPr/>
        </p:nvSpPr>
        <p:spPr>
          <a:xfrm>
            <a:off x="5986286" y="389941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CC1B4F-547B-45FF-81F9-77A98185B9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B1B75F1-87A8-4B03-8AD7-BD12DDB54F6B}"/>
              </a:ext>
            </a:extLst>
          </p:cNvPr>
          <p:cNvSpPr/>
          <p:nvPr/>
        </p:nvSpPr>
        <p:spPr>
          <a:xfrm>
            <a:off x="2494099" y="374233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140" name="사각형: 둥근 모서리 139">
            <a:extLst>
              <a:ext uri="{FF2B5EF4-FFF2-40B4-BE49-F238E27FC236}">
                <a16:creationId xmlns:a16="http://schemas.microsoft.com/office/drawing/2014/main" id="{C02B7539-FB43-436A-83FC-B8120B28DF71}"/>
              </a:ext>
            </a:extLst>
          </p:cNvPr>
          <p:cNvSpPr/>
          <p:nvPr/>
        </p:nvSpPr>
        <p:spPr>
          <a:xfrm>
            <a:off x="2433029" y="37041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56AECCC-60BB-4E4A-A5C0-E441FCD64437}"/>
              </a:ext>
            </a:extLst>
          </p:cNvPr>
          <p:cNvSpPr/>
          <p:nvPr/>
        </p:nvSpPr>
        <p:spPr>
          <a:xfrm>
            <a:off x="8972055" y="-12139"/>
            <a:ext cx="3218221" cy="8488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미디어 영상 → 미디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9.04&gt;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한 페이지에 출력되는 컨텐츠 개수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15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로 수정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19C25965-A4DD-45B1-B734-AC0C2EF1C2C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359361494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그룹 33">
            <a:extLst>
              <a:ext uri="{FF2B5EF4-FFF2-40B4-BE49-F238E27FC236}">
                <a16:creationId xmlns:a16="http://schemas.microsoft.com/office/drawing/2014/main" id="{ED4111FA-52F1-4366-9D7F-BE954462198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27F07689-D47A-4F91-B1B3-8E68B929E7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51EDC64C-9BF6-494E-9A9D-0362499D4F6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85FF80FD-800C-4855-94E5-2C093881B6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외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문서 목록을 조회하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면은 기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 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자료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736D3ECD-2C49-440E-9B78-C40DA598F858}"/>
              </a:ext>
            </a:extLst>
          </p:cNvPr>
          <p:cNvGrpSpPr/>
          <p:nvPr/>
        </p:nvGrpSpPr>
        <p:grpSpPr>
          <a:xfrm>
            <a:off x="2433854" y="1585644"/>
            <a:ext cx="559062" cy="439813"/>
            <a:chOff x="376836" y="3754755"/>
            <a:chExt cx="452615" cy="356071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2F8CEEE5-1905-4A61-A20A-6C763F65FB3D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2EBFEC0C-0FCF-43F1-8DA4-76142079FE6B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34" name="직선 연결선 133">
            <a:extLst>
              <a:ext uri="{FF2B5EF4-FFF2-40B4-BE49-F238E27FC236}">
                <a16:creationId xmlns:a16="http://schemas.microsoft.com/office/drawing/2014/main" id="{668B1E49-8B5F-4158-88D2-20FF0F3C5F16}"/>
              </a:ext>
            </a:extLst>
          </p:cNvPr>
          <p:cNvCxnSpPr>
            <a:cxnSpLocks/>
          </p:cNvCxnSpPr>
          <p:nvPr/>
        </p:nvCxnSpPr>
        <p:spPr>
          <a:xfrm>
            <a:off x="2502551" y="199883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CDC71D78-361C-47F6-B848-45BF1AD46C61}"/>
              </a:ext>
            </a:extLst>
          </p:cNvPr>
          <p:cNvSpPr/>
          <p:nvPr/>
        </p:nvSpPr>
        <p:spPr>
          <a:xfrm>
            <a:off x="2868213" y="174735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9F1EC3DD-1A94-4764-96C4-4A2343D3A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561516"/>
              </p:ext>
            </p:extLst>
          </p:nvPr>
        </p:nvGraphicFramePr>
        <p:xfrm>
          <a:off x="2631150" y="2060848"/>
          <a:ext cx="6203816" cy="42362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1066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3763549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506632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96135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  <a:gridCol w="726434">
                  <a:extLst>
                    <a:ext uri="{9D8B030D-6E8A-4147-A177-3AD203B41FA5}">
                      <a16:colId xmlns:a16="http://schemas.microsoft.com/office/drawing/2014/main" val="1811650588"/>
                    </a:ext>
                  </a:extLst>
                </a:gridCol>
              </a:tblGrid>
              <a:tr h="34542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54315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Apparel, Accessories &amp; Footwear)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3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54315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56090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2: General Disclosures 2021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1.03.3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  <a:tr h="56090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Apparel, Accessories &amp; Footwear)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3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736142"/>
                  </a:ext>
                </a:extLst>
              </a:tr>
              <a:tr h="56090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155906"/>
                  </a:ext>
                </a:extLst>
              </a:tr>
              <a:tr h="56090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2: General Disclosures 2021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1.03.3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01117"/>
                  </a:ext>
                </a:extLst>
              </a:tr>
              <a:tr h="560904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534337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06168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0A3C948-255B-4D07-8CF1-34E05D3D3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152"/>
          <a:stretch/>
        </p:blipFill>
        <p:spPr>
          <a:xfrm>
            <a:off x="479074" y="1556792"/>
            <a:ext cx="2152075" cy="4894808"/>
          </a:xfrm>
          <a:prstGeom prst="rect">
            <a:avLst/>
          </a:prstGeom>
        </p:spPr>
      </p:pic>
      <p:sp>
        <p:nvSpPr>
          <p:cNvPr id="43" name="직사각형 42">
            <a:extLst>
              <a:ext uri="{FF2B5EF4-FFF2-40B4-BE49-F238E27FC236}">
                <a16:creationId xmlns:a16="http://schemas.microsoft.com/office/drawing/2014/main" id="{D99E0C2C-941C-4111-ADA8-1A4F0FEBCFF9}"/>
              </a:ext>
            </a:extLst>
          </p:cNvPr>
          <p:cNvSpPr/>
          <p:nvPr/>
        </p:nvSpPr>
        <p:spPr>
          <a:xfrm>
            <a:off x="510612" y="1575620"/>
            <a:ext cx="1997049" cy="487598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45" name="표 10">
            <a:extLst>
              <a:ext uri="{FF2B5EF4-FFF2-40B4-BE49-F238E27FC236}">
                <a16:creationId xmlns:a16="http://schemas.microsoft.com/office/drawing/2014/main" id="{CB507B2D-7A33-4780-91D5-E15CA2BB8C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332131"/>
              </p:ext>
            </p:extLst>
          </p:nvPr>
        </p:nvGraphicFramePr>
        <p:xfrm>
          <a:off x="9275970" y="767946"/>
          <a:ext cx="2915205" cy="22329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7882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7323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9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영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역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L016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54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올림차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35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출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22843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28817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29209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 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게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947986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85846332-DBF7-458F-8D76-EC574B9C083A}"/>
              </a:ext>
            </a:extLst>
          </p:cNvPr>
          <p:cNvSpPr/>
          <p:nvPr/>
        </p:nvSpPr>
        <p:spPr>
          <a:xfrm>
            <a:off x="2544061" y="5933049"/>
            <a:ext cx="6332413" cy="612335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49" name="표 21">
            <a:extLst>
              <a:ext uri="{FF2B5EF4-FFF2-40B4-BE49-F238E27FC236}">
                <a16:creationId xmlns:a16="http://schemas.microsoft.com/office/drawing/2014/main" id="{D2CF1943-E15D-4C94-A15E-67E20214E7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4166129"/>
              </p:ext>
            </p:extLst>
          </p:nvPr>
        </p:nvGraphicFramePr>
        <p:xfrm>
          <a:off x="4272336" y="6139987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47DCFDE1-CF45-4D7E-B021-ABEE5E25F009}"/>
              </a:ext>
            </a:extLst>
          </p:cNvPr>
          <p:cNvSpPr/>
          <p:nvPr/>
        </p:nvSpPr>
        <p:spPr>
          <a:xfrm>
            <a:off x="3706109" y="6154413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2B1DC5EF-8C81-4F13-ACDF-E7260E3138D8}"/>
              </a:ext>
            </a:extLst>
          </p:cNvPr>
          <p:cNvSpPr/>
          <p:nvPr/>
        </p:nvSpPr>
        <p:spPr>
          <a:xfrm flipV="1">
            <a:off x="6871154" y="6154413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DF73BC2-BAE7-47E9-9753-9FE4C8AF813A}"/>
              </a:ext>
            </a:extLst>
          </p:cNvPr>
          <p:cNvSpPr/>
          <p:nvPr/>
        </p:nvSpPr>
        <p:spPr>
          <a:xfrm>
            <a:off x="2631150" y="3496344"/>
            <a:ext cx="6203816" cy="529956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ACAEB2A0-68E7-44BB-98B4-A66159D7192E}"/>
              </a:ext>
            </a:extLst>
          </p:cNvPr>
          <p:cNvSpPr/>
          <p:nvPr/>
        </p:nvSpPr>
        <p:spPr>
          <a:xfrm>
            <a:off x="2586252" y="34343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17D01FF1-C096-4759-B1EC-FD9212886824}"/>
              </a:ext>
            </a:extLst>
          </p:cNvPr>
          <p:cNvSpPr/>
          <p:nvPr/>
        </p:nvSpPr>
        <p:spPr>
          <a:xfrm>
            <a:off x="2738652" y="35867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0BCB6EB2-548E-457E-86E6-41EB1CA50BCB}"/>
              </a:ext>
            </a:extLst>
          </p:cNvPr>
          <p:cNvSpPr/>
          <p:nvPr/>
        </p:nvSpPr>
        <p:spPr>
          <a:xfrm>
            <a:off x="2987522" y="35956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DF708ECE-C985-4780-BC08-4C7CD1AD75D9}"/>
              </a:ext>
            </a:extLst>
          </p:cNvPr>
          <p:cNvSpPr/>
          <p:nvPr/>
        </p:nvSpPr>
        <p:spPr>
          <a:xfrm>
            <a:off x="6816080" y="358745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4FD3EEB8-F413-48F4-AA9F-0F83193B6095}"/>
              </a:ext>
            </a:extLst>
          </p:cNvPr>
          <p:cNvSpPr/>
          <p:nvPr/>
        </p:nvSpPr>
        <p:spPr>
          <a:xfrm>
            <a:off x="7358899" y="358745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296B415C-1FD4-443C-9C7B-F3B1E5F55E9D}"/>
              </a:ext>
            </a:extLst>
          </p:cNvPr>
          <p:cNvSpPr/>
          <p:nvPr/>
        </p:nvSpPr>
        <p:spPr>
          <a:xfrm>
            <a:off x="8184232" y="358745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8DAE9A1B-64B5-411B-8D6D-5DFC9DAE6230}"/>
              </a:ext>
            </a:extLst>
          </p:cNvPr>
          <p:cNvSpPr/>
          <p:nvPr/>
        </p:nvSpPr>
        <p:spPr>
          <a:xfrm>
            <a:off x="4205351" y="60893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63CE0710-3224-4FC0-8E52-A856ECBFF1AA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643279A7-CD2C-4B62-928F-D7E322284104}"/>
              </a:ext>
            </a:extLst>
          </p:cNvPr>
          <p:cNvSpPr/>
          <p:nvPr/>
        </p:nvSpPr>
        <p:spPr>
          <a:xfrm>
            <a:off x="5986286" y="1811181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C693E84-347C-4615-BB78-4260BCEEE3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BE675F00-2C62-4CC8-A583-EB3C7413A997}"/>
              </a:ext>
            </a:extLst>
          </p:cNvPr>
          <p:cNvSpPr/>
          <p:nvPr/>
        </p:nvSpPr>
        <p:spPr>
          <a:xfrm>
            <a:off x="2509000" y="1575473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33D42EB-0A2A-40CA-B12C-180A0C6DBC4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161466890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그룹 30">
            <a:extLst>
              <a:ext uri="{FF2B5EF4-FFF2-40B4-BE49-F238E27FC236}">
                <a16:creationId xmlns:a16="http://schemas.microsoft.com/office/drawing/2014/main" id="{0C14C600-BA0C-4ADC-8CA0-044C92C0A99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9FFCD1FA-7698-41B9-B0D1-C792C1CBEE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36EF15F3-B74B-4B4D-BA2B-351643AD14A4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07FE2A16-1B51-46F9-87CE-666301220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6569DC0-B6B7-4D00-8718-3909BA8028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593665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889960"/>
              </p:ext>
            </p:extLst>
          </p:nvPr>
        </p:nvGraphicFramePr>
        <p:xfrm>
          <a:off x="9273919" y="6156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자료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7878" y="2629765"/>
            <a:ext cx="8642428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9485893"/>
              </p:ext>
            </p:extLst>
          </p:nvPr>
        </p:nvGraphicFramePr>
        <p:xfrm>
          <a:off x="352742" y="3240365"/>
          <a:ext cx="8627568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2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E30AD849-6EA3-42C4-A1AE-4CF49FAE1A20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된 가이드라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학술 및 논문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 컨텐츠를 자유롭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736D3ECD-2C49-440E-9B78-C40DA598F858}"/>
              </a:ext>
            </a:extLst>
          </p:cNvPr>
          <p:cNvGrpSpPr/>
          <p:nvPr/>
        </p:nvGrpSpPr>
        <p:grpSpPr>
          <a:xfrm>
            <a:off x="2433854" y="3732954"/>
            <a:ext cx="559062" cy="439813"/>
            <a:chOff x="376836" y="3754755"/>
            <a:chExt cx="452615" cy="356071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2F8CEEE5-1905-4A61-A20A-6C763F65FB3D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2EBFEC0C-0FCF-43F1-8DA4-76142079FE6B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34" name="직선 연결선 133">
            <a:extLst>
              <a:ext uri="{FF2B5EF4-FFF2-40B4-BE49-F238E27FC236}">
                <a16:creationId xmlns:a16="http://schemas.microsoft.com/office/drawing/2014/main" id="{668B1E49-8B5F-4158-88D2-20FF0F3C5F16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CDC71D78-361C-47F6-B848-45BF1AD46C61}"/>
              </a:ext>
            </a:extLst>
          </p:cNvPr>
          <p:cNvSpPr/>
          <p:nvPr/>
        </p:nvSpPr>
        <p:spPr>
          <a:xfrm>
            <a:off x="2868213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9F1EC3DD-1A94-4764-96C4-4A2343D3A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95187"/>
              </p:ext>
            </p:extLst>
          </p:nvPr>
        </p:nvGraphicFramePr>
        <p:xfrm>
          <a:off x="2590184" y="4238509"/>
          <a:ext cx="6244782" cy="20304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8600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3533886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  <a:gridCol w="798594">
                  <a:extLst>
                    <a:ext uri="{9D8B030D-6E8A-4147-A177-3AD203B41FA5}">
                      <a16:colId xmlns:a16="http://schemas.microsoft.com/office/drawing/2014/main" val="1811650588"/>
                    </a:ext>
                  </a:extLst>
                </a:gridCol>
              </a:tblGrid>
              <a:tr h="351976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strike="sngStrik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Apparel, Accessories &amp; Footwear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3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5715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2: General Disclosures 2021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1.03.3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</a:tbl>
          </a:graphicData>
        </a:graphic>
      </p:graphicFrame>
      <p:graphicFrame>
        <p:nvGraphicFramePr>
          <p:cNvPr id="136" name="표 10">
            <a:extLst>
              <a:ext uri="{FF2B5EF4-FFF2-40B4-BE49-F238E27FC236}">
                <a16:creationId xmlns:a16="http://schemas.microsoft.com/office/drawing/2014/main" id="{EBA7196C-B043-4191-BE29-53693106C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967119"/>
              </p:ext>
            </p:extLst>
          </p:nvPr>
        </p:nvGraphicFramePr>
        <p:xfrm>
          <a:off x="9275970" y="750180"/>
          <a:ext cx="2922885" cy="508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기능은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5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 동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</a:tbl>
          </a:graphicData>
        </a:graphic>
      </p:graphicFrame>
      <p:pic>
        <p:nvPicPr>
          <p:cNvPr id="33" name="그림 32">
            <a:extLst>
              <a:ext uri="{FF2B5EF4-FFF2-40B4-BE49-F238E27FC236}">
                <a16:creationId xmlns:a16="http://schemas.microsoft.com/office/drawing/2014/main" id="{9AA62DD7-4A7D-4F83-99A7-E4639058478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b="36786"/>
          <a:stretch/>
        </p:blipFill>
        <p:spPr>
          <a:xfrm>
            <a:off x="512159" y="3738238"/>
            <a:ext cx="1990392" cy="2530704"/>
          </a:xfrm>
          <a:prstGeom prst="rect">
            <a:avLst/>
          </a:prstGeom>
        </p:spPr>
      </p:pic>
      <p:sp>
        <p:nvSpPr>
          <p:cNvPr id="34" name="직사각형 33">
            <a:extLst>
              <a:ext uri="{FF2B5EF4-FFF2-40B4-BE49-F238E27FC236}">
                <a16:creationId xmlns:a16="http://schemas.microsoft.com/office/drawing/2014/main" id="{5ED05B68-E0AB-452C-AD39-33D763017A0E}"/>
              </a:ext>
            </a:extLst>
          </p:cNvPr>
          <p:cNvSpPr/>
          <p:nvPr/>
        </p:nvSpPr>
        <p:spPr>
          <a:xfrm>
            <a:off x="491067" y="3758290"/>
            <a:ext cx="2008915" cy="268879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DB80BAA7-988A-4DBC-BB8C-B08293ABE3D0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06168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0" name="표 4">
            <a:extLst>
              <a:ext uri="{FF2B5EF4-FFF2-40B4-BE49-F238E27FC236}">
                <a16:creationId xmlns:a16="http://schemas.microsoft.com/office/drawing/2014/main" id="{879971A1-1561-4806-8950-163ED8A1F9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1581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29" name="직사각형 28">
            <a:extLst>
              <a:ext uri="{FF2B5EF4-FFF2-40B4-BE49-F238E27FC236}">
                <a16:creationId xmlns:a16="http://schemas.microsoft.com/office/drawing/2014/main" id="{AAF3CF2B-DD04-42A5-8C3F-F819DCC1CA82}"/>
              </a:ext>
            </a:extLst>
          </p:cNvPr>
          <p:cNvSpPr/>
          <p:nvPr/>
        </p:nvSpPr>
        <p:spPr>
          <a:xfrm>
            <a:off x="5986286" y="389941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906802B9-EF4D-4F18-BABF-B7EC5552746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6A032C77-F2B1-4172-A293-8CC8FB83C57F}"/>
              </a:ext>
            </a:extLst>
          </p:cNvPr>
          <p:cNvSpPr/>
          <p:nvPr/>
        </p:nvSpPr>
        <p:spPr>
          <a:xfrm>
            <a:off x="2499982" y="3734536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E00FC034-2357-4FB4-8825-8CD3ADC2807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3C63A4E-C5C2-4841-9C0E-06A6C1323ACA}"/>
              </a:ext>
            </a:extLst>
          </p:cNvPr>
          <p:cNvSpPr/>
          <p:nvPr/>
        </p:nvSpPr>
        <p:spPr>
          <a:xfrm>
            <a:off x="7074008" y="3911217"/>
            <a:ext cx="374904" cy="1926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73C85B5-6044-4AAA-8AA0-B153142530B4}"/>
              </a:ext>
            </a:extLst>
          </p:cNvPr>
          <p:cNvSpPr/>
          <p:nvPr/>
        </p:nvSpPr>
        <p:spPr>
          <a:xfrm>
            <a:off x="6995119" y="3939388"/>
            <a:ext cx="567329" cy="14296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표일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A582566C-A033-4A2A-B747-EA7493E49AB7}"/>
              </a:ext>
            </a:extLst>
          </p:cNvPr>
          <p:cNvSpPr/>
          <p:nvPr/>
        </p:nvSpPr>
        <p:spPr>
          <a:xfrm>
            <a:off x="7320136" y="4178765"/>
            <a:ext cx="567329" cy="14296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표일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642F02C-B018-4F7F-8549-0441CB7CBD79}"/>
              </a:ext>
            </a:extLst>
          </p:cNvPr>
          <p:cNvSpPr/>
          <p:nvPr/>
        </p:nvSpPr>
        <p:spPr>
          <a:xfrm>
            <a:off x="8968551" y="-9335"/>
            <a:ext cx="3222624" cy="967668"/>
          </a:xfrm>
          <a:prstGeom prst="rect">
            <a:avLst/>
          </a:prstGeom>
          <a:solidFill>
            <a:srgbClr val="FFFF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9.18&gt;</a:t>
            </a:r>
          </a:p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도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탭에서는 발간일 → 공표일로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수정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렬순서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→ 공표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 </a:t>
            </a:r>
          </a:p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화면 내 테이블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→ 공표일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 </a:t>
            </a:r>
          </a:p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명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연도→공표연도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7500591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그룹 30">
            <a:extLst>
              <a:ext uri="{FF2B5EF4-FFF2-40B4-BE49-F238E27FC236}">
                <a16:creationId xmlns:a16="http://schemas.microsoft.com/office/drawing/2014/main" id="{1C8F6372-DB9B-426D-8F77-171382F94FA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C64B47BF-5E99-4E04-8D15-BE53E775A1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EE173A55-319C-40BA-B343-A013F71616F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BF56486F-455F-4EC1-8B11-A7620CCFC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6569DC0-B6B7-4D00-8718-3909BA8028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1666291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자료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7878" y="2629765"/>
            <a:ext cx="8642428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354694"/>
              </p:ext>
            </p:extLst>
          </p:nvPr>
        </p:nvGraphicFramePr>
        <p:xfrm>
          <a:off x="352742" y="3240365"/>
          <a:ext cx="8627568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2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E30AD849-6EA3-42C4-A1AE-4CF49FAE1A20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된 가이드라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학술 및 논문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 컨텐츠를 자유롭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736D3ECD-2C49-440E-9B78-C40DA598F858}"/>
              </a:ext>
            </a:extLst>
          </p:cNvPr>
          <p:cNvGrpSpPr/>
          <p:nvPr/>
        </p:nvGrpSpPr>
        <p:grpSpPr>
          <a:xfrm>
            <a:off x="2433854" y="3732954"/>
            <a:ext cx="559062" cy="439813"/>
            <a:chOff x="376836" y="3754755"/>
            <a:chExt cx="452615" cy="356071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2F8CEEE5-1905-4A61-A20A-6C763F65FB3D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2EBFEC0C-0FCF-43F1-8DA4-76142079FE6B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34" name="직선 연결선 133">
            <a:extLst>
              <a:ext uri="{FF2B5EF4-FFF2-40B4-BE49-F238E27FC236}">
                <a16:creationId xmlns:a16="http://schemas.microsoft.com/office/drawing/2014/main" id="{668B1E49-8B5F-4158-88D2-20FF0F3C5F16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CDC71D78-361C-47F6-B848-45BF1AD46C61}"/>
              </a:ext>
            </a:extLst>
          </p:cNvPr>
          <p:cNvSpPr/>
          <p:nvPr/>
        </p:nvSpPr>
        <p:spPr>
          <a:xfrm>
            <a:off x="2868213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9F1EC3DD-1A94-4764-96C4-4A2343D3A839}"/>
              </a:ext>
            </a:extLst>
          </p:cNvPr>
          <p:cNvGraphicFramePr>
            <a:graphicFrameLocks noGrp="1"/>
          </p:cNvGraphicFramePr>
          <p:nvPr/>
        </p:nvGraphicFramePr>
        <p:xfrm>
          <a:off x="2590184" y="4238509"/>
          <a:ext cx="6244782" cy="20304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8600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3533886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96851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  <a:gridCol w="798594">
                  <a:extLst>
                    <a:ext uri="{9D8B030D-6E8A-4147-A177-3AD203B41FA5}">
                      <a16:colId xmlns:a16="http://schemas.microsoft.com/office/drawing/2014/main" val="1811650588"/>
                    </a:ext>
                  </a:extLst>
                </a:gridCol>
              </a:tblGrid>
              <a:tr h="351976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Apparel, Accessories &amp; Footwear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2.10.3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55345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1.02.0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571543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GRI 2: General Disclosures 2021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1.03.3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.09.0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</a:tbl>
          </a:graphicData>
        </a:graphic>
      </p:graphicFrame>
      <p:graphicFrame>
        <p:nvGraphicFramePr>
          <p:cNvPr id="136" name="표 10">
            <a:extLst>
              <a:ext uri="{FF2B5EF4-FFF2-40B4-BE49-F238E27FC236}">
                <a16:creationId xmlns:a16="http://schemas.microsoft.com/office/drawing/2014/main" id="{EBA7196C-B043-4191-BE29-53693106C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021411"/>
              </p:ext>
            </p:extLst>
          </p:nvPr>
        </p:nvGraphicFramePr>
        <p:xfrm>
          <a:off x="9275970" y="750180"/>
          <a:ext cx="2922885" cy="5084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기능은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5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 동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</a:tbl>
          </a:graphicData>
        </a:graphic>
      </p:graphicFrame>
      <p:pic>
        <p:nvPicPr>
          <p:cNvPr id="32" name="그림 31">
            <a:extLst>
              <a:ext uri="{FF2B5EF4-FFF2-40B4-BE49-F238E27FC236}">
                <a16:creationId xmlns:a16="http://schemas.microsoft.com/office/drawing/2014/main" id="{193C85BC-A7DB-4DDA-B63A-9F0C7EC82B5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3002"/>
          <a:stretch/>
        </p:blipFill>
        <p:spPr>
          <a:xfrm>
            <a:off x="512159" y="3738238"/>
            <a:ext cx="1990392" cy="2682220"/>
          </a:xfrm>
          <a:prstGeom prst="rect">
            <a:avLst/>
          </a:prstGeom>
        </p:spPr>
      </p:pic>
      <p:sp>
        <p:nvSpPr>
          <p:cNvPr id="33" name="직사각형 32">
            <a:extLst>
              <a:ext uri="{FF2B5EF4-FFF2-40B4-BE49-F238E27FC236}">
                <a16:creationId xmlns:a16="http://schemas.microsoft.com/office/drawing/2014/main" id="{92BC23CB-5CA7-4E78-AB3A-5A7E2E5017FA}"/>
              </a:ext>
            </a:extLst>
          </p:cNvPr>
          <p:cNvSpPr/>
          <p:nvPr/>
        </p:nvSpPr>
        <p:spPr>
          <a:xfrm>
            <a:off x="491067" y="3758290"/>
            <a:ext cx="2008915" cy="268222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052E812E-F5DF-4541-AFA7-6307E760F7E8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06168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0" name="표 4">
            <a:extLst>
              <a:ext uri="{FF2B5EF4-FFF2-40B4-BE49-F238E27FC236}">
                <a16:creationId xmlns:a16="http://schemas.microsoft.com/office/drawing/2014/main" id="{2A4816D2-AA45-48ED-9E77-1C0B2F94DD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1581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29" name="직사각형 28">
            <a:extLst>
              <a:ext uri="{FF2B5EF4-FFF2-40B4-BE49-F238E27FC236}">
                <a16:creationId xmlns:a16="http://schemas.microsoft.com/office/drawing/2014/main" id="{B2A6018D-E0E0-4FEA-8606-848A867382D4}"/>
              </a:ext>
            </a:extLst>
          </p:cNvPr>
          <p:cNvSpPr/>
          <p:nvPr/>
        </p:nvSpPr>
        <p:spPr>
          <a:xfrm>
            <a:off x="5986286" y="389941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EEB09747-581A-44DC-9C55-9910D37F6CB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1ECC9B68-EF5A-446E-B760-6D21199E7FDF}"/>
              </a:ext>
            </a:extLst>
          </p:cNvPr>
          <p:cNvSpPr/>
          <p:nvPr/>
        </p:nvSpPr>
        <p:spPr>
          <a:xfrm>
            <a:off x="2499982" y="3734344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9B44755E-8786-45D7-A692-97D7C14EEA9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951829723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그룹 89">
            <a:extLst>
              <a:ext uri="{FF2B5EF4-FFF2-40B4-BE49-F238E27FC236}">
                <a16:creationId xmlns:a16="http://schemas.microsoft.com/office/drawing/2014/main" id="{BC96E253-C449-4B63-98E9-362DCA1C2D7F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1" name="그림 90">
              <a:extLst>
                <a:ext uri="{FF2B5EF4-FFF2-40B4-BE49-F238E27FC236}">
                  <a16:creationId xmlns:a16="http://schemas.microsoft.com/office/drawing/2014/main" id="{395AD0F3-00FF-4950-98E3-3AF6799B73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8B8601F9-AAEF-48E9-B607-39038F455465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1" name="그림 100">
              <a:extLst>
                <a:ext uri="{FF2B5EF4-FFF2-40B4-BE49-F238E27FC236}">
                  <a16:creationId xmlns:a16="http://schemas.microsoft.com/office/drawing/2014/main" id="{A0340259-EAEB-4839-92DF-7D72DC09FD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6569DC0-B6B7-4D00-8718-3909BA8028D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069285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41695" y="1265246"/>
            <a:ext cx="8638611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자료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7878" y="2629765"/>
            <a:ext cx="8642428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1695" y="606168"/>
            <a:ext cx="8638611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528048" y="2745101"/>
          <a:ext cx="2348427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427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484" y="2774426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표 8">
            <a:extLst>
              <a:ext uri="{FF2B5EF4-FFF2-40B4-BE49-F238E27FC236}">
                <a16:creationId xmlns:a16="http://schemas.microsoft.com/office/drawing/2014/main" id="{CD65413C-CDC9-46FD-85BF-252AC9524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333942"/>
              </p:ext>
            </p:extLst>
          </p:nvPr>
        </p:nvGraphicFramePr>
        <p:xfrm>
          <a:off x="352742" y="3240365"/>
          <a:ext cx="8627568" cy="332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6892">
                  <a:extLst>
                    <a:ext uri="{9D8B030D-6E8A-4147-A177-3AD203B41FA5}">
                      <a16:colId xmlns:a16="http://schemas.microsoft.com/office/drawing/2014/main" val="1119894926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953673514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3292188611"/>
                    </a:ext>
                  </a:extLst>
                </a:gridCol>
                <a:gridCol w="2156892">
                  <a:extLst>
                    <a:ext uri="{9D8B030D-6E8A-4147-A177-3AD203B41FA5}">
                      <a16:colId xmlns:a16="http://schemas.microsoft.com/office/drawing/2014/main" val="4259468574"/>
                    </a:ext>
                  </a:extLst>
                </a:gridCol>
              </a:tblGrid>
              <a:tr h="332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34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35901"/>
                  </a:ext>
                </a:extLst>
              </a:tr>
            </a:tbl>
          </a:graphicData>
        </a:graphic>
      </p:graphicFrame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3BD15C92-31E9-41B0-B26B-9B07420EA8B9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852B92C5-7AB2-4EED-A8B4-33511CD9C346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3" name="그룹 192">
            <a:extLst>
              <a:ext uri="{FF2B5EF4-FFF2-40B4-BE49-F238E27FC236}">
                <a16:creationId xmlns:a16="http://schemas.microsoft.com/office/drawing/2014/main" id="{57B2F71C-91D3-416B-96A0-A22F39C3F33E}"/>
              </a:ext>
            </a:extLst>
          </p:cNvPr>
          <p:cNvGrpSpPr/>
          <p:nvPr/>
        </p:nvGrpSpPr>
        <p:grpSpPr>
          <a:xfrm>
            <a:off x="2423592" y="3732954"/>
            <a:ext cx="559062" cy="439813"/>
            <a:chOff x="376836" y="3754755"/>
            <a:chExt cx="452615" cy="356071"/>
          </a:xfrm>
        </p:grpSpPr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D4762477-07A5-4F80-9EBD-65669CB6DAFB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1A85A4B9-DBBD-4EDA-BECC-A10CF4E026CC}"/>
                </a:ext>
              </a:extLst>
            </p:cNvPr>
            <p:cNvSpPr/>
            <p:nvPr/>
          </p:nvSpPr>
          <p:spPr>
            <a:xfrm>
              <a:off x="376836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열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197" name="직선 연결선 196">
            <a:extLst>
              <a:ext uri="{FF2B5EF4-FFF2-40B4-BE49-F238E27FC236}">
                <a16:creationId xmlns:a16="http://schemas.microsoft.com/office/drawing/2014/main" id="{BA83D72F-C8B1-48F2-BBFF-9E0549FA6D79}"/>
              </a:ext>
            </a:extLst>
          </p:cNvPr>
          <p:cNvCxnSpPr>
            <a:cxnSpLocks/>
          </p:cNvCxnSpPr>
          <p:nvPr/>
        </p:nvCxnSpPr>
        <p:spPr>
          <a:xfrm>
            <a:off x="2502551" y="4146140"/>
            <a:ext cx="633241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93133EF9-FAA6-4912-B217-BC4F57931FC2}"/>
              </a:ext>
            </a:extLst>
          </p:cNvPr>
          <p:cNvSpPr/>
          <p:nvPr/>
        </p:nvSpPr>
        <p:spPr>
          <a:xfrm>
            <a:off x="2857951" y="3894660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E30AD849-6EA3-42C4-A1AE-4CF49FAE1A20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된 가이드라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도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학술 및 논문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 컨텐츠를 자유롭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열람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310DF430-BC50-4965-BC08-7CC3B91B2960}"/>
              </a:ext>
            </a:extLst>
          </p:cNvPr>
          <p:cNvSpPr/>
          <p:nvPr/>
        </p:nvSpPr>
        <p:spPr>
          <a:xfrm>
            <a:off x="728997" y="5646738"/>
            <a:ext cx="2591159" cy="4911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709A42F9-154F-4EDB-B930-876E884DA820}"/>
              </a:ext>
            </a:extLst>
          </p:cNvPr>
          <p:cNvGrpSpPr/>
          <p:nvPr/>
        </p:nvGrpSpPr>
        <p:grpSpPr>
          <a:xfrm>
            <a:off x="2549429" y="5530404"/>
            <a:ext cx="2087743" cy="550229"/>
            <a:chOff x="766908" y="5324533"/>
            <a:chExt cx="2087743" cy="550229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2DBC29E1-D483-4EA3-BB65-AAC052DA9A26}"/>
                </a:ext>
              </a:extLst>
            </p:cNvPr>
            <p:cNvSpPr/>
            <p:nvPr/>
          </p:nvSpPr>
          <p:spPr>
            <a:xfrm>
              <a:off x="766908" y="5324533"/>
              <a:ext cx="2019650" cy="21230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C91B1CF7-B42B-4799-AC2A-99BB9A87A22B}"/>
                </a:ext>
              </a:extLst>
            </p:cNvPr>
            <p:cNvSpPr/>
            <p:nvPr/>
          </p:nvSpPr>
          <p:spPr>
            <a:xfrm>
              <a:off x="766908" y="5662453"/>
              <a:ext cx="2087743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  |   </a:t>
              </a: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대한상공회의소</a:t>
              </a:r>
              <a:endPara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2C193A4A-B8FA-487E-84F4-0C110196C73D}"/>
              </a:ext>
            </a:extLst>
          </p:cNvPr>
          <p:cNvGrpSpPr/>
          <p:nvPr/>
        </p:nvGrpSpPr>
        <p:grpSpPr>
          <a:xfrm>
            <a:off x="4666888" y="5510330"/>
            <a:ext cx="2019650" cy="562421"/>
            <a:chOff x="766908" y="5312341"/>
            <a:chExt cx="2019650" cy="562421"/>
          </a:xfrm>
        </p:grpSpPr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EA9FED4-5D42-4599-A894-DFA4E8FADCF7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9BFC8B03-4E13-44DB-BE94-854848750185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   |   </a:t>
              </a: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환경부</a:t>
              </a: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</a:t>
              </a:r>
            </a:p>
          </p:txBody>
        </p:sp>
      </p:grpSp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C1D910D7-2EBB-4A76-B826-9C1A860F0F38}"/>
              </a:ext>
            </a:extLst>
          </p:cNvPr>
          <p:cNvGrpSpPr/>
          <p:nvPr/>
        </p:nvGrpSpPr>
        <p:grpSpPr>
          <a:xfrm>
            <a:off x="6822523" y="5542596"/>
            <a:ext cx="2019650" cy="538037"/>
            <a:chOff x="766908" y="5336725"/>
            <a:chExt cx="2019650" cy="538037"/>
          </a:xfrm>
        </p:grpSpPr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C99DBA85-571C-43C1-A9A7-A76449BC2B6C}"/>
                </a:ext>
              </a:extLst>
            </p:cNvPr>
            <p:cNvSpPr/>
            <p:nvPr/>
          </p:nvSpPr>
          <p:spPr>
            <a:xfrm>
              <a:off x="766908" y="5336725"/>
              <a:ext cx="2019650" cy="3259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거버넌스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(Governance)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어떻게 시작하나요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?</a:t>
              </a:r>
            </a:p>
          </p:txBody>
        </p:sp>
        <p:sp>
          <p:nvSpPr>
            <p:cNvPr id="135" name="직사각형 134">
              <a:extLst>
                <a:ext uri="{FF2B5EF4-FFF2-40B4-BE49-F238E27FC236}">
                  <a16:creationId xmlns:a16="http://schemas.microsoft.com/office/drawing/2014/main" id="{15D3B18A-E3DD-4D13-BC81-C353A6CB03C8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    |    </a:t>
              </a: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서울대학교</a:t>
              </a:r>
              <a:endPara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pic>
        <p:nvPicPr>
          <p:cNvPr id="142" name="그림 141">
            <a:extLst>
              <a:ext uri="{FF2B5EF4-FFF2-40B4-BE49-F238E27FC236}">
                <a16:creationId xmlns:a16="http://schemas.microsoft.com/office/drawing/2014/main" id="{2FE354EC-DA9B-4E3A-86F4-1A961323C2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9307" y="4246290"/>
            <a:ext cx="1933267" cy="1203974"/>
          </a:xfrm>
          <a:prstGeom prst="roundRect">
            <a:avLst>
              <a:gd name="adj" fmla="val 5498"/>
            </a:avLst>
          </a:prstGeom>
        </p:spPr>
      </p:pic>
      <p:grpSp>
        <p:nvGrpSpPr>
          <p:cNvPr id="143" name="그룹 142">
            <a:extLst>
              <a:ext uri="{FF2B5EF4-FFF2-40B4-BE49-F238E27FC236}">
                <a16:creationId xmlns:a16="http://schemas.microsoft.com/office/drawing/2014/main" id="{4539C548-3F57-4204-A821-8D9289C0D55F}"/>
              </a:ext>
            </a:extLst>
          </p:cNvPr>
          <p:cNvGrpSpPr/>
          <p:nvPr/>
        </p:nvGrpSpPr>
        <p:grpSpPr>
          <a:xfrm>
            <a:off x="4749572" y="4242296"/>
            <a:ext cx="1944000" cy="1189703"/>
            <a:chOff x="3925318" y="3675504"/>
            <a:chExt cx="1124954" cy="765997"/>
          </a:xfrm>
        </p:grpSpPr>
        <p:sp>
          <p:nvSpPr>
            <p:cNvPr id="144" name="사각형: 둥근 모서리 143">
              <a:extLst>
                <a:ext uri="{FF2B5EF4-FFF2-40B4-BE49-F238E27FC236}">
                  <a16:creationId xmlns:a16="http://schemas.microsoft.com/office/drawing/2014/main" id="{7D7F0EF4-1586-418A-913D-D106DAC3DC7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45" name="직선 연결선 144">
              <a:extLst>
                <a:ext uri="{FF2B5EF4-FFF2-40B4-BE49-F238E27FC236}">
                  <a16:creationId xmlns:a16="http://schemas.microsoft.com/office/drawing/2014/main" id="{A0503DB0-91A1-4B16-B063-8962007121E7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직선 연결선 145">
              <a:extLst>
                <a:ext uri="{FF2B5EF4-FFF2-40B4-BE49-F238E27FC236}">
                  <a16:creationId xmlns:a16="http://schemas.microsoft.com/office/drawing/2014/main" id="{810768C5-D5BC-4219-B98A-2BDCEC83C4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28CD7B66-E2C5-4B4C-BADA-6FBCFF895C1C}"/>
              </a:ext>
            </a:extLst>
          </p:cNvPr>
          <p:cNvGrpSpPr/>
          <p:nvPr/>
        </p:nvGrpSpPr>
        <p:grpSpPr>
          <a:xfrm>
            <a:off x="6904038" y="4242296"/>
            <a:ext cx="1944000" cy="1189703"/>
            <a:chOff x="3925318" y="3675504"/>
            <a:chExt cx="1124954" cy="765997"/>
          </a:xfrm>
        </p:grpSpPr>
        <p:sp>
          <p:nvSpPr>
            <p:cNvPr id="148" name="사각형: 둥근 모서리 147">
              <a:extLst>
                <a:ext uri="{FF2B5EF4-FFF2-40B4-BE49-F238E27FC236}">
                  <a16:creationId xmlns:a16="http://schemas.microsoft.com/office/drawing/2014/main" id="{527A10F0-3951-4A3B-A155-0BBCED24BB14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49" name="직선 연결선 148">
              <a:extLst>
                <a:ext uri="{FF2B5EF4-FFF2-40B4-BE49-F238E27FC236}">
                  <a16:creationId xmlns:a16="http://schemas.microsoft.com/office/drawing/2014/main" id="{DA2219BE-5B7F-4CE1-A736-17BC4E56C1AB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직선 연결선 149">
              <a:extLst>
                <a:ext uri="{FF2B5EF4-FFF2-40B4-BE49-F238E27FC236}">
                  <a16:creationId xmlns:a16="http://schemas.microsoft.com/office/drawing/2014/main" id="{AAE5DADA-C0D1-4717-B04D-7990FBDCF87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D49C5CCA-2C8E-46EB-8CE2-4D3CD9379F80}"/>
              </a:ext>
            </a:extLst>
          </p:cNvPr>
          <p:cNvSpPr/>
          <p:nvPr/>
        </p:nvSpPr>
        <p:spPr>
          <a:xfrm>
            <a:off x="4013297" y="5215451"/>
            <a:ext cx="446139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09:33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52" name="표 10">
            <a:extLst>
              <a:ext uri="{FF2B5EF4-FFF2-40B4-BE49-F238E27FC236}">
                <a16:creationId xmlns:a16="http://schemas.microsoft.com/office/drawing/2014/main" id="{F26C34AA-A53C-4B4D-8463-E2BD89137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824296"/>
              </p:ext>
            </p:extLst>
          </p:nvPr>
        </p:nvGraphicFramePr>
        <p:xfrm>
          <a:off x="9275970" y="750180"/>
          <a:ext cx="2922885" cy="9004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기능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내 미디어영상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L002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과 동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출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91E89E85-2A51-458B-9D85-8D9385CF6B9E}"/>
              </a:ext>
            </a:extLst>
          </p:cNvPr>
          <p:cNvSpPr/>
          <p:nvPr/>
        </p:nvSpPr>
        <p:spPr>
          <a:xfrm>
            <a:off x="5778321" y="5206405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56" name="직사각형 155">
            <a:extLst>
              <a:ext uri="{FF2B5EF4-FFF2-40B4-BE49-F238E27FC236}">
                <a16:creationId xmlns:a16="http://schemas.microsoft.com/office/drawing/2014/main" id="{7DBC1E61-BD7F-4748-A9DC-137FE7F87CF8}"/>
              </a:ext>
            </a:extLst>
          </p:cNvPr>
          <p:cNvSpPr/>
          <p:nvPr/>
        </p:nvSpPr>
        <p:spPr>
          <a:xfrm>
            <a:off x="7921211" y="5213637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47EBABB2-7A9F-4098-9B8D-BE809D4AF84C}"/>
              </a:ext>
            </a:extLst>
          </p:cNvPr>
          <p:cNvSpPr/>
          <p:nvPr/>
        </p:nvSpPr>
        <p:spPr>
          <a:xfrm>
            <a:off x="3362786" y="58143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55AB73A5-E74C-48C0-8A3A-6A6053FD0895}"/>
              </a:ext>
            </a:extLst>
          </p:cNvPr>
          <p:cNvGrpSpPr/>
          <p:nvPr/>
        </p:nvGrpSpPr>
        <p:grpSpPr>
          <a:xfrm>
            <a:off x="2609307" y="6192387"/>
            <a:ext cx="1795182" cy="389623"/>
            <a:chOff x="2640783" y="6163907"/>
            <a:chExt cx="1795182" cy="389623"/>
          </a:xfrm>
        </p:grpSpPr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F68594DD-D6F1-453A-B935-267276D3BBC3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F0C32302-21A3-4E39-BFCC-1793763FE4E4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DFF84893-2531-4770-AD74-B899FE793CEC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B79E5A15-20A3-4C97-A710-D13B29A9598B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CB1E9066-41A9-4153-A167-553A427320AC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02EC1BEC-D2B3-4D70-8251-66E32D793552}"/>
              </a:ext>
            </a:extLst>
          </p:cNvPr>
          <p:cNvGrpSpPr/>
          <p:nvPr/>
        </p:nvGrpSpPr>
        <p:grpSpPr>
          <a:xfrm>
            <a:off x="4705237" y="6191438"/>
            <a:ext cx="1795182" cy="389623"/>
            <a:chOff x="2640783" y="6163907"/>
            <a:chExt cx="1795182" cy="389623"/>
          </a:xfrm>
        </p:grpSpPr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D523CD3B-4AB7-40C5-9DBB-3099DEF78194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B4079FC2-F617-4998-8698-D252A7AD9465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8" name="직사각형 157">
                <a:extLst>
                  <a:ext uri="{FF2B5EF4-FFF2-40B4-BE49-F238E27FC236}">
                    <a16:creationId xmlns:a16="http://schemas.microsoft.com/office/drawing/2014/main" id="{5D2F16DA-EC68-41CC-B8B7-8975A7BFB8C6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9" name="직사각형 158">
                <a:extLst>
                  <a:ext uri="{FF2B5EF4-FFF2-40B4-BE49-F238E27FC236}">
                    <a16:creationId xmlns:a16="http://schemas.microsoft.com/office/drawing/2014/main" id="{ECFDBBAC-7319-4C1D-BF3D-89BCD8763FBE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BED01507-7736-4562-B484-415A5802BFB1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CE4507E6-3A1D-4921-A003-EBDCB6BF448D}"/>
              </a:ext>
            </a:extLst>
          </p:cNvPr>
          <p:cNvGrpSpPr/>
          <p:nvPr/>
        </p:nvGrpSpPr>
        <p:grpSpPr>
          <a:xfrm>
            <a:off x="6832694" y="6183929"/>
            <a:ext cx="1795182" cy="389623"/>
            <a:chOff x="2640783" y="6163907"/>
            <a:chExt cx="1795182" cy="389623"/>
          </a:xfrm>
        </p:grpSpPr>
        <p:grpSp>
          <p:nvGrpSpPr>
            <p:cNvPr id="163" name="그룹 162">
              <a:extLst>
                <a:ext uri="{FF2B5EF4-FFF2-40B4-BE49-F238E27FC236}">
                  <a16:creationId xmlns:a16="http://schemas.microsoft.com/office/drawing/2014/main" id="{9D67D907-FDDB-4AD9-8FA2-B70FC19F213E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EBF9E7B7-8544-4B27-982F-B8BEA326BD0E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30D212FE-1A80-4815-8C98-806D061AFB0F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C61B5488-8D5A-4424-94BC-DE5D3B48D5D4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4" name="직사각형 163">
              <a:extLst>
                <a:ext uri="{FF2B5EF4-FFF2-40B4-BE49-F238E27FC236}">
                  <a16:creationId xmlns:a16="http://schemas.microsoft.com/office/drawing/2014/main" id="{A2C99656-F393-42BD-BA02-F50A0F5C1872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pic>
        <p:nvPicPr>
          <p:cNvPr id="73" name="그림 72">
            <a:extLst>
              <a:ext uri="{FF2B5EF4-FFF2-40B4-BE49-F238E27FC236}">
                <a16:creationId xmlns:a16="http://schemas.microsoft.com/office/drawing/2014/main" id="{1210680A-1B8D-4FC9-A147-F39F033764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6594"/>
          <a:stretch/>
        </p:blipFill>
        <p:spPr>
          <a:xfrm>
            <a:off x="512159" y="3738238"/>
            <a:ext cx="1990392" cy="2938742"/>
          </a:xfrm>
          <a:prstGeom prst="rect">
            <a:avLst/>
          </a:prstGeom>
        </p:spPr>
      </p:pic>
      <p:sp>
        <p:nvSpPr>
          <p:cNvPr id="75" name="직사각형 74">
            <a:extLst>
              <a:ext uri="{FF2B5EF4-FFF2-40B4-BE49-F238E27FC236}">
                <a16:creationId xmlns:a16="http://schemas.microsoft.com/office/drawing/2014/main" id="{6FCEDF85-93EE-4434-AE26-C62908A7D280}"/>
              </a:ext>
            </a:extLst>
          </p:cNvPr>
          <p:cNvSpPr/>
          <p:nvPr/>
        </p:nvSpPr>
        <p:spPr>
          <a:xfrm>
            <a:off x="491067" y="3758290"/>
            <a:ext cx="2008915" cy="291868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EBEF0E4B-8B8C-46A3-A50C-CF0CC767C694}"/>
              </a:ext>
            </a:extLst>
          </p:cNvPr>
          <p:cNvSpPr/>
          <p:nvPr/>
        </p:nvSpPr>
        <p:spPr bwMode="auto">
          <a:xfrm>
            <a:off x="341695" y="642045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2" name="그룹 71">
            <a:extLst>
              <a:ext uri="{FF2B5EF4-FFF2-40B4-BE49-F238E27FC236}">
                <a16:creationId xmlns:a16="http://schemas.microsoft.com/office/drawing/2014/main" id="{4A7CB99A-F2FE-4045-9878-0D7520F498C2}"/>
              </a:ext>
            </a:extLst>
          </p:cNvPr>
          <p:cNvGrpSpPr/>
          <p:nvPr/>
        </p:nvGrpSpPr>
        <p:grpSpPr>
          <a:xfrm>
            <a:off x="3407652" y="4702746"/>
            <a:ext cx="317115" cy="317115"/>
            <a:chOff x="1519093" y="5661249"/>
            <a:chExt cx="504056" cy="504056"/>
          </a:xfrm>
        </p:grpSpPr>
        <p:sp>
          <p:nvSpPr>
            <p:cNvPr id="76" name="타원 75">
              <a:extLst>
                <a:ext uri="{FF2B5EF4-FFF2-40B4-BE49-F238E27FC236}">
                  <a16:creationId xmlns:a16="http://schemas.microsoft.com/office/drawing/2014/main" id="{0D053F05-D0C0-4BD9-ABBC-82F780018DB0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8" name="이등변 삼각형 77">
              <a:extLst>
                <a:ext uri="{FF2B5EF4-FFF2-40B4-BE49-F238E27FC236}">
                  <a16:creationId xmlns:a16="http://schemas.microsoft.com/office/drawing/2014/main" id="{9DF563A8-8D53-4182-8C8F-63702512E257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F118C9F3-5DB5-4E1A-9444-D063C8093F21}"/>
              </a:ext>
            </a:extLst>
          </p:cNvPr>
          <p:cNvGrpSpPr/>
          <p:nvPr/>
        </p:nvGrpSpPr>
        <p:grpSpPr>
          <a:xfrm>
            <a:off x="5553399" y="4691646"/>
            <a:ext cx="317115" cy="317115"/>
            <a:chOff x="1519093" y="5661249"/>
            <a:chExt cx="504056" cy="504056"/>
          </a:xfrm>
        </p:grpSpPr>
        <p:sp>
          <p:nvSpPr>
            <p:cNvPr id="81" name="타원 80">
              <a:extLst>
                <a:ext uri="{FF2B5EF4-FFF2-40B4-BE49-F238E27FC236}">
                  <a16:creationId xmlns:a16="http://schemas.microsoft.com/office/drawing/2014/main" id="{3D2DC10F-6AB1-4E91-AB6F-28670A9641D3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이등변 삼각형 83">
              <a:extLst>
                <a:ext uri="{FF2B5EF4-FFF2-40B4-BE49-F238E27FC236}">
                  <a16:creationId xmlns:a16="http://schemas.microsoft.com/office/drawing/2014/main" id="{7D0FE7A8-29B5-48FE-98C1-22F3A921D3EC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085DBC37-16AF-4F14-B277-64087A1FACE6}"/>
              </a:ext>
            </a:extLst>
          </p:cNvPr>
          <p:cNvGrpSpPr/>
          <p:nvPr/>
        </p:nvGrpSpPr>
        <p:grpSpPr>
          <a:xfrm>
            <a:off x="7762653" y="4682088"/>
            <a:ext cx="317115" cy="317115"/>
            <a:chOff x="1519093" y="5661249"/>
            <a:chExt cx="504056" cy="504056"/>
          </a:xfrm>
        </p:grpSpPr>
        <p:sp>
          <p:nvSpPr>
            <p:cNvPr id="86" name="타원 85">
              <a:extLst>
                <a:ext uri="{FF2B5EF4-FFF2-40B4-BE49-F238E27FC236}">
                  <a16:creationId xmlns:a16="http://schemas.microsoft.com/office/drawing/2014/main" id="{858BBF81-5319-4BCA-BB35-AD9433C815F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7" name="이등변 삼각형 86">
              <a:extLst>
                <a:ext uri="{FF2B5EF4-FFF2-40B4-BE49-F238E27FC236}">
                  <a16:creationId xmlns:a16="http://schemas.microsoft.com/office/drawing/2014/main" id="{E73509E3-288B-4B3E-A982-16C0512D79FB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aphicFrame>
        <p:nvGraphicFramePr>
          <p:cNvPr id="89" name="표 4">
            <a:extLst>
              <a:ext uri="{FF2B5EF4-FFF2-40B4-BE49-F238E27FC236}">
                <a16:creationId xmlns:a16="http://schemas.microsoft.com/office/drawing/2014/main" id="{BB8CB602-C7A5-4CBB-AEA1-21C83088ED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15811"/>
              </p:ext>
            </p:extLst>
          </p:nvPr>
        </p:nvGraphicFramePr>
        <p:xfrm>
          <a:off x="4733769" y="2739571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12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64388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88" name="직사각형 87">
            <a:extLst>
              <a:ext uri="{FF2B5EF4-FFF2-40B4-BE49-F238E27FC236}">
                <a16:creationId xmlns:a16="http://schemas.microsoft.com/office/drawing/2014/main" id="{DEDF3446-D041-4505-8AED-C4ADDCACDB3F}"/>
              </a:ext>
            </a:extLst>
          </p:cNvPr>
          <p:cNvSpPr/>
          <p:nvPr/>
        </p:nvSpPr>
        <p:spPr>
          <a:xfrm>
            <a:off x="5986286" y="389941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DD2C4C85-EE41-4C54-8865-09D378B53FA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275C7EA7-F2B2-4566-8686-D487D80DFB9A}"/>
              </a:ext>
            </a:extLst>
          </p:cNvPr>
          <p:cNvSpPr/>
          <p:nvPr/>
        </p:nvSpPr>
        <p:spPr>
          <a:xfrm>
            <a:off x="2509000" y="373310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4F767B69-2863-446C-B67E-9DA9135C3BF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961857220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뉴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6F785CFA-8F18-4143-ACF0-4A2E6706B0DA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련 최신동향 정보를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1066C5A0-CB5D-4394-BD56-2643247AC87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07540AE-5B67-4D9A-84E0-8AC78722220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92723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6" name="표 95">
            <a:extLst>
              <a:ext uri="{FF2B5EF4-FFF2-40B4-BE49-F238E27FC236}">
                <a16:creationId xmlns:a16="http://schemas.microsoft.com/office/drawing/2014/main" id="{3FC432C5-3A53-40F2-A7D0-520737927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31680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뉴스를 보여주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뉴스 목록을 조회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DFB26B19-72DD-4247-A5E2-A7E29CF7D85C}"/>
              </a:ext>
            </a:extLst>
          </p:cNvPr>
          <p:cNvSpPr/>
          <p:nvPr/>
        </p:nvSpPr>
        <p:spPr>
          <a:xfrm>
            <a:off x="420936" y="2420888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뉴스 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E4A72F27-2B76-458B-A878-5B5D4AAA21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286" y="3013627"/>
            <a:ext cx="3240006" cy="181743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8" name="직사각형 67">
            <a:extLst>
              <a:ext uri="{FF2B5EF4-FFF2-40B4-BE49-F238E27FC236}">
                <a16:creationId xmlns:a16="http://schemas.microsoft.com/office/drawing/2014/main" id="{059CE8B0-A386-4AB6-B8CB-7D771FBC0F55}"/>
              </a:ext>
            </a:extLst>
          </p:cNvPr>
          <p:cNvSpPr/>
          <p:nvPr/>
        </p:nvSpPr>
        <p:spPr>
          <a:xfrm>
            <a:off x="452334" y="4899226"/>
            <a:ext cx="3245908" cy="4911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테슬라 천하통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?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포드 이어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M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도 테슬라 전기차 충전기 사용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38BADD5B-8885-480D-B83F-93E777256D38}"/>
              </a:ext>
            </a:extLst>
          </p:cNvPr>
          <p:cNvSpPr/>
          <p:nvPr/>
        </p:nvSpPr>
        <p:spPr>
          <a:xfrm>
            <a:off x="5278592" y="2983667"/>
            <a:ext cx="3553712" cy="765995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6591B06E-72F8-4BCE-924A-5827F39DDB9A}"/>
              </a:ext>
            </a:extLst>
          </p:cNvPr>
          <p:cNvSpPr/>
          <p:nvPr/>
        </p:nvSpPr>
        <p:spPr>
          <a:xfrm>
            <a:off x="3909540" y="4901117"/>
            <a:ext cx="1124954" cy="765997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81" name="직선 연결선 80">
            <a:extLst>
              <a:ext uri="{FF2B5EF4-FFF2-40B4-BE49-F238E27FC236}">
                <a16:creationId xmlns:a16="http://schemas.microsoft.com/office/drawing/2014/main" id="{9F7FCB7A-CE5F-4E06-B7BC-37F58FDE5551}"/>
              </a:ext>
            </a:extLst>
          </p:cNvPr>
          <p:cNvCxnSpPr>
            <a:cxnSpLocks/>
          </p:cNvCxnSpPr>
          <p:nvPr/>
        </p:nvCxnSpPr>
        <p:spPr>
          <a:xfrm>
            <a:off x="3903012" y="4913555"/>
            <a:ext cx="1123077" cy="75696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B6C37E7E-E90E-4405-BF38-E82E6EC4ED73}"/>
              </a:ext>
            </a:extLst>
          </p:cNvPr>
          <p:cNvGrpSpPr/>
          <p:nvPr/>
        </p:nvGrpSpPr>
        <p:grpSpPr>
          <a:xfrm>
            <a:off x="3909258" y="3958354"/>
            <a:ext cx="1124954" cy="765997"/>
            <a:chOff x="3925318" y="3675504"/>
            <a:chExt cx="1124954" cy="765997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AA5DB3B8-A754-44C6-9343-6B45C3BB41AB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EAA42A10-9AF2-4892-8471-8665F46A07A8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직선 연결선 81">
              <a:extLst>
                <a:ext uri="{FF2B5EF4-FFF2-40B4-BE49-F238E27FC236}">
                  <a16:creationId xmlns:a16="http://schemas.microsoft.com/office/drawing/2014/main" id="{E77CDE71-75DF-4AC3-B93D-F50D530239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287EF053-0692-422C-8783-D1ECC37A8440}"/>
              </a:ext>
            </a:extLst>
          </p:cNvPr>
          <p:cNvCxnSpPr>
            <a:cxnSpLocks/>
          </p:cNvCxnSpPr>
          <p:nvPr/>
        </p:nvCxnSpPr>
        <p:spPr>
          <a:xfrm flipH="1">
            <a:off x="3917501" y="4909039"/>
            <a:ext cx="1123077" cy="75696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2D2F8AAC-C48F-4788-8000-F30C06825749}"/>
              </a:ext>
            </a:extLst>
          </p:cNvPr>
          <p:cNvSpPr/>
          <p:nvPr/>
        </p:nvSpPr>
        <p:spPr>
          <a:xfrm>
            <a:off x="5236153" y="3950463"/>
            <a:ext cx="3553712" cy="765995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384932A1-D984-4721-B7F9-B28C8B1CD209}"/>
              </a:ext>
            </a:extLst>
          </p:cNvPr>
          <p:cNvSpPr/>
          <p:nvPr/>
        </p:nvSpPr>
        <p:spPr>
          <a:xfrm>
            <a:off x="5236153" y="4901119"/>
            <a:ext cx="3553712" cy="765995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09217431-479B-4C91-A64B-936C7541F2BB}"/>
              </a:ext>
            </a:extLst>
          </p:cNvPr>
          <p:cNvSpPr/>
          <p:nvPr/>
        </p:nvSpPr>
        <p:spPr>
          <a:xfrm>
            <a:off x="400650" y="2639212"/>
            <a:ext cx="7233839" cy="22091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전체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환경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사회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거버넌스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금융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공시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A3B87AFF-2F0C-4B1F-AF9C-DEADEC53E0CD}"/>
              </a:ext>
            </a:extLst>
          </p:cNvPr>
          <p:cNvGrpSpPr/>
          <p:nvPr/>
        </p:nvGrpSpPr>
        <p:grpSpPr>
          <a:xfrm>
            <a:off x="3911134" y="3027396"/>
            <a:ext cx="1124954" cy="765997"/>
            <a:chOff x="3925318" y="3675504"/>
            <a:chExt cx="1124954" cy="765997"/>
          </a:xfrm>
        </p:grpSpPr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D9F4DD2E-7272-4EE6-9676-975AF7D774DE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03" name="직선 연결선 102">
              <a:extLst>
                <a:ext uri="{FF2B5EF4-FFF2-40B4-BE49-F238E27FC236}">
                  <a16:creationId xmlns:a16="http://schemas.microsoft.com/office/drawing/2014/main" id="{58236E74-F6D5-487D-80AB-61CC92A4DF2A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07F9B6DC-6BC3-4AF3-A6B0-861855FB75F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E11DB983-5425-4CF8-BA22-547AB12D46A0}"/>
              </a:ext>
            </a:extLst>
          </p:cNvPr>
          <p:cNvSpPr/>
          <p:nvPr/>
        </p:nvSpPr>
        <p:spPr>
          <a:xfrm>
            <a:off x="254063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105C9AFC-E44F-4529-9100-4C95B1D6CCEB}"/>
              </a:ext>
            </a:extLst>
          </p:cNvPr>
          <p:cNvSpPr/>
          <p:nvPr/>
        </p:nvSpPr>
        <p:spPr>
          <a:xfrm>
            <a:off x="302764" y="185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8" name="표 10">
            <a:extLst>
              <a:ext uri="{FF2B5EF4-FFF2-40B4-BE49-F238E27FC236}">
                <a16:creationId xmlns:a16="http://schemas.microsoft.com/office/drawing/2014/main" id="{6F55D677-2C6B-4B9B-BB3A-AE4DFA2EF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323928"/>
              </p:ext>
            </p:extLst>
          </p:nvPr>
        </p:nvGraphicFramePr>
        <p:xfrm>
          <a:off x="9275970" y="750180"/>
          <a:ext cx="2922885" cy="30493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37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 대분류 기준 최신 뉴스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탭당 발간일자 기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탭당 조회일 기준 최신순으로 기사 컨텐츠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동 출력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대표 이미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886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제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57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출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픈 초기에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뉴스만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급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811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841531"/>
                  </a:ext>
                </a:extLst>
              </a:tr>
            </a:tbl>
          </a:graphicData>
        </a:graphic>
      </p:graphicFrame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id="{FC5662D6-1662-45C9-BD03-51EC4A199A8B}"/>
              </a:ext>
            </a:extLst>
          </p:cNvPr>
          <p:cNvCxnSpPr>
            <a:cxnSpLocks/>
          </p:cNvCxnSpPr>
          <p:nvPr/>
        </p:nvCxnSpPr>
        <p:spPr>
          <a:xfrm>
            <a:off x="352742" y="6181308"/>
            <a:ext cx="8642428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7B5A5E57-80D3-4FC1-B242-D0BC983493F7}"/>
              </a:ext>
            </a:extLst>
          </p:cNvPr>
          <p:cNvSpPr/>
          <p:nvPr/>
        </p:nvSpPr>
        <p:spPr>
          <a:xfrm>
            <a:off x="4219128" y="6016117"/>
            <a:ext cx="868759" cy="3050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뒤에 이어서</a:t>
            </a: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48D39FFB-2C22-413B-9C9A-3DF48EFF60AD}"/>
              </a:ext>
            </a:extLst>
          </p:cNvPr>
          <p:cNvSpPr/>
          <p:nvPr/>
        </p:nvSpPr>
        <p:spPr>
          <a:xfrm>
            <a:off x="382683" y="22989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EF1D889E-924C-4AA4-A63F-88D104C49FCC}"/>
              </a:ext>
            </a:extLst>
          </p:cNvPr>
          <p:cNvSpPr/>
          <p:nvPr/>
        </p:nvSpPr>
        <p:spPr>
          <a:xfrm>
            <a:off x="298311" y="26343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69360777-BF30-418F-81B7-AC03F2083508}"/>
              </a:ext>
            </a:extLst>
          </p:cNvPr>
          <p:cNvSpPr/>
          <p:nvPr/>
        </p:nvSpPr>
        <p:spPr>
          <a:xfrm>
            <a:off x="443273" y="29995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84213DCC-7CD5-4F00-89C9-CAC350655539}"/>
              </a:ext>
            </a:extLst>
          </p:cNvPr>
          <p:cNvSpPr/>
          <p:nvPr/>
        </p:nvSpPr>
        <p:spPr>
          <a:xfrm>
            <a:off x="403252" y="49135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B5D036BC-4388-40C9-BBED-11660C8619DE}"/>
              </a:ext>
            </a:extLst>
          </p:cNvPr>
          <p:cNvSpPr/>
          <p:nvPr/>
        </p:nvSpPr>
        <p:spPr>
          <a:xfrm>
            <a:off x="403252" y="53608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DD4E556B-531F-44ED-B57B-0D8054B1D19C}"/>
              </a:ext>
            </a:extLst>
          </p:cNvPr>
          <p:cNvSpPr/>
          <p:nvPr/>
        </p:nvSpPr>
        <p:spPr>
          <a:xfrm>
            <a:off x="1127448" y="53846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369E5A3E-CEAC-404D-83C4-66A2A02ABEC8}"/>
              </a:ext>
            </a:extLst>
          </p:cNvPr>
          <p:cNvSpPr/>
          <p:nvPr/>
        </p:nvSpPr>
        <p:spPr>
          <a:xfrm>
            <a:off x="3860079" y="29892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4B1E827F-0C21-4573-9124-C5F71F98C27A}"/>
              </a:ext>
            </a:extLst>
          </p:cNvPr>
          <p:cNvSpPr/>
          <p:nvPr/>
        </p:nvSpPr>
        <p:spPr>
          <a:xfrm>
            <a:off x="5205086" y="29904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C9EFB674-8104-4BA1-9636-50941D03DBD5}"/>
              </a:ext>
            </a:extLst>
          </p:cNvPr>
          <p:cNvSpPr/>
          <p:nvPr/>
        </p:nvSpPr>
        <p:spPr>
          <a:xfrm>
            <a:off x="5221405" y="34400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1C1C11A0-103E-4E9A-AC49-2EDF0E1CD018}"/>
              </a:ext>
            </a:extLst>
          </p:cNvPr>
          <p:cNvSpPr/>
          <p:nvPr/>
        </p:nvSpPr>
        <p:spPr>
          <a:xfrm>
            <a:off x="5945601" y="346380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DEAF3C8E-F2C5-4E41-91C0-BE194146F42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D14B1484-EDA7-499D-A626-BFFDD6E661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191D8479-9CD8-435C-BA10-3521ACE174A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EC611FDD-0896-4495-A9D6-9416B9CE6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94481E5C-F410-4B47-8479-BDF4C927676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77713F8F-CDCA-47A4-9769-4847456DD52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440466791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155679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&gt; 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뉴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8B0E773-FC45-4F95-9975-D39BD55A57D8}"/>
              </a:ext>
            </a:extLst>
          </p:cNvPr>
          <p:cNvSpPr/>
          <p:nvPr/>
        </p:nvSpPr>
        <p:spPr>
          <a:xfrm>
            <a:off x="331957" y="1627820"/>
            <a:ext cx="8648349" cy="4412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9" name="표 4">
            <a:extLst>
              <a:ext uri="{FF2B5EF4-FFF2-40B4-BE49-F238E27FC236}">
                <a16:creationId xmlns:a16="http://schemas.microsoft.com/office/drawing/2014/main" id="{EF39B182-191A-4048-A1EB-A6942E48AA30}"/>
              </a:ext>
            </a:extLst>
          </p:cNvPr>
          <p:cNvGraphicFramePr>
            <a:graphicFrameLocks noGrp="1"/>
          </p:cNvGraphicFramePr>
          <p:nvPr/>
        </p:nvGraphicFramePr>
        <p:xfrm>
          <a:off x="6862138" y="1727080"/>
          <a:ext cx="1986226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86226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검색어를 입력하세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pic>
        <p:nvPicPr>
          <p:cNvPr id="18434" name="Picture 2" descr="돋보기 ">
            <a:extLst>
              <a:ext uri="{FF2B5EF4-FFF2-40B4-BE49-F238E27FC236}">
                <a16:creationId xmlns:a16="http://schemas.microsoft.com/office/drawing/2014/main" id="{58B215E2-08E6-4E63-8CF7-7CD1396A0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373" y="1756405"/>
            <a:ext cx="177552" cy="17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그룹 37">
            <a:extLst>
              <a:ext uri="{FF2B5EF4-FFF2-40B4-BE49-F238E27FC236}">
                <a16:creationId xmlns:a16="http://schemas.microsoft.com/office/drawing/2014/main" id="{84DE668C-A4D3-420A-B900-82E4AB1B6394}"/>
              </a:ext>
            </a:extLst>
          </p:cNvPr>
          <p:cNvGrpSpPr/>
          <p:nvPr/>
        </p:nvGrpSpPr>
        <p:grpSpPr>
          <a:xfrm>
            <a:off x="2729941" y="4828970"/>
            <a:ext cx="1413454" cy="904149"/>
            <a:chOff x="3925318" y="3675504"/>
            <a:chExt cx="1124954" cy="765997"/>
          </a:xfrm>
        </p:grpSpPr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66013538-CA1E-4C4F-988A-CB23C977C4F9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5F8C647B-495D-437E-BB6C-31316F216F76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E18615D3-57FA-4938-AEF8-DCCDBD8908D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FCD48821-18C4-4452-A013-FE41AF123947}"/>
              </a:ext>
            </a:extLst>
          </p:cNvPr>
          <p:cNvGrpSpPr/>
          <p:nvPr/>
        </p:nvGrpSpPr>
        <p:grpSpPr>
          <a:xfrm>
            <a:off x="2711624" y="2681703"/>
            <a:ext cx="1417759" cy="904149"/>
            <a:chOff x="3925318" y="3675504"/>
            <a:chExt cx="1124954" cy="765997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292BADBC-425A-4C00-A034-449D401B2300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0B2ED0AE-1DFF-4C14-A6A8-D1D4C82944C8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>
              <a:extLst>
                <a:ext uri="{FF2B5EF4-FFF2-40B4-BE49-F238E27FC236}">
                  <a16:creationId xmlns:a16="http://schemas.microsoft.com/office/drawing/2014/main" id="{2E950670-CF13-4D77-8016-D0F1E14A8A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9174F1CD-8C64-4800-809D-E206B414984E}"/>
              </a:ext>
            </a:extLst>
          </p:cNvPr>
          <p:cNvGrpSpPr/>
          <p:nvPr/>
        </p:nvGrpSpPr>
        <p:grpSpPr>
          <a:xfrm>
            <a:off x="2711624" y="3749718"/>
            <a:ext cx="1415817" cy="904149"/>
            <a:chOff x="3925318" y="3675504"/>
            <a:chExt cx="1124954" cy="765997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95CD39EE-D157-445E-8346-CD4EDC9ACB2D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52" name="직선 연결선 51">
              <a:extLst>
                <a:ext uri="{FF2B5EF4-FFF2-40B4-BE49-F238E27FC236}">
                  <a16:creationId xmlns:a16="http://schemas.microsoft.com/office/drawing/2014/main" id="{D91453B2-22E0-4FE8-AFEC-B46AD1D39497}"/>
                </a:ext>
              </a:extLst>
            </p:cNvPr>
            <p:cNvCxnSpPr>
              <a:cxnSpLocks/>
            </p:cNvCxnSpPr>
            <p:nvPr/>
          </p:nvCxnSpPr>
          <p:spPr>
            <a:xfrm>
              <a:off x="3927194" y="3684535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2EE16B8A-00C2-4AA7-B28F-125EB3574C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318" y="3680019"/>
              <a:ext cx="1123077" cy="7569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B8325E5E-898C-44B2-B5F9-9D14AC112CB9}"/>
              </a:ext>
            </a:extLst>
          </p:cNvPr>
          <p:cNvSpPr/>
          <p:nvPr/>
        </p:nvSpPr>
        <p:spPr>
          <a:xfrm>
            <a:off x="4183238" y="2617808"/>
            <a:ext cx="4846578" cy="90565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제지속가능성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ISSB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에서 지속가능회계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SASB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을 국제적으로 적용하기 쉽게 개선하겠다고 지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현지시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발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  <a:p>
            <a:pPr>
              <a:lnSpc>
                <a:spcPct val="130000"/>
              </a:lnSpc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4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공시기준의 우선순위 정한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오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9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까지 의견을 수렴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향후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98DF2CAA-DEF2-4A67-9E0F-13A522E1033F}"/>
              </a:ext>
            </a:extLst>
          </p:cNvPr>
          <p:cNvSpPr/>
          <p:nvPr/>
        </p:nvSpPr>
        <p:spPr>
          <a:xfrm>
            <a:off x="4183238" y="3709322"/>
            <a:ext cx="4742808" cy="90565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제지속가능성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ISSB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에서 지속가능회계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SASB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을 국제적으로 적용하기 쉽게 개선하겠다고 지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현지시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발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4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공시기준의 우선순위 정한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오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9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까지 의견을 수렴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향후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94EE0B90-84B7-415C-BD61-D15C1C8A029A}"/>
              </a:ext>
            </a:extLst>
          </p:cNvPr>
          <p:cNvSpPr/>
          <p:nvPr/>
        </p:nvSpPr>
        <p:spPr>
          <a:xfrm>
            <a:off x="4183238" y="4799568"/>
            <a:ext cx="4568008" cy="90565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3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, SASB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 개선 나서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'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지역 상관없이 적용할 수 있어야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’</a:t>
            </a:r>
          </a:p>
          <a:p>
            <a:pPr>
              <a:lnSpc>
                <a:spcPct val="130000"/>
              </a:lnSpc>
            </a:pPr>
            <a:endParaRPr lang="ko-KR" altLang="en-US" sz="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제지속가능성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ISSB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에서 지속가능회계기준위원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SASB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표준을 국제적으로 적용하기 쉽게 개선하겠다고 지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현지시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발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관련기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: ISSB, S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4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공시기준의 우선순위 정한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ISSB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오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9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까지 의견을 수렴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향후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임팩트온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|     2023.06.10</a:t>
            </a: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65" name="표 21">
            <a:extLst>
              <a:ext uri="{FF2B5EF4-FFF2-40B4-BE49-F238E27FC236}">
                <a16:creationId xmlns:a16="http://schemas.microsoft.com/office/drawing/2014/main" id="{7C167972-752A-4BC6-8EC4-F12220C067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697792"/>
              </p:ext>
            </p:extLst>
          </p:nvPr>
        </p:nvGraphicFramePr>
        <p:xfrm>
          <a:off x="4274190" y="6001299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67" name="직사각형 66">
            <a:extLst>
              <a:ext uri="{FF2B5EF4-FFF2-40B4-BE49-F238E27FC236}">
                <a16:creationId xmlns:a16="http://schemas.microsoft.com/office/drawing/2014/main" id="{2695F644-A409-4B60-A676-2ABA5E2B4825}"/>
              </a:ext>
            </a:extLst>
          </p:cNvPr>
          <p:cNvSpPr/>
          <p:nvPr/>
        </p:nvSpPr>
        <p:spPr>
          <a:xfrm>
            <a:off x="3707963" y="6014911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244A9459-1BD1-4492-9FC6-244E674D5C24}"/>
              </a:ext>
            </a:extLst>
          </p:cNvPr>
          <p:cNvSpPr/>
          <p:nvPr/>
        </p:nvSpPr>
        <p:spPr>
          <a:xfrm flipV="1">
            <a:off x="6873008" y="6001299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3" name="표 72">
            <a:extLst>
              <a:ext uri="{FF2B5EF4-FFF2-40B4-BE49-F238E27FC236}">
                <a16:creationId xmlns:a16="http://schemas.microsoft.com/office/drawing/2014/main" id="{DF8404C8-5B92-4484-A1EC-30197A7E1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46900"/>
              </p:ext>
            </p:extLst>
          </p:nvPr>
        </p:nvGraphicFramePr>
        <p:xfrm>
          <a:off x="1" y="0"/>
          <a:ext cx="12191999" cy="492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46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뉴스를 보여주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체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등으로 조건 검색하여 뉴스 목록을 조회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75" name="직사각형 74">
            <a:extLst>
              <a:ext uri="{FF2B5EF4-FFF2-40B4-BE49-F238E27FC236}">
                <a16:creationId xmlns:a16="http://schemas.microsoft.com/office/drawing/2014/main" id="{358E7B72-9011-48C4-AE1A-7B2ED979B187}"/>
              </a:ext>
            </a:extLst>
          </p:cNvPr>
          <p:cNvSpPr/>
          <p:nvPr/>
        </p:nvSpPr>
        <p:spPr>
          <a:xfrm>
            <a:off x="373547" y="1712599"/>
            <a:ext cx="665719" cy="26079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간설정</a:t>
            </a: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9592D517-F71B-4396-B33A-03C2BAA1D2A9}"/>
              </a:ext>
            </a:extLst>
          </p:cNvPr>
          <p:cNvSpPr/>
          <p:nvPr/>
        </p:nvSpPr>
        <p:spPr>
          <a:xfrm>
            <a:off x="1036550" y="1746358"/>
            <a:ext cx="594954" cy="19185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일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FE253A2C-4FB2-4E9C-B75A-0DF8C84EC4E9}"/>
              </a:ext>
            </a:extLst>
          </p:cNvPr>
          <p:cNvSpPr/>
          <p:nvPr/>
        </p:nvSpPr>
        <p:spPr>
          <a:xfrm>
            <a:off x="1681461" y="1746358"/>
            <a:ext cx="340112" cy="19185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8A4304C1-CF26-4BBA-990A-FFEB0D14AC43}"/>
              </a:ext>
            </a:extLst>
          </p:cNvPr>
          <p:cNvSpPr/>
          <p:nvPr/>
        </p:nvSpPr>
        <p:spPr>
          <a:xfrm>
            <a:off x="2059673" y="1746358"/>
            <a:ext cx="340112" cy="19185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3B6871A0-A719-4BCC-96D4-622834E5D5A3}"/>
              </a:ext>
            </a:extLst>
          </p:cNvPr>
          <p:cNvSpPr/>
          <p:nvPr/>
        </p:nvSpPr>
        <p:spPr>
          <a:xfrm>
            <a:off x="2447899" y="1746358"/>
            <a:ext cx="340112" cy="19185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F45AD946-4045-48FD-A659-84E1ACDAF9ED}"/>
              </a:ext>
            </a:extLst>
          </p:cNvPr>
          <p:cNvSpPr/>
          <p:nvPr/>
        </p:nvSpPr>
        <p:spPr>
          <a:xfrm>
            <a:off x="2844587" y="1746358"/>
            <a:ext cx="731133" cy="19185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직접 입력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C470278-4063-4EF6-B84C-54154A5121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3707" y="1774792"/>
            <a:ext cx="121652" cy="121652"/>
          </a:xfrm>
          <a:prstGeom prst="rect">
            <a:avLst/>
          </a:prstGeom>
        </p:spPr>
      </p:pic>
      <p:grpSp>
        <p:nvGrpSpPr>
          <p:cNvPr id="85" name="그룹 84">
            <a:extLst>
              <a:ext uri="{FF2B5EF4-FFF2-40B4-BE49-F238E27FC236}">
                <a16:creationId xmlns:a16="http://schemas.microsoft.com/office/drawing/2014/main" id="{DA442C97-FF5E-4091-8E57-32EAB7BF0369}"/>
              </a:ext>
            </a:extLst>
          </p:cNvPr>
          <p:cNvGrpSpPr/>
          <p:nvPr/>
        </p:nvGrpSpPr>
        <p:grpSpPr>
          <a:xfrm>
            <a:off x="2425497" y="2142900"/>
            <a:ext cx="559062" cy="439813"/>
            <a:chOff x="377030" y="3751488"/>
            <a:chExt cx="452615" cy="35607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7100852C-5784-4584-9C09-108DF5AF2893}"/>
                </a:ext>
              </a:extLst>
            </p:cNvPr>
            <p:cNvSpPr/>
            <p:nvPr/>
          </p:nvSpPr>
          <p:spPr>
            <a:xfrm>
              <a:off x="436591" y="3775267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683A5C8A-5FCA-41DF-9F44-488E43F9E4A6}"/>
                </a:ext>
              </a:extLst>
            </p:cNvPr>
            <p:cNvSpPr/>
            <p:nvPr/>
          </p:nvSpPr>
          <p:spPr>
            <a:xfrm>
              <a:off x="377030" y="3751488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닫기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cxnSp>
        <p:nvCxnSpPr>
          <p:cNvPr id="91" name="직선 연결선 90">
            <a:extLst>
              <a:ext uri="{FF2B5EF4-FFF2-40B4-BE49-F238E27FC236}">
                <a16:creationId xmlns:a16="http://schemas.microsoft.com/office/drawing/2014/main" id="{6F5EF176-ED1B-4984-9105-10AF7FEB6872}"/>
              </a:ext>
            </a:extLst>
          </p:cNvPr>
          <p:cNvCxnSpPr>
            <a:cxnSpLocks/>
          </p:cNvCxnSpPr>
          <p:nvPr/>
        </p:nvCxnSpPr>
        <p:spPr>
          <a:xfrm>
            <a:off x="2502551" y="2560122"/>
            <a:ext cx="636289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6703AD6D-2A08-45EA-B532-900130B990A5}"/>
              </a:ext>
            </a:extLst>
          </p:cNvPr>
          <p:cNvSpPr/>
          <p:nvPr/>
        </p:nvSpPr>
        <p:spPr>
          <a:xfrm>
            <a:off x="2857712" y="2308642"/>
            <a:ext cx="795376" cy="1926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EAD0B56E-A826-42D2-97E4-B3D7CD24B1CE}"/>
              </a:ext>
            </a:extLst>
          </p:cNvPr>
          <p:cNvSpPr/>
          <p:nvPr/>
        </p:nvSpPr>
        <p:spPr>
          <a:xfrm>
            <a:off x="3683294" y="58815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05C14C09-D0BC-4BB7-B9BE-D86ADD15050A}"/>
              </a:ext>
            </a:extLst>
          </p:cNvPr>
          <p:cNvSpPr/>
          <p:nvPr/>
        </p:nvSpPr>
        <p:spPr>
          <a:xfrm>
            <a:off x="358684" y="16843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8" name="표 10">
            <a:extLst>
              <a:ext uri="{FF2B5EF4-FFF2-40B4-BE49-F238E27FC236}">
                <a16:creationId xmlns:a16="http://schemas.microsoft.com/office/drawing/2014/main" id="{A3D7A501-CF54-40D3-9887-966988F153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857457"/>
              </p:ext>
            </p:extLst>
          </p:nvPr>
        </p:nvGraphicFramePr>
        <p:xfrm>
          <a:off x="9275970" y="750180"/>
          <a:ext cx="2922885" cy="5695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322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 설정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일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 해당 기간의 뉴스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입력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 설정 가능한 캘린더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 날짜 선택 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엔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또는 확인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의 뉴스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검색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 기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검색은 뉴스 등록 시 입력한 태그 키워드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37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 열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려 있는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열린 상태에서 닫히는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넓이 자동조정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59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및 필터 기능 적용한 컨텐츠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최신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3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사용한 경우에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이 보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변경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영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역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열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1326155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대표 이미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51703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제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597915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본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상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8844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출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픈 초기에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뉴스만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급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67214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1978436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게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077727"/>
                  </a:ext>
                </a:extLst>
              </a:tr>
            </a:tbl>
          </a:graphicData>
        </a:graphic>
      </p:graphicFrame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CDBFFA62-11EC-43A9-B701-9B949AF7DE65}"/>
              </a:ext>
            </a:extLst>
          </p:cNvPr>
          <p:cNvSpPr/>
          <p:nvPr/>
        </p:nvSpPr>
        <p:spPr>
          <a:xfrm>
            <a:off x="2946311" y="22192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6A6F088B-2E34-4424-9889-F962C0B2F06F}"/>
              </a:ext>
            </a:extLst>
          </p:cNvPr>
          <p:cNvSpPr/>
          <p:nvPr/>
        </p:nvSpPr>
        <p:spPr>
          <a:xfrm>
            <a:off x="6981879" y="22252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E537A221-D478-4A82-95FA-C045175C3946}"/>
              </a:ext>
            </a:extLst>
          </p:cNvPr>
          <p:cNvSpPr/>
          <p:nvPr/>
        </p:nvSpPr>
        <p:spPr>
          <a:xfrm>
            <a:off x="2664715" y="2618078"/>
            <a:ext cx="6200727" cy="1017045"/>
          </a:xfrm>
          <a:prstGeom prst="rect">
            <a:avLst/>
          </a:prstGeom>
          <a:noFill/>
          <a:ln w="9525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87A0ACE1-ED80-4D77-8CDC-7DFD0EC2793D}"/>
              </a:ext>
            </a:extLst>
          </p:cNvPr>
          <p:cNvSpPr/>
          <p:nvPr/>
        </p:nvSpPr>
        <p:spPr>
          <a:xfrm>
            <a:off x="2598593" y="25777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752B24E5-FD2D-4469-8FED-388E2331EFA2}"/>
              </a:ext>
            </a:extLst>
          </p:cNvPr>
          <p:cNvSpPr/>
          <p:nvPr/>
        </p:nvSpPr>
        <p:spPr>
          <a:xfrm>
            <a:off x="3345870" y="28672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5459081C-C157-44EA-AF41-FD41163DA50D}"/>
              </a:ext>
            </a:extLst>
          </p:cNvPr>
          <p:cNvSpPr/>
          <p:nvPr/>
        </p:nvSpPr>
        <p:spPr>
          <a:xfrm>
            <a:off x="4108391" y="26590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21CC7FA1-BA27-4726-9FCE-4A8BD0D62C62}"/>
              </a:ext>
            </a:extLst>
          </p:cNvPr>
          <p:cNvSpPr/>
          <p:nvPr/>
        </p:nvSpPr>
        <p:spPr>
          <a:xfrm>
            <a:off x="4108391" y="29175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E9DAA7FD-653B-4D1D-BC7B-99311C4DE3CD}"/>
              </a:ext>
            </a:extLst>
          </p:cNvPr>
          <p:cNvSpPr/>
          <p:nvPr/>
        </p:nvSpPr>
        <p:spPr>
          <a:xfrm>
            <a:off x="4117285" y="33347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F9613025-9C3C-4A8E-A297-A690AF991611}"/>
              </a:ext>
            </a:extLst>
          </p:cNvPr>
          <p:cNvSpPr/>
          <p:nvPr/>
        </p:nvSpPr>
        <p:spPr>
          <a:xfrm>
            <a:off x="4798099" y="33328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D1EE29D-C420-4FDB-8CED-134D8D6371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152" y="2141171"/>
            <a:ext cx="2139881" cy="2871465"/>
          </a:xfrm>
          <a:prstGeom prst="rect">
            <a:avLst/>
          </a:prstGeom>
        </p:spPr>
      </p:pic>
      <p:sp>
        <p:nvSpPr>
          <p:cNvPr id="86" name="직사각형 85">
            <a:extLst>
              <a:ext uri="{FF2B5EF4-FFF2-40B4-BE49-F238E27FC236}">
                <a16:creationId xmlns:a16="http://schemas.microsoft.com/office/drawing/2014/main" id="{67889DE7-F784-4697-A302-BBD8DD9E1C7C}"/>
              </a:ext>
            </a:extLst>
          </p:cNvPr>
          <p:cNvSpPr/>
          <p:nvPr/>
        </p:nvSpPr>
        <p:spPr>
          <a:xfrm>
            <a:off x="491367" y="2182594"/>
            <a:ext cx="1999598" cy="427074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88" name="표 4">
            <a:extLst>
              <a:ext uri="{FF2B5EF4-FFF2-40B4-BE49-F238E27FC236}">
                <a16:creationId xmlns:a16="http://schemas.microsoft.com/office/drawing/2014/main" id="{1DCAFF5C-0EC6-4D2C-83AB-1DB607D81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820208"/>
              </p:ext>
            </p:extLst>
          </p:nvPr>
        </p:nvGraphicFramePr>
        <p:xfrm>
          <a:off x="5081306" y="1736122"/>
          <a:ext cx="1718083" cy="229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93947">
                  <a:extLst>
                    <a:ext uri="{9D8B030D-6E8A-4147-A177-3AD203B41FA5}">
                      <a16:colId xmlns:a16="http://schemas.microsoft.com/office/drawing/2014/main" val="252001988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397105870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485812765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297567611"/>
                    </a:ext>
                  </a:extLst>
                </a:gridCol>
              </a:tblGrid>
              <a:tr h="2294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448166"/>
                  </a:ext>
                </a:extLst>
              </a:tr>
            </a:tbl>
          </a:graphicData>
        </a:graphic>
      </p:graphicFrame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297D03A3-3C5E-447C-81B3-09DF30F8C44A}"/>
              </a:ext>
            </a:extLst>
          </p:cNvPr>
          <p:cNvSpPr/>
          <p:nvPr/>
        </p:nvSpPr>
        <p:spPr>
          <a:xfrm>
            <a:off x="5021301" y="16728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C13F681F-91BD-4656-899A-A72D560B8C40}"/>
              </a:ext>
            </a:extLst>
          </p:cNvPr>
          <p:cNvSpPr/>
          <p:nvPr/>
        </p:nvSpPr>
        <p:spPr>
          <a:xfrm>
            <a:off x="5986286" y="2302039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03C993D3-DCF9-498D-8268-34BEF47495C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5" name="그림 94">
              <a:extLst>
                <a:ext uri="{FF2B5EF4-FFF2-40B4-BE49-F238E27FC236}">
                  <a16:creationId xmlns:a16="http://schemas.microsoft.com/office/drawing/2014/main" id="{8578A1CA-E9F6-4374-A856-3B2B214F39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473DB358-69AB-4BF0-8A94-7C9D512105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8" name="그림 97">
              <a:extLst>
                <a:ext uri="{FF2B5EF4-FFF2-40B4-BE49-F238E27FC236}">
                  <a16:creationId xmlns:a16="http://schemas.microsoft.com/office/drawing/2014/main" id="{9095DE12-9880-4FB0-B4F4-9F087AAD6D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DF1DE918-8978-4D50-9F51-F03B2EAE951E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BFAEF4C6-7F1F-4608-949B-94CEE6708510}"/>
              </a:ext>
            </a:extLst>
          </p:cNvPr>
          <p:cNvSpPr/>
          <p:nvPr/>
        </p:nvSpPr>
        <p:spPr>
          <a:xfrm>
            <a:off x="2492999" y="2152310"/>
            <a:ext cx="470230" cy="413040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F63D0AE3-A729-4035-B9B8-D5768B445A3D}"/>
              </a:ext>
            </a:extLst>
          </p:cNvPr>
          <p:cNvSpPr/>
          <p:nvPr/>
        </p:nvSpPr>
        <p:spPr>
          <a:xfrm>
            <a:off x="2441587" y="21251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0538366-B236-47A7-AC19-3C8AAE6B40A4}"/>
              </a:ext>
            </a:extLst>
          </p:cNvPr>
          <p:cNvSpPr/>
          <p:nvPr/>
        </p:nvSpPr>
        <p:spPr>
          <a:xfrm>
            <a:off x="9092641" y="1808"/>
            <a:ext cx="3099771" cy="969058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명칭 변경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토픽 →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키워드로 명칭 수정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   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출력양식 변경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: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라디오버튼 → 태그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복수선택 가능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주제분류 체계 필터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업무분류 체계 필터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8992D4DD-E3CE-465A-94AA-22273481048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388272977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AA637F7F-C151-4B77-A4D5-AD8CB177FA5D}"/>
              </a:ext>
            </a:extLst>
          </p:cNvPr>
          <p:cNvSpPr/>
          <p:nvPr/>
        </p:nvSpPr>
        <p:spPr>
          <a:xfrm>
            <a:off x="5180988" y="2917901"/>
            <a:ext cx="3118472" cy="318533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155679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73" name="표 72">
            <a:extLst>
              <a:ext uri="{FF2B5EF4-FFF2-40B4-BE49-F238E27FC236}">
                <a16:creationId xmlns:a16="http://schemas.microsoft.com/office/drawing/2014/main" id="{DF8404C8-5B92-4484-A1EC-30197A7E1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395788"/>
              </p:ext>
            </p:extLst>
          </p:nvPr>
        </p:nvGraphicFramePr>
        <p:xfrm>
          <a:off x="1" y="0"/>
          <a:ext cx="12191999" cy="492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분석 상세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46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여개 언론사의 최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뉴스정보를 분석하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를 도출하고 관련 뉴스를 제공합니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58" name="표 10">
            <a:extLst>
              <a:ext uri="{FF2B5EF4-FFF2-40B4-BE49-F238E27FC236}">
                <a16:creationId xmlns:a16="http://schemas.microsoft.com/office/drawing/2014/main" id="{A3D7A501-CF54-40D3-9887-966988F153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1332"/>
              </p:ext>
            </p:extLst>
          </p:nvPr>
        </p:nvGraphicFramePr>
        <p:xfrm>
          <a:off x="9275970" y="1274043"/>
          <a:ext cx="2922885" cy="1922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322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일 기준으로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일 간의 뉴스 기사를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석하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키워드 도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토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P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연관 키워드 기능 사용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: ESG 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R .. (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토픽 모두 적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..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의 키워드를 순위로 노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: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 키워드 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된 키워드와 관련된 뉴스 기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수 기준으로 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건의 기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토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뉴스 검색 기능 활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기사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이퍼링크로 해당 뉴스 페이지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98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된 키워드와 관련된 뉴스 기사 건수 추이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해당 키워드 관련 뉴스 건수 변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토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키워드 트렌드 기능 활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2" name="그림 131">
            <a:extLst>
              <a:ext uri="{FF2B5EF4-FFF2-40B4-BE49-F238E27FC236}">
                <a16:creationId xmlns:a16="http://schemas.microsoft.com/office/drawing/2014/main" id="{321CB995-5474-4111-909F-7B768A872F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47" t="12242" r="12927" b="79952"/>
          <a:stretch/>
        </p:blipFill>
        <p:spPr>
          <a:xfrm>
            <a:off x="341695" y="611544"/>
            <a:ext cx="8626855" cy="521254"/>
          </a:xfrm>
          <a:prstGeom prst="rect">
            <a:avLst/>
          </a:prstGeom>
          <a:ln>
            <a:solidFill>
              <a:srgbClr val="FFFFFF">
                <a:lumMod val="50000"/>
              </a:srgbClr>
            </a:solidFill>
          </a:ln>
        </p:spPr>
      </p:pic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3A64EF13-45D0-4E7B-B137-C1D1CC189B5A}"/>
              </a:ext>
            </a:extLst>
          </p:cNvPr>
          <p:cNvSpPr/>
          <p:nvPr/>
        </p:nvSpPr>
        <p:spPr>
          <a:xfrm>
            <a:off x="554817" y="1151085"/>
            <a:ext cx="8133471" cy="492914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       ESG </a:t>
            </a:r>
            <a:r>
              <a:rPr lang="ko-KR" altLang="en-US" sz="1200" b="1" kern="0" dirty="0">
                <a:solidFill>
                  <a:srgbClr val="000000"/>
                </a:solidFill>
                <a:latin typeface="Arial"/>
                <a:ea typeface="맑은 고딕"/>
              </a:rPr>
              <a:t>뉴스 트렌드</a:t>
            </a:r>
            <a:br>
              <a:rPr lang="en-US" altLang="ko-KR" sz="1050" kern="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en-US" altLang="ko-KR" sz="1050" kern="0" dirty="0">
                <a:solidFill>
                  <a:srgbClr val="000000"/>
                </a:solidFill>
                <a:latin typeface="Arial"/>
                <a:ea typeface="맑은 고딕"/>
              </a:rPr>
              <a:t>        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00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여개 언론사의 최근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7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간 뉴스정보를 분석하여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키워드를 도출하고 관련 뉴스를 제공합니다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18310276-3007-4DE1-885A-855A37852AFA}"/>
              </a:ext>
            </a:extLst>
          </p:cNvPr>
          <p:cNvGrpSpPr/>
          <p:nvPr/>
        </p:nvGrpSpPr>
        <p:grpSpPr>
          <a:xfrm>
            <a:off x="1026853" y="2166641"/>
            <a:ext cx="7140206" cy="288000"/>
            <a:chOff x="1197170" y="2096095"/>
            <a:chExt cx="6177786" cy="360000"/>
          </a:xfrm>
        </p:grpSpPr>
        <p:sp>
          <p:nvSpPr>
            <p:cNvPr id="136" name="사각형: 둥근 모서리 135">
              <a:extLst>
                <a:ext uri="{FF2B5EF4-FFF2-40B4-BE49-F238E27FC236}">
                  <a16:creationId xmlns:a16="http://schemas.microsoft.com/office/drawing/2014/main" id="{10D4E132-34C6-44A9-A5CB-7AE05522A594}"/>
                </a:ext>
              </a:extLst>
            </p:cNvPr>
            <p:cNvSpPr/>
            <p:nvPr/>
          </p:nvSpPr>
          <p:spPr>
            <a:xfrm>
              <a:off x="1197170" y="2096095"/>
              <a:ext cx="1080120" cy="360000"/>
            </a:xfrm>
            <a:prstGeom prst="roundRect">
              <a:avLst>
                <a:gd name="adj" fmla="val 50000"/>
              </a:avLst>
            </a:prstGeom>
            <a:solidFill>
              <a:srgbClr val="D04A02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위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보고서</a:t>
              </a:r>
            </a:p>
          </p:txBody>
        </p:sp>
        <p:sp>
          <p:nvSpPr>
            <p:cNvPr id="137" name="사각형: 둥근 모서리 136">
              <a:extLst>
                <a:ext uri="{FF2B5EF4-FFF2-40B4-BE49-F238E27FC236}">
                  <a16:creationId xmlns:a16="http://schemas.microsoft.com/office/drawing/2014/main" id="{896562F4-8C2C-4FD4-A976-33BCD886143E}"/>
                </a:ext>
              </a:extLst>
            </p:cNvPr>
            <p:cNvSpPr/>
            <p:nvPr/>
          </p:nvSpPr>
          <p:spPr>
            <a:xfrm>
              <a:off x="2471587" y="2096095"/>
              <a:ext cx="1080120" cy="360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solidFill>
                <a:srgbClr val="FFFFFF">
                  <a:lumMod val="75000"/>
                </a:srgbClr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위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배구조</a:t>
              </a:r>
            </a:p>
          </p:txBody>
        </p:sp>
        <p:sp>
          <p:nvSpPr>
            <p:cNvPr id="138" name="사각형: 둥근 모서리 137">
              <a:extLst>
                <a:ext uri="{FF2B5EF4-FFF2-40B4-BE49-F238E27FC236}">
                  <a16:creationId xmlns:a16="http://schemas.microsoft.com/office/drawing/2014/main" id="{3B689F70-E999-464D-B745-1B5C5A100362}"/>
                </a:ext>
              </a:extLst>
            </p:cNvPr>
            <p:cNvSpPr/>
            <p:nvPr/>
          </p:nvSpPr>
          <p:spPr>
            <a:xfrm>
              <a:off x="3746004" y="2096095"/>
              <a:ext cx="1080120" cy="360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solidFill>
                <a:srgbClr val="FFFFFF">
                  <a:lumMod val="75000"/>
                </a:srgbClr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3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위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 ESG </a:t>
              </a:r>
              <a:b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분야별 성과</a:t>
              </a:r>
            </a:p>
          </p:txBody>
        </p:sp>
        <p:sp>
          <p:nvSpPr>
            <p:cNvPr id="139" name="사각형: 둥근 모서리 138">
              <a:extLst>
                <a:ext uri="{FF2B5EF4-FFF2-40B4-BE49-F238E27FC236}">
                  <a16:creationId xmlns:a16="http://schemas.microsoft.com/office/drawing/2014/main" id="{F7F7858D-4E6A-4C25-8DC1-B60DF02B47D5}"/>
                </a:ext>
              </a:extLst>
            </p:cNvPr>
            <p:cNvSpPr/>
            <p:nvPr/>
          </p:nvSpPr>
          <p:spPr>
            <a:xfrm>
              <a:off x="5020420" y="2096095"/>
              <a:ext cx="1080120" cy="360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solidFill>
                <a:srgbClr val="FFFFFF">
                  <a:lumMod val="75000"/>
                </a:srgbClr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4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위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 MSCI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40" name="사각형: 둥근 모서리 139">
              <a:extLst>
                <a:ext uri="{FF2B5EF4-FFF2-40B4-BE49-F238E27FC236}">
                  <a16:creationId xmlns:a16="http://schemas.microsoft.com/office/drawing/2014/main" id="{EBCC46B1-E1CB-41AF-88EF-AD4A5ABB56E4}"/>
                </a:ext>
              </a:extLst>
            </p:cNvPr>
            <p:cNvSpPr/>
            <p:nvPr/>
          </p:nvSpPr>
          <p:spPr>
            <a:xfrm>
              <a:off x="6294836" y="2096095"/>
              <a:ext cx="1080120" cy="3600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solidFill>
                <a:srgbClr val="FFFFFF">
                  <a:lumMod val="75000"/>
                </a:srgbClr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5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위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탄소중립</a:t>
              </a: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154D26AE-BE06-4899-A929-9B094FC07520}"/>
              </a:ext>
            </a:extLst>
          </p:cNvPr>
          <p:cNvSpPr txBox="1"/>
          <p:nvPr/>
        </p:nvSpPr>
        <p:spPr>
          <a:xfrm>
            <a:off x="837050" y="2604585"/>
            <a:ext cx="163723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kern="0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 </a:t>
            </a:r>
            <a:r>
              <a: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키워드 관련 </a:t>
            </a:r>
            <a:r>
              <a: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Hit </a:t>
            </a:r>
            <a:r>
              <a: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뉴스  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9AED37D0-C553-4D33-BBE4-55A6941B1147}"/>
              </a:ext>
            </a:extLst>
          </p:cNvPr>
          <p:cNvGrpSpPr/>
          <p:nvPr/>
        </p:nvGrpSpPr>
        <p:grpSpPr>
          <a:xfrm>
            <a:off x="1106391" y="2917901"/>
            <a:ext cx="3591065" cy="3185333"/>
            <a:chOff x="848544" y="3019900"/>
            <a:chExt cx="3998094" cy="3185333"/>
          </a:xfrm>
        </p:grpSpPr>
        <p:sp>
          <p:nvSpPr>
            <p:cNvPr id="148" name="사각형: 둥근 모서리 147">
              <a:extLst>
                <a:ext uri="{FF2B5EF4-FFF2-40B4-BE49-F238E27FC236}">
                  <a16:creationId xmlns:a16="http://schemas.microsoft.com/office/drawing/2014/main" id="{A115880E-DD0B-4FD0-B0A0-086E51B423A9}"/>
                </a:ext>
              </a:extLst>
            </p:cNvPr>
            <p:cNvSpPr/>
            <p:nvPr/>
          </p:nvSpPr>
          <p:spPr>
            <a:xfrm>
              <a:off x="848544" y="3019900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. (### hits)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시총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00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 기업 지속가능보고서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율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5.5%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49" name="사각형: 둥근 모서리 148">
              <a:extLst>
                <a:ext uri="{FF2B5EF4-FFF2-40B4-BE49-F238E27FC236}">
                  <a16:creationId xmlns:a16="http://schemas.microsoft.com/office/drawing/2014/main" id="{A47F3CF4-BF44-4C78-B892-AB527510ACC0}"/>
                </a:ext>
              </a:extLst>
            </p:cNvPr>
            <p:cNvSpPr/>
            <p:nvPr/>
          </p:nvSpPr>
          <p:spPr>
            <a:xfrm>
              <a:off x="848544" y="3335099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2. (### hits)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KT&amp;G '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 성과 담은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'2022 KT&amp;G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통합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0" name="사각형: 둥근 모서리 149">
              <a:extLst>
                <a:ext uri="{FF2B5EF4-FFF2-40B4-BE49-F238E27FC236}">
                  <a16:creationId xmlns:a16="http://schemas.microsoft.com/office/drawing/2014/main" id="{5D0D4E35-EE4E-48BE-A7D1-DC77A05E618D}"/>
                </a:ext>
              </a:extLst>
            </p:cNvPr>
            <p:cNvSpPr/>
            <p:nvPr/>
          </p:nvSpPr>
          <p:spPr>
            <a:xfrm>
              <a:off x="848544" y="3670940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3. (### hits)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시총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00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 기업 지속가능보고서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율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5.5%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2BA8B2C9-DFB5-4126-B7E0-6F459AA831CB}"/>
                </a:ext>
              </a:extLst>
            </p:cNvPr>
            <p:cNvSpPr/>
            <p:nvPr/>
          </p:nvSpPr>
          <p:spPr>
            <a:xfrm>
              <a:off x="848544" y="3986140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4. (### hits)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KT&amp;G '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 성과 담은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'2022 KT&amp;G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통합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2" name="사각형: 둥근 모서리 151">
              <a:extLst>
                <a:ext uri="{FF2B5EF4-FFF2-40B4-BE49-F238E27FC236}">
                  <a16:creationId xmlns:a16="http://schemas.microsoft.com/office/drawing/2014/main" id="{A79672D5-693E-4A05-B99A-E5E7C0CAB5FF}"/>
                </a:ext>
              </a:extLst>
            </p:cNvPr>
            <p:cNvSpPr/>
            <p:nvPr/>
          </p:nvSpPr>
          <p:spPr>
            <a:xfrm>
              <a:off x="848544" y="4347796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5. (### hits)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시총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00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 기업 지속가능보고서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율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5.5%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3" name="사각형: 둥근 모서리 152">
              <a:extLst>
                <a:ext uri="{FF2B5EF4-FFF2-40B4-BE49-F238E27FC236}">
                  <a16:creationId xmlns:a16="http://schemas.microsoft.com/office/drawing/2014/main" id="{B347C539-A440-45E7-949D-9DEC5B1C450A}"/>
                </a:ext>
              </a:extLst>
            </p:cNvPr>
            <p:cNvSpPr/>
            <p:nvPr/>
          </p:nvSpPr>
          <p:spPr>
            <a:xfrm>
              <a:off x="848544" y="4662994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6. (### hits)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KT&amp;G '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 성과 담은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'2022 KT&amp;G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통합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063DFCCA-8AC1-4C55-89FA-7868093A473F}"/>
                </a:ext>
              </a:extLst>
            </p:cNvPr>
            <p:cNvSpPr/>
            <p:nvPr/>
          </p:nvSpPr>
          <p:spPr>
            <a:xfrm>
              <a:off x="848544" y="4998835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. (### hits)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시총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00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 기업 지속가능보고서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율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5.5%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5" name="사각형: 둥근 모서리 154">
              <a:extLst>
                <a:ext uri="{FF2B5EF4-FFF2-40B4-BE49-F238E27FC236}">
                  <a16:creationId xmlns:a16="http://schemas.microsoft.com/office/drawing/2014/main" id="{E7E0DB55-B71B-4C6A-A5A4-2592E3074961}"/>
                </a:ext>
              </a:extLst>
            </p:cNvPr>
            <p:cNvSpPr/>
            <p:nvPr/>
          </p:nvSpPr>
          <p:spPr>
            <a:xfrm>
              <a:off x="848544" y="5314034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8. (### hits)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KT&amp;G '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 성과 담은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'2022 KT&amp;G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통합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6" name="사각형: 둥근 모서리 155">
              <a:extLst>
                <a:ext uri="{FF2B5EF4-FFF2-40B4-BE49-F238E27FC236}">
                  <a16:creationId xmlns:a16="http://schemas.microsoft.com/office/drawing/2014/main" id="{5A278B30-FC57-4FE0-9359-6B9996214198}"/>
                </a:ext>
              </a:extLst>
            </p:cNvPr>
            <p:cNvSpPr/>
            <p:nvPr/>
          </p:nvSpPr>
          <p:spPr>
            <a:xfrm>
              <a:off x="848544" y="5629233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9. (### hits)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시총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200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 기업 지속가능보고서 </a:t>
              </a:r>
              <a:r>
                <a:rPr kumimoji="0" lang="ko-KR" alt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율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75.5%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57" name="사각형: 둥근 모서리 156">
              <a:extLst>
                <a:ext uri="{FF2B5EF4-FFF2-40B4-BE49-F238E27FC236}">
                  <a16:creationId xmlns:a16="http://schemas.microsoft.com/office/drawing/2014/main" id="{532BF18A-1D75-4E35-B290-A18153FDF639}"/>
                </a:ext>
              </a:extLst>
            </p:cNvPr>
            <p:cNvSpPr/>
            <p:nvPr/>
          </p:nvSpPr>
          <p:spPr>
            <a:xfrm>
              <a:off x="848544" y="5944432"/>
              <a:ext cx="3998094" cy="26080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solidFill>
                <a:srgbClr val="000000">
                  <a:lumMod val="50000"/>
                  <a:lumOff val="50000"/>
                </a:srgbClr>
              </a:solidFill>
            </a:ln>
            <a:effectLst/>
          </p:spPr>
          <p:txBody>
            <a:bodyPr lIns="36000" rIns="36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D04A02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0. (### hits)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KT&amp;G '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지속가능경영 성과 담은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'2022 KT&amp;G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통합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..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| 2023.08.07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aphicFrame>
        <p:nvGraphicFramePr>
          <p:cNvPr id="158" name="차트 157">
            <a:extLst>
              <a:ext uri="{FF2B5EF4-FFF2-40B4-BE49-F238E27FC236}">
                <a16:creationId xmlns:a16="http://schemas.microsoft.com/office/drawing/2014/main" id="{F97F67ED-26F5-4A32-9961-DF03E4BFED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3763554"/>
              </p:ext>
            </p:extLst>
          </p:nvPr>
        </p:nvGraphicFramePr>
        <p:xfrm>
          <a:off x="5245787" y="3036119"/>
          <a:ext cx="3010451" cy="3091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59" name="직선 연결선 158">
            <a:extLst>
              <a:ext uri="{FF2B5EF4-FFF2-40B4-BE49-F238E27FC236}">
                <a16:creationId xmlns:a16="http://schemas.microsoft.com/office/drawing/2014/main" id="{D575A64F-E9A7-446C-B88B-06F17D6D1E8A}"/>
              </a:ext>
            </a:extLst>
          </p:cNvPr>
          <p:cNvCxnSpPr/>
          <p:nvPr/>
        </p:nvCxnSpPr>
        <p:spPr>
          <a:xfrm>
            <a:off x="4902807" y="2846453"/>
            <a:ext cx="0" cy="3252006"/>
          </a:xfrm>
          <a:prstGeom prst="line">
            <a:avLst/>
          </a:prstGeom>
          <a:noFill/>
          <a:ln w="6350" cap="sq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538C0704-EF93-4DDD-922D-E638BBFC6E7D}"/>
              </a:ext>
            </a:extLst>
          </p:cNvPr>
          <p:cNvSpPr txBox="1"/>
          <p:nvPr/>
        </p:nvSpPr>
        <p:spPr>
          <a:xfrm>
            <a:off x="3987967" y="2707423"/>
            <a:ext cx="89764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700" b="1" dirty="0">
                <a:solidFill>
                  <a:srgbClr val="000000"/>
                </a:solidFill>
                <a:latin typeface="Arial"/>
              </a:rPr>
              <a:t>조회 수 기준</a:t>
            </a:r>
            <a:endParaRPr lang="ko-KR" altLang="en-US" sz="7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40FEDCB6-E8D9-4D1C-95FF-20A57590B105}"/>
              </a:ext>
            </a:extLst>
          </p:cNvPr>
          <p:cNvGrpSpPr/>
          <p:nvPr/>
        </p:nvGrpSpPr>
        <p:grpSpPr>
          <a:xfrm>
            <a:off x="8823160" y="1143379"/>
            <a:ext cx="152360" cy="5256000"/>
            <a:chOff x="9201470" y="1601344"/>
            <a:chExt cx="188139" cy="4198758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7BAFF78E-6BF4-4C4C-B837-F52DFFFF55F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64" name="그룹 163">
              <a:extLst>
                <a:ext uri="{FF2B5EF4-FFF2-40B4-BE49-F238E27FC236}">
                  <a16:creationId xmlns:a16="http://schemas.microsoft.com/office/drawing/2014/main" id="{C8C6CF49-4487-464E-8B00-43F087DEF52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4E695243-071F-48D7-9E48-8496130A35EC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7E62A423-1AEB-4CD1-AF88-8B417DD416A5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D72B5869-F26F-48BD-8EDD-4030C58ECF45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E9976185-DB41-4086-BBBF-089A3FCB33F7}"/>
              </a:ext>
            </a:extLst>
          </p:cNvPr>
          <p:cNvSpPr/>
          <p:nvPr/>
        </p:nvSpPr>
        <p:spPr>
          <a:xfrm>
            <a:off x="927746" y="22215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사각형: 둥근 모서리 168">
            <a:extLst>
              <a:ext uri="{FF2B5EF4-FFF2-40B4-BE49-F238E27FC236}">
                <a16:creationId xmlns:a16="http://schemas.microsoft.com/office/drawing/2014/main" id="{D9AC0B6E-6845-45DF-90BB-B1AB1C7F1CBB}"/>
              </a:ext>
            </a:extLst>
          </p:cNvPr>
          <p:cNvSpPr/>
          <p:nvPr/>
        </p:nvSpPr>
        <p:spPr>
          <a:xfrm>
            <a:off x="983330" y="288483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0" name="사각형: 둥근 모서리 169">
            <a:extLst>
              <a:ext uri="{FF2B5EF4-FFF2-40B4-BE49-F238E27FC236}">
                <a16:creationId xmlns:a16="http://schemas.microsoft.com/office/drawing/2014/main" id="{52DCB97A-0CC3-4750-ABE6-39C6A43CCD02}"/>
              </a:ext>
            </a:extLst>
          </p:cNvPr>
          <p:cNvSpPr/>
          <p:nvPr/>
        </p:nvSpPr>
        <p:spPr>
          <a:xfrm>
            <a:off x="5062125" y="28766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24D12B7-E605-4A51-B92A-27FD08F67B2F}"/>
              </a:ext>
            </a:extLst>
          </p:cNvPr>
          <p:cNvSpPr/>
          <p:nvPr/>
        </p:nvSpPr>
        <p:spPr>
          <a:xfrm>
            <a:off x="9285676" y="818677"/>
            <a:ext cx="2763187" cy="40187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API</a:t>
            </a:r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해 일 배치로 뉴스데이터 </a:t>
            </a: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DB </a:t>
            </a:r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적재</a:t>
            </a: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</a:t>
            </a:r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적재된 </a:t>
            </a: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DB</a:t>
            </a:r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로 서비스 제공 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0538366-B236-47A7-AC19-3C8AAE6B40A4}"/>
              </a:ext>
            </a:extLst>
          </p:cNvPr>
          <p:cNvSpPr/>
          <p:nvPr/>
        </p:nvSpPr>
        <p:spPr>
          <a:xfrm>
            <a:off x="9103170" y="0"/>
            <a:ext cx="3099771" cy="25358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뉴스 트렌드</a:t>
            </a:r>
            <a:b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</a:b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뉴스토어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API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를 활용한 뉴스 트렌드 분석 화면 제공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서비스 구현방식 정의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API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해 일 배치로 뉴스데이터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DB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적재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적재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DB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로 서비스 제공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키워드 관련 뉴스 추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키워드 관련 뉴스 추이 화면 예시 변경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최근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7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일간 뉴스 기사 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이가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나와야함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데이터레이블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9.01&gt;</a:t>
            </a:r>
          </a:p>
          <a:p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1]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기키워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탭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위치 조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뉴스키워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분석 섹션 하단에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기키워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탭 출력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D7171BB0-FB40-433C-9AF2-2653E0A1F483}"/>
              </a:ext>
            </a:extLst>
          </p:cNvPr>
          <p:cNvGrpSpPr/>
          <p:nvPr/>
        </p:nvGrpSpPr>
        <p:grpSpPr>
          <a:xfrm>
            <a:off x="983330" y="1799236"/>
            <a:ext cx="1673977" cy="253916"/>
            <a:chOff x="779969" y="2819658"/>
            <a:chExt cx="1869372" cy="25391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D7DA732-D3BA-4E54-A4E7-DE58EA5E27AE}"/>
                </a:ext>
              </a:extLst>
            </p:cNvPr>
            <p:cNvSpPr txBox="1"/>
            <p:nvPr/>
          </p:nvSpPr>
          <p:spPr>
            <a:xfrm>
              <a:off x="820996" y="2836771"/>
              <a:ext cx="1828345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400">
                <a:defRPr/>
              </a:pPr>
              <a:r>
                <a:rPr lang="ko-KR" altLang="en-US" sz="900" b="1" kern="0" dirty="0">
                  <a:solidFill>
                    <a:srgbClr val="000000"/>
                  </a:solidFill>
                  <a:latin typeface="Arial"/>
                </a:rPr>
                <a:t>뉴스 키워드 분석</a:t>
              </a: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71CBE5B3-9003-484C-B3BF-085F71D7F55E}"/>
                </a:ext>
              </a:extLst>
            </p:cNvPr>
            <p:cNvSpPr/>
            <p:nvPr/>
          </p:nvSpPr>
          <p:spPr>
            <a:xfrm>
              <a:off x="779969" y="2819658"/>
              <a:ext cx="68575" cy="253916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0D67A715-11FA-4F15-B59E-EAC427C93216}"/>
              </a:ext>
            </a:extLst>
          </p:cNvPr>
          <p:cNvSpPr txBox="1"/>
          <p:nvPr/>
        </p:nvSpPr>
        <p:spPr>
          <a:xfrm>
            <a:off x="4774601" y="2629964"/>
            <a:ext cx="163723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kern="0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 </a:t>
            </a:r>
            <a:r>
              <a: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키워드 관련 </a:t>
            </a:r>
            <a:r>
              <a:rPr lang="ko-KR" altLang="en-US" sz="900" b="1" kern="0" dirty="0">
                <a:solidFill>
                  <a:srgbClr val="000000"/>
                </a:solidFill>
                <a:latin typeface="Arial"/>
              </a:rPr>
              <a:t>뉴스 추이</a:t>
            </a:r>
            <a:r>
              <a: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2175187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155679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449043" y="654313"/>
            <a:ext cx="8519508" cy="601504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73" name="표 72">
            <a:extLst>
              <a:ext uri="{FF2B5EF4-FFF2-40B4-BE49-F238E27FC236}">
                <a16:creationId xmlns:a16="http://schemas.microsoft.com/office/drawing/2014/main" id="{DF8404C8-5B92-4484-A1EC-30197A7E1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772206"/>
              </p:ext>
            </p:extLst>
          </p:nvPr>
        </p:nvGraphicFramePr>
        <p:xfrm>
          <a:off x="1" y="0"/>
          <a:ext cx="12191999" cy="492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분석 상세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46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여개 언론사의 최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뉴스정보를 분석하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를 도출하고 관련 뉴스를 제공합니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2" name="그림 131">
            <a:extLst>
              <a:ext uri="{FF2B5EF4-FFF2-40B4-BE49-F238E27FC236}">
                <a16:creationId xmlns:a16="http://schemas.microsoft.com/office/drawing/2014/main" id="{321CB995-5474-4111-909F-7B768A872F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47" t="12242" r="12927" b="79952"/>
          <a:stretch/>
        </p:blipFill>
        <p:spPr>
          <a:xfrm>
            <a:off x="462153" y="654313"/>
            <a:ext cx="8513367" cy="521254"/>
          </a:xfrm>
          <a:prstGeom prst="rect">
            <a:avLst/>
          </a:prstGeom>
          <a:ln>
            <a:solidFill>
              <a:srgbClr val="FFFFFF">
                <a:lumMod val="50000"/>
              </a:srgbClr>
            </a:solidFill>
          </a:ln>
        </p:spPr>
      </p:pic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40FEDCB6-E8D9-4D1C-95FF-20A57590B105}"/>
              </a:ext>
            </a:extLst>
          </p:cNvPr>
          <p:cNvGrpSpPr/>
          <p:nvPr/>
        </p:nvGrpSpPr>
        <p:grpSpPr>
          <a:xfrm>
            <a:off x="8823160" y="1143379"/>
            <a:ext cx="152360" cy="5256000"/>
            <a:chOff x="9201470" y="1601344"/>
            <a:chExt cx="188139" cy="4198758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7BAFF78E-6BF4-4C4C-B837-F52DFFFF55FA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64" name="그룹 163">
              <a:extLst>
                <a:ext uri="{FF2B5EF4-FFF2-40B4-BE49-F238E27FC236}">
                  <a16:creationId xmlns:a16="http://schemas.microsoft.com/office/drawing/2014/main" id="{C8C6CF49-4487-464E-8B00-43F087DEF52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4E695243-071F-48D7-9E48-8496130A35EC}"/>
                  </a:ext>
                </a:extLst>
              </p:cNvPr>
              <p:cNvSpPr/>
              <p:nvPr/>
            </p:nvSpPr>
            <p:spPr>
              <a:xfrm>
                <a:off x="9201495" y="4421864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7E62A423-1AEB-4CD1-AF88-8B417DD416A5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D72B5869-F26F-48BD-8EDD-4030C58ECF45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F6DB44B3-0E3D-49CB-859B-81F75ABF2B0E}"/>
              </a:ext>
            </a:extLst>
          </p:cNvPr>
          <p:cNvGrpSpPr/>
          <p:nvPr/>
        </p:nvGrpSpPr>
        <p:grpSpPr>
          <a:xfrm>
            <a:off x="3758989" y="2275555"/>
            <a:ext cx="4607201" cy="3528488"/>
            <a:chOff x="1208585" y="2348784"/>
            <a:chExt cx="7271496" cy="3222856"/>
          </a:xfrm>
        </p:grpSpPr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FC2C3C00-A834-4B9B-BBD0-FA6C79052433}"/>
                </a:ext>
              </a:extLst>
            </p:cNvPr>
            <p:cNvGrpSpPr/>
            <p:nvPr/>
          </p:nvGrpSpPr>
          <p:grpSpPr>
            <a:xfrm>
              <a:off x="1208585" y="2348784"/>
              <a:ext cx="7271496" cy="360136"/>
              <a:chOff x="775225" y="2132760"/>
              <a:chExt cx="8138215" cy="360136"/>
            </a:xfrm>
          </p:grpSpPr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198B190E-0E63-4029-889F-39FB5B7AABB1}"/>
                  </a:ext>
                </a:extLst>
              </p:cNvPr>
              <p:cNvSpPr/>
              <p:nvPr/>
            </p:nvSpPr>
            <p:spPr>
              <a:xfrm>
                <a:off x="775225" y="2132856"/>
                <a:ext cx="1220703" cy="360040"/>
              </a:xfrm>
              <a:prstGeom prst="rect">
                <a:avLst/>
              </a:prstGeom>
              <a:solidFill>
                <a:srgbClr val="D04A02"/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환경</a:t>
                </a: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(E)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55D7B373-C042-4B82-B222-413FEADE0AB6}"/>
                  </a:ext>
                </a:extLst>
              </p:cNvPr>
              <p:cNvSpPr/>
              <p:nvPr/>
            </p:nvSpPr>
            <p:spPr>
              <a:xfrm>
                <a:off x="1991184" y="2132856"/>
                <a:ext cx="1056489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사회</a:t>
                </a: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(S)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D146484D-E588-4A38-9497-57ADBE52A9F0}"/>
                  </a:ext>
                </a:extLst>
              </p:cNvPr>
              <p:cNvSpPr/>
              <p:nvPr/>
            </p:nvSpPr>
            <p:spPr>
              <a:xfrm>
                <a:off x="3047673" y="2132856"/>
                <a:ext cx="1316108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거버넌스</a:t>
                </a: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(G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6CC77583-7D12-4EB1-844B-84FA6D43601B}"/>
                  </a:ext>
                </a:extLst>
              </p:cNvPr>
              <p:cNvSpPr/>
              <p:nvPr/>
            </p:nvSpPr>
            <p:spPr>
              <a:xfrm>
                <a:off x="4363781" y="2132856"/>
                <a:ext cx="921551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o-KR" altLang="en-US" sz="800" kern="0" dirty="0">
                    <a:solidFill>
                      <a:srgbClr val="000000"/>
                    </a:solidFill>
                    <a:latin typeface="Arial"/>
                    <a:ea typeface="맑은 고딕"/>
                  </a:rPr>
                  <a:t>금융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C2DE1D40-E876-401E-B361-E1E437DF2F3B}"/>
                  </a:ext>
                </a:extLst>
              </p:cNvPr>
              <p:cNvSpPr/>
              <p:nvPr/>
            </p:nvSpPr>
            <p:spPr>
              <a:xfrm>
                <a:off x="5285537" y="2132760"/>
                <a:ext cx="1095004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ESG Tax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75" name="직사각형 74">
                <a:extLst>
                  <a:ext uri="{FF2B5EF4-FFF2-40B4-BE49-F238E27FC236}">
                    <a16:creationId xmlns:a16="http://schemas.microsoft.com/office/drawing/2014/main" id="{9BD89DAF-C527-40A8-BA60-49E9DC7B6CD0}"/>
                  </a:ext>
                </a:extLst>
              </p:cNvPr>
              <p:cNvSpPr/>
              <p:nvPr/>
            </p:nvSpPr>
            <p:spPr>
              <a:xfrm>
                <a:off x="6397545" y="2132856"/>
                <a:ext cx="1220704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ESG Deal</a:t>
                </a:r>
                <a:endPara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sp>
            <p:nvSpPr>
              <p:cNvPr id="76" name="직사각형 75">
                <a:extLst>
                  <a:ext uri="{FF2B5EF4-FFF2-40B4-BE49-F238E27FC236}">
                    <a16:creationId xmlns:a16="http://schemas.microsoft.com/office/drawing/2014/main" id="{DAB5F6F8-5CA3-4BB2-932A-C2E919EAA5B2}"/>
                  </a:ext>
                </a:extLst>
              </p:cNvPr>
              <p:cNvSpPr/>
              <p:nvPr/>
            </p:nvSpPr>
            <p:spPr>
              <a:xfrm>
                <a:off x="7618248" y="2132856"/>
                <a:ext cx="1295192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ESG </a:t>
                </a:r>
                <a:r>
                  <a:rPr kumimoji="0" lang="ko-KR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rPr>
                  <a:t>공시</a:t>
                </a:r>
              </a:p>
            </p:txBody>
          </p:sp>
        </p:grp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DE5BA7E9-7FC3-4306-9612-F2DA01EFE831}"/>
                </a:ext>
              </a:extLst>
            </p:cNvPr>
            <p:cNvGrpSpPr/>
            <p:nvPr/>
          </p:nvGrpSpPr>
          <p:grpSpPr>
            <a:xfrm>
              <a:off x="1208585" y="2708920"/>
              <a:ext cx="7271496" cy="2862720"/>
              <a:chOff x="1208585" y="2492896"/>
              <a:chExt cx="7271496" cy="4106979"/>
            </a:xfrm>
          </p:grpSpPr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774DF32C-1300-4D04-BB39-8B755E008CFB}"/>
                  </a:ext>
                </a:extLst>
              </p:cNvPr>
              <p:cNvSpPr/>
              <p:nvPr/>
            </p:nvSpPr>
            <p:spPr>
              <a:xfrm>
                <a:off x="1208585" y="2492896"/>
                <a:ext cx="7271496" cy="4106979"/>
              </a:xfrm>
              <a:prstGeom prst="rect">
                <a:avLst/>
              </a:prstGeom>
              <a:solidFill>
                <a:srgbClr val="FFFFFF"/>
              </a:solidFill>
              <a:ln w="3175">
                <a:solidFill>
                  <a:srgbClr val="FFFFFF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endParaRPr>
              </a:p>
            </p:txBody>
          </p:sp>
          <p:graphicFrame>
            <p:nvGraphicFramePr>
              <p:cNvPr id="66" name="차트 65">
                <a:extLst>
                  <a:ext uri="{FF2B5EF4-FFF2-40B4-BE49-F238E27FC236}">
                    <a16:creationId xmlns:a16="http://schemas.microsoft.com/office/drawing/2014/main" id="{136A5D14-FA38-4908-AA91-6C2DD328D53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93283495"/>
                  </p:ext>
                </p:extLst>
              </p:nvPr>
            </p:nvGraphicFramePr>
            <p:xfrm>
              <a:off x="1352599" y="2780926"/>
              <a:ext cx="6984778" cy="369497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5FC7CFA1-7AB3-476E-9678-15896F21E5AB}"/>
              </a:ext>
            </a:extLst>
          </p:cNvPr>
          <p:cNvSpPr txBox="1"/>
          <p:nvPr/>
        </p:nvSpPr>
        <p:spPr>
          <a:xfrm>
            <a:off x="950677" y="1579262"/>
            <a:ext cx="163723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900" b="1" dirty="0">
                <a:solidFill>
                  <a:srgbClr val="000000"/>
                </a:solidFill>
                <a:latin typeface="Arial"/>
              </a:rPr>
              <a:t>ESG </a:t>
            </a:r>
            <a:r>
              <a:rPr lang="ko-KR" altLang="en-US" sz="900" b="1" dirty="0" err="1">
                <a:solidFill>
                  <a:srgbClr val="000000"/>
                </a:solidFill>
                <a:latin typeface="Arial"/>
              </a:rPr>
              <a:t>토픽별</a:t>
            </a:r>
            <a:r>
              <a:rPr lang="ko-KR" altLang="en-US" sz="900" b="1" dirty="0">
                <a:solidFill>
                  <a:srgbClr val="000000"/>
                </a:solidFill>
                <a:latin typeface="Arial"/>
              </a:rPr>
              <a:t> 뉴스 추이 </a:t>
            </a:r>
            <a:endParaRPr lang="ko-KR" alt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09DFE332-7B58-419C-8673-54B0862B6C6A}"/>
              </a:ext>
            </a:extLst>
          </p:cNvPr>
          <p:cNvSpPr/>
          <p:nvPr/>
        </p:nvSpPr>
        <p:spPr>
          <a:xfrm>
            <a:off x="1069126" y="1555571"/>
            <a:ext cx="61407" cy="253916"/>
          </a:xfrm>
          <a:prstGeom prst="rect">
            <a:avLst/>
          </a:prstGeom>
          <a:solidFill>
            <a:srgbClr val="D04A02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79" name="차트 78">
            <a:extLst>
              <a:ext uri="{FF2B5EF4-FFF2-40B4-BE49-F238E27FC236}">
                <a16:creationId xmlns:a16="http://schemas.microsoft.com/office/drawing/2014/main" id="{3C3E59B5-1E13-4F57-99CD-2087F44A59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9194375"/>
              </p:ext>
            </p:extLst>
          </p:nvPr>
        </p:nvGraphicFramePr>
        <p:xfrm>
          <a:off x="916877" y="2242989"/>
          <a:ext cx="2491801" cy="2120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0" name="TextBox 79">
            <a:extLst>
              <a:ext uri="{FF2B5EF4-FFF2-40B4-BE49-F238E27FC236}">
                <a16:creationId xmlns:a16="http://schemas.microsoft.com/office/drawing/2014/main" id="{A9145CC3-9269-47A6-B225-B97BB379E59C}"/>
              </a:ext>
            </a:extLst>
          </p:cNvPr>
          <p:cNvSpPr txBox="1"/>
          <p:nvPr/>
        </p:nvSpPr>
        <p:spPr>
          <a:xfrm>
            <a:off x="7440878" y="2750632"/>
            <a:ext cx="89764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700" b="1">
                <a:solidFill>
                  <a:srgbClr val="000000"/>
                </a:solidFill>
                <a:latin typeface="Arial"/>
              </a:rPr>
              <a:t>기사 건수 기준</a:t>
            </a:r>
            <a:endParaRPr lang="ko-KR" altLang="en-US" sz="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95B204A-7FA1-4F4D-8A20-F8E254AB584E}"/>
              </a:ext>
            </a:extLst>
          </p:cNvPr>
          <p:cNvSpPr txBox="1"/>
          <p:nvPr/>
        </p:nvSpPr>
        <p:spPr>
          <a:xfrm>
            <a:off x="1022993" y="1883267"/>
            <a:ext cx="668730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주요 </a:t>
            </a:r>
            <a:r>
              <a:rPr kumimoji="0" lang="ko-KR" alt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토픽별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뉴스 기사 건수 변화를 통해 최근 어떤 토픽과 관련된 사건</a:t>
            </a:r>
            <a:r>
              <a:rPr lang="ko-KR" altLang="en-US" sz="900" kern="0" dirty="0">
                <a:solidFill>
                  <a:srgbClr val="000000"/>
                </a:solidFill>
                <a:latin typeface="Arial"/>
                <a:ea typeface="맑은 고딕"/>
              </a:rPr>
              <a:t>이나 관심이 증가했는지 확인할 수 있습니다</a:t>
            </a:r>
            <a:r>
              <a:rPr lang="en-US" altLang="ko-KR" sz="900" kern="0" dirty="0">
                <a:solidFill>
                  <a:srgbClr val="000000"/>
                </a:solidFill>
                <a:latin typeface="Arial"/>
                <a:ea typeface="맑은 고딕"/>
              </a:rPr>
              <a:t>.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endParaRPr lang="ko-KR" altLang="en-US" dirty="0"/>
          </a:p>
        </p:txBody>
      </p:sp>
      <p:graphicFrame>
        <p:nvGraphicFramePr>
          <p:cNvPr id="83" name="표 10">
            <a:extLst>
              <a:ext uri="{FF2B5EF4-FFF2-40B4-BE49-F238E27FC236}">
                <a16:creationId xmlns:a16="http://schemas.microsoft.com/office/drawing/2014/main" id="{DFFE73BC-0CDE-4547-B01C-FF547185478F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751160"/>
          <a:ext cx="2922885" cy="1607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322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련 뉴스 中 영역별 기사의 건수 비중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 간 해당 키워드 관련 뉴스 건수 비교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토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키워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렌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 활용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: ESG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지속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… AND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-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토픽 기준으로 조회 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역별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합계를 구하여 백분율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차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의 영역별 주요 토픽 기사 건수 추이 비교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별 주요 토픽 단위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사 건수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토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키워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드렌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 활용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: ESG OR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속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… AND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-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건수롤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사용하여 누적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막대그래프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84" name="직사각형 83">
            <a:extLst>
              <a:ext uri="{FF2B5EF4-FFF2-40B4-BE49-F238E27FC236}">
                <a16:creationId xmlns:a16="http://schemas.microsoft.com/office/drawing/2014/main" id="{0DBA9EDC-A7DC-4C94-98DC-4C3619420851}"/>
              </a:ext>
            </a:extLst>
          </p:cNvPr>
          <p:cNvSpPr/>
          <p:nvPr/>
        </p:nvSpPr>
        <p:spPr>
          <a:xfrm>
            <a:off x="9100143" y="-27878"/>
            <a:ext cx="3099771" cy="63252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뉴스 트렌드</a:t>
            </a:r>
            <a:b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</a:b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뉴스토어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API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를 활용한 뉴스 트렌드 분석 화면 제공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E9E74485-B7BC-475D-A4D8-7B6E661051BD}"/>
              </a:ext>
            </a:extLst>
          </p:cNvPr>
          <p:cNvSpPr/>
          <p:nvPr/>
        </p:nvSpPr>
        <p:spPr>
          <a:xfrm>
            <a:off x="1105767" y="21813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B6E490D2-E2E1-4B02-BA99-D78F37A3795F}"/>
              </a:ext>
            </a:extLst>
          </p:cNvPr>
          <p:cNvSpPr/>
          <p:nvPr/>
        </p:nvSpPr>
        <p:spPr>
          <a:xfrm>
            <a:off x="3676674" y="22123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DFAEF684-5D80-4DC3-B769-8B8FE07DFE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097571"/>
              </p:ext>
            </p:extLst>
          </p:nvPr>
        </p:nvGraphicFramePr>
        <p:xfrm>
          <a:off x="1105767" y="4006582"/>
          <a:ext cx="2251899" cy="170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4847">
                  <a:extLst>
                    <a:ext uri="{9D8B030D-6E8A-4147-A177-3AD203B41FA5}">
                      <a16:colId xmlns:a16="http://schemas.microsoft.com/office/drawing/2014/main" val="3466579751"/>
                    </a:ext>
                  </a:extLst>
                </a:gridCol>
                <a:gridCol w="887052">
                  <a:extLst>
                    <a:ext uri="{9D8B030D-6E8A-4147-A177-3AD203B41FA5}">
                      <a16:colId xmlns:a16="http://schemas.microsoft.com/office/drawing/2014/main" val="1480538640"/>
                    </a:ext>
                  </a:extLst>
                </a:gridCol>
              </a:tblGrid>
              <a:tr h="1317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중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164263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환경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3315665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사회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8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085812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G)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592428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금융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951122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ESG Tax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8646644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ESG Deal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758888"/>
                  </a:ext>
                </a:extLst>
              </a:tr>
              <a:tr h="1317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%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927991"/>
                  </a:ext>
                </a:extLst>
              </a:tr>
            </a:tbl>
          </a:graphicData>
        </a:graphic>
      </p:graphicFrame>
      <p:sp>
        <p:nvSpPr>
          <p:cNvPr id="6" name="직사각형 5">
            <a:extLst>
              <a:ext uri="{FF2B5EF4-FFF2-40B4-BE49-F238E27FC236}">
                <a16:creationId xmlns:a16="http://schemas.microsoft.com/office/drawing/2014/main" id="{E8496B86-0E81-4267-846D-C5007882F29A}"/>
              </a:ext>
            </a:extLst>
          </p:cNvPr>
          <p:cNvSpPr/>
          <p:nvPr/>
        </p:nvSpPr>
        <p:spPr>
          <a:xfrm>
            <a:off x="1158348" y="4262338"/>
            <a:ext cx="116163" cy="116163"/>
          </a:xfrm>
          <a:prstGeom prst="rect">
            <a:avLst/>
          </a:prstGeom>
          <a:solidFill>
            <a:srgbClr val="D04A0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2E9CB9B4-C0D3-4DBB-B324-7A43B7FDA3AC}"/>
              </a:ext>
            </a:extLst>
          </p:cNvPr>
          <p:cNvSpPr/>
          <p:nvPr/>
        </p:nvSpPr>
        <p:spPr>
          <a:xfrm>
            <a:off x="1158348" y="4482034"/>
            <a:ext cx="116163" cy="116163"/>
          </a:xfrm>
          <a:prstGeom prst="rect">
            <a:avLst/>
          </a:prstGeom>
          <a:solidFill>
            <a:srgbClr val="FFB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334E5B63-921C-4C90-B879-4BC533638FFE}"/>
              </a:ext>
            </a:extLst>
          </p:cNvPr>
          <p:cNvSpPr/>
          <p:nvPr/>
        </p:nvSpPr>
        <p:spPr>
          <a:xfrm>
            <a:off x="1164286" y="4695260"/>
            <a:ext cx="116163" cy="116163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A8769C18-DA11-434B-B77B-98FF1DF4228E}"/>
              </a:ext>
            </a:extLst>
          </p:cNvPr>
          <p:cNvSpPr/>
          <p:nvPr/>
        </p:nvSpPr>
        <p:spPr>
          <a:xfrm>
            <a:off x="1158347" y="4908486"/>
            <a:ext cx="116163" cy="116163"/>
          </a:xfrm>
          <a:prstGeom prst="rect">
            <a:avLst/>
          </a:prstGeom>
          <a:solidFill>
            <a:srgbClr val="EB8C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AA3627-B05E-4E96-AE8B-2BDC94DBD4B7}"/>
              </a:ext>
            </a:extLst>
          </p:cNvPr>
          <p:cNvSpPr/>
          <p:nvPr/>
        </p:nvSpPr>
        <p:spPr>
          <a:xfrm>
            <a:off x="1158347" y="5123635"/>
            <a:ext cx="116163" cy="116163"/>
          </a:xfrm>
          <a:prstGeom prst="rect">
            <a:avLst/>
          </a:prstGeom>
          <a:solidFill>
            <a:srgbClr val="DB536A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ADAFA452-BE82-482E-BA56-F2AD1B912697}"/>
              </a:ext>
            </a:extLst>
          </p:cNvPr>
          <p:cNvSpPr/>
          <p:nvPr/>
        </p:nvSpPr>
        <p:spPr>
          <a:xfrm>
            <a:off x="1158347" y="5338784"/>
            <a:ext cx="116163" cy="116163"/>
          </a:xfrm>
          <a:prstGeom prst="rect">
            <a:avLst/>
          </a:prstGeom>
          <a:solidFill>
            <a:srgbClr val="46464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2C1270F2-F4F6-4E21-84AA-C5DA2555DA7F}"/>
              </a:ext>
            </a:extLst>
          </p:cNvPr>
          <p:cNvSpPr/>
          <p:nvPr/>
        </p:nvSpPr>
        <p:spPr>
          <a:xfrm>
            <a:off x="1158190" y="5553933"/>
            <a:ext cx="116163" cy="116163"/>
          </a:xfrm>
          <a:prstGeom prst="rect">
            <a:avLst/>
          </a:prstGeom>
          <a:solidFill>
            <a:srgbClr val="7D2C0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9058BC59-C62A-4B57-BE51-A410FEF6BFBC}"/>
              </a:ext>
            </a:extLst>
          </p:cNvPr>
          <p:cNvSpPr/>
          <p:nvPr/>
        </p:nvSpPr>
        <p:spPr>
          <a:xfrm>
            <a:off x="9098756" y="1290896"/>
            <a:ext cx="3108197" cy="944587"/>
          </a:xfrm>
          <a:prstGeom prst="rect">
            <a:avLst/>
          </a:prstGeom>
          <a:solidFill>
            <a:srgbClr val="FF0000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◆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ESG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토픽별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뉴스 추이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그래프 하단 각 항목 비중 테이블 추가 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항목명 수정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8248529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>
            <a:extLst>
              <a:ext uri="{FF2B5EF4-FFF2-40B4-BE49-F238E27FC236}">
                <a16:creationId xmlns:a16="http://schemas.microsoft.com/office/drawing/2014/main" id="{8B360D7C-3D3D-49A5-888F-DB732C8D5780}"/>
              </a:ext>
            </a:extLst>
          </p:cNvPr>
          <p:cNvSpPr/>
          <p:nvPr/>
        </p:nvSpPr>
        <p:spPr>
          <a:xfrm>
            <a:off x="1590245" y="3151362"/>
            <a:ext cx="9025412" cy="2863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rgbClr val="FFFFFF"/>
              </a:solidFill>
              <a:latin typeface="Arial"/>
              <a:ea typeface="맑은 고딕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E7A7C064-EB8B-4C02-A1B2-FF8C001919DD}"/>
              </a:ext>
            </a:extLst>
          </p:cNvPr>
          <p:cNvSpPr/>
          <p:nvPr/>
        </p:nvSpPr>
        <p:spPr>
          <a:xfrm>
            <a:off x="1590245" y="1052513"/>
            <a:ext cx="9025412" cy="2863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rgbClr val="FFFFFF"/>
              </a:solidFill>
              <a:latin typeface="Arial"/>
              <a:ea typeface="맑은 고딕"/>
            </a:endParaRPr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AA5A8095-B7D8-41BA-A1FC-65BE4B2F0E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[Back-up] </a:t>
            </a:r>
            <a:r>
              <a:rPr lang="ko-KR" altLang="en-US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뉴스 분석 서비스 기획안 </a:t>
            </a:r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(</a:t>
            </a:r>
            <a:r>
              <a:rPr lang="ko-KR" altLang="en-US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案</a:t>
            </a:r>
            <a:r>
              <a:rPr lang="en-US" altLang="ko-KR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ea typeface="+mn-ea"/>
              </a:rPr>
              <a:t>)</a:t>
            </a:r>
            <a:endParaRPr lang="ko-KR" altLang="en-US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ea typeface="+mn-ea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181EB4D1-860E-4377-8372-56ACED7FD5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655" t="18446" r="10020" b="2669"/>
          <a:stretch/>
        </p:blipFill>
        <p:spPr>
          <a:xfrm>
            <a:off x="2128854" y="3756025"/>
            <a:ext cx="1639403" cy="25352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FC3FC2F-AA01-44CE-959A-EC150644D204}"/>
              </a:ext>
            </a:extLst>
          </p:cNvPr>
          <p:cNvSpPr txBox="1"/>
          <p:nvPr/>
        </p:nvSpPr>
        <p:spPr>
          <a:xfrm>
            <a:off x="1494665" y="3532366"/>
            <a:ext cx="29013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① 최근 </a:t>
            </a: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/>
              </a:rPr>
              <a:t>7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일 </a:t>
            </a: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/>
              </a:rPr>
              <a:t>ESG 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연관 키워드 순위 도출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2F0C1539-DE43-44FF-811A-D68ACE1096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655" t="23299" r="10747" b="3883"/>
          <a:stretch/>
        </p:blipFill>
        <p:spPr>
          <a:xfrm>
            <a:off x="5132303" y="3756024"/>
            <a:ext cx="1639405" cy="259080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B3F4EBE-0AE0-4E94-8972-1D621CEECB4F}"/>
              </a:ext>
            </a:extLst>
          </p:cNvPr>
          <p:cNvSpPr txBox="1"/>
          <p:nvPr/>
        </p:nvSpPr>
        <p:spPr>
          <a:xfrm>
            <a:off x="4571658" y="3532366"/>
            <a:ext cx="28204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② </a:t>
            </a: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/>
              </a:rPr>
              <a:t>Top 5 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키워드의 뉴스 추이 제공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301C32-386E-435E-A681-AACE521D1E9B}"/>
              </a:ext>
            </a:extLst>
          </p:cNvPr>
          <p:cNvSpPr txBox="1"/>
          <p:nvPr/>
        </p:nvSpPr>
        <p:spPr>
          <a:xfrm>
            <a:off x="7809582" y="3514948"/>
            <a:ext cx="29669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③ </a:t>
            </a: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/>
              </a:rPr>
              <a:t>Top 5 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키워드의 상위 </a:t>
            </a:r>
            <a:r>
              <a:rPr lang="en-US" altLang="ko-KR" sz="1200" dirty="0">
                <a:solidFill>
                  <a:srgbClr val="000000"/>
                </a:solidFill>
                <a:latin typeface="Arial"/>
                <a:ea typeface="맑은 고딕"/>
              </a:rPr>
              <a:t>Hit </a:t>
            </a:r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기사 링크 제공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B1C0B45C-2C37-4FCC-B70D-05EA90D4D2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655" t="19659" r="10020" b="528"/>
          <a:stretch/>
        </p:blipFill>
        <p:spPr>
          <a:xfrm>
            <a:off x="8561106" y="3730460"/>
            <a:ext cx="1639404" cy="2565039"/>
          </a:xfrm>
          <a:prstGeom prst="rect">
            <a:avLst/>
          </a:prstGeom>
        </p:spPr>
      </p:pic>
      <p:sp>
        <p:nvSpPr>
          <p:cNvPr id="27" name="화살표: 오른쪽 26">
            <a:extLst>
              <a:ext uri="{FF2B5EF4-FFF2-40B4-BE49-F238E27FC236}">
                <a16:creationId xmlns:a16="http://schemas.microsoft.com/office/drawing/2014/main" id="{D07DF753-4DCC-4FF6-AB18-EF7106589D24}"/>
              </a:ext>
            </a:extLst>
          </p:cNvPr>
          <p:cNvSpPr/>
          <p:nvPr/>
        </p:nvSpPr>
        <p:spPr>
          <a:xfrm>
            <a:off x="7507971" y="4707726"/>
            <a:ext cx="504056" cy="39600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rgbClr val="FFFFFF"/>
              </a:solidFill>
              <a:latin typeface="Arial"/>
              <a:ea typeface="맑은 고딕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47FD4B0-EAF1-4EA6-9A55-30FE6B431DA7}"/>
              </a:ext>
            </a:extLst>
          </p:cNvPr>
          <p:cNvSpPr txBox="1"/>
          <p:nvPr/>
        </p:nvSpPr>
        <p:spPr>
          <a:xfrm>
            <a:off x="1631504" y="1084094"/>
            <a:ext cx="38164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ko-KR" altLang="en-US" sz="1400" b="1" dirty="0">
                <a:solidFill>
                  <a:srgbClr val="D04A02"/>
                </a:solidFill>
                <a:latin typeface="Arial"/>
                <a:ea typeface="맑은 고딕"/>
              </a:rPr>
              <a:t>한국언론진흥재단</a:t>
            </a:r>
            <a:r>
              <a:rPr lang="ko-KR" altLang="en-US" sz="1400" dirty="0">
                <a:solidFill>
                  <a:srgbClr val="D04A02"/>
                </a:solidFill>
                <a:latin typeface="Arial"/>
                <a:ea typeface="맑은 고딕"/>
              </a:rPr>
              <a:t> </a:t>
            </a:r>
            <a:r>
              <a:rPr lang="en-US" altLang="ko-KR" sz="1400" dirty="0">
                <a:solidFill>
                  <a:srgbClr val="D04A02"/>
                </a:solidFill>
                <a:latin typeface="Arial"/>
                <a:ea typeface="맑은 고딕"/>
              </a:rPr>
              <a:t>– </a:t>
            </a:r>
            <a:r>
              <a:rPr lang="ko-KR" altLang="en-US" sz="1400" dirty="0" err="1">
                <a:solidFill>
                  <a:srgbClr val="D04A02"/>
                </a:solidFill>
                <a:latin typeface="Arial"/>
                <a:ea typeface="맑은 고딕"/>
              </a:rPr>
              <a:t>뉴스토어</a:t>
            </a:r>
            <a:r>
              <a:rPr lang="ko-KR" altLang="en-US" sz="1400" dirty="0">
                <a:solidFill>
                  <a:srgbClr val="D04A02"/>
                </a:solidFill>
                <a:latin typeface="Arial"/>
                <a:ea typeface="맑은 고딕"/>
              </a:rPr>
              <a:t> </a:t>
            </a:r>
            <a:r>
              <a:rPr lang="en-US" altLang="ko-KR" sz="1400" dirty="0">
                <a:solidFill>
                  <a:srgbClr val="D04A02"/>
                </a:solidFill>
                <a:latin typeface="Arial"/>
                <a:ea typeface="맑은 고딕"/>
              </a:rPr>
              <a:t>API </a:t>
            </a:r>
            <a:r>
              <a:rPr lang="ko-KR" altLang="en-US" sz="1400" dirty="0">
                <a:solidFill>
                  <a:srgbClr val="D04A02"/>
                </a:solidFill>
                <a:latin typeface="Arial"/>
                <a:ea typeface="맑은 고딕"/>
              </a:rPr>
              <a:t>서비스 이용</a:t>
            </a:r>
            <a:endParaRPr lang="ko-KR" altLang="en-US" sz="1600" dirty="0">
              <a:solidFill>
                <a:srgbClr val="D04A02"/>
              </a:solidFill>
              <a:latin typeface="Arial"/>
              <a:ea typeface="맑은 고딕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976E0D5-30B0-4974-94AA-2C0289396869}"/>
              </a:ext>
            </a:extLst>
          </p:cNvPr>
          <p:cNvSpPr/>
          <p:nvPr/>
        </p:nvSpPr>
        <p:spPr>
          <a:xfrm>
            <a:off x="5087888" y="1684923"/>
            <a:ext cx="1728192" cy="4007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000000"/>
                </a:solidFill>
                <a:latin typeface="Arial"/>
                <a:ea typeface="맑은 고딕"/>
              </a:rPr>
              <a:t>뉴스데이터 제공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E4CC9AC6-D0E0-4E8A-8573-309700EBAD0B}"/>
              </a:ext>
            </a:extLst>
          </p:cNvPr>
          <p:cNvSpPr/>
          <p:nvPr/>
        </p:nvSpPr>
        <p:spPr>
          <a:xfrm>
            <a:off x="5087888" y="2236172"/>
            <a:ext cx="1728192" cy="4007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rgbClr val="000000"/>
                </a:solidFill>
                <a:latin typeface="Arial"/>
                <a:ea typeface="맑은 고딕"/>
              </a:rPr>
              <a:t>뉴스분석 </a:t>
            </a:r>
            <a:r>
              <a:rPr lang="en-US" altLang="ko-KR" sz="1200" b="1" dirty="0">
                <a:solidFill>
                  <a:srgbClr val="000000"/>
                </a:solidFill>
                <a:latin typeface="Arial"/>
                <a:ea typeface="맑은 고딕"/>
              </a:rPr>
              <a:t>API </a:t>
            </a:r>
            <a:r>
              <a:rPr lang="ko-KR" altLang="en-US" sz="1200" b="1" dirty="0">
                <a:solidFill>
                  <a:srgbClr val="000000"/>
                </a:solidFill>
                <a:latin typeface="Arial"/>
                <a:ea typeface="맑은 고딕"/>
              </a:rPr>
              <a:t>제공</a:t>
            </a:r>
          </a:p>
        </p:txBody>
      </p:sp>
      <p:cxnSp>
        <p:nvCxnSpPr>
          <p:cNvPr id="30" name="연결선: 꺾임 29">
            <a:extLst>
              <a:ext uri="{FF2B5EF4-FFF2-40B4-BE49-F238E27FC236}">
                <a16:creationId xmlns:a16="http://schemas.microsoft.com/office/drawing/2014/main" id="{EAB61E3A-FC27-417F-99D0-E5AFC50B1521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4511824" y="1885293"/>
            <a:ext cx="576064" cy="292872"/>
          </a:xfrm>
          <a:prstGeom prst="bentConnector3">
            <a:avLst/>
          </a:prstGeom>
          <a:ln w="12700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1" name="연결선: 꺾임 30">
            <a:extLst>
              <a:ext uri="{FF2B5EF4-FFF2-40B4-BE49-F238E27FC236}">
                <a16:creationId xmlns:a16="http://schemas.microsoft.com/office/drawing/2014/main" id="{D84F236E-5074-44FC-B7B4-EAE7068F325B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4511824" y="2178166"/>
            <a:ext cx="576064" cy="258377"/>
          </a:xfrm>
          <a:prstGeom prst="bentConnector3">
            <a:avLst/>
          </a:prstGeom>
          <a:ln w="12700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E92CA957-5DED-4748-AEC4-6134691850E7}"/>
              </a:ext>
            </a:extLst>
          </p:cNvPr>
          <p:cNvSpPr/>
          <p:nvPr/>
        </p:nvSpPr>
        <p:spPr>
          <a:xfrm>
            <a:off x="7176120" y="2271007"/>
            <a:ext cx="1728192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err="1">
                <a:solidFill>
                  <a:srgbClr val="000000"/>
                </a:solidFill>
                <a:latin typeface="Arial"/>
                <a:ea typeface="맑은 고딕"/>
              </a:rPr>
              <a:t>연관어</a:t>
            </a:r>
            <a:r>
              <a:rPr lang="ko-KR" altLang="en-US" sz="1100" b="1" dirty="0">
                <a:solidFill>
                  <a:srgbClr val="000000"/>
                </a:solidFill>
                <a:latin typeface="Arial"/>
                <a:ea typeface="맑은 고딕"/>
              </a:rPr>
              <a:t> 분석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48B0392E-A93C-4B8F-807A-0DDCC657F33F}"/>
              </a:ext>
            </a:extLst>
          </p:cNvPr>
          <p:cNvSpPr/>
          <p:nvPr/>
        </p:nvSpPr>
        <p:spPr>
          <a:xfrm>
            <a:off x="7176120" y="1863446"/>
            <a:ext cx="1728192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Arial"/>
                <a:ea typeface="맑은 고딕"/>
              </a:rPr>
              <a:t>뉴스검색</a:t>
            </a:r>
            <a:r>
              <a:rPr lang="en-US" altLang="ko-KR" sz="1000" dirty="0">
                <a:solidFill>
                  <a:srgbClr val="000000"/>
                </a:solidFill>
                <a:latin typeface="Arial"/>
                <a:ea typeface="맑은 고딕"/>
              </a:rPr>
              <a:t>(</a:t>
            </a:r>
            <a:r>
              <a:rPr lang="ko-KR" altLang="en-US" sz="1000" dirty="0">
                <a:solidFill>
                  <a:srgbClr val="000000"/>
                </a:solidFill>
                <a:latin typeface="Arial"/>
                <a:ea typeface="맑은 고딕"/>
              </a:rPr>
              <a:t>본문 제외</a:t>
            </a:r>
            <a:r>
              <a:rPr lang="en-US" altLang="ko-KR" sz="100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21E8CA19-03C0-4B56-BCE2-A379ABF5DA59}"/>
              </a:ext>
            </a:extLst>
          </p:cNvPr>
          <p:cNvSpPr/>
          <p:nvPr/>
        </p:nvSpPr>
        <p:spPr>
          <a:xfrm>
            <a:off x="7176120" y="2700211"/>
            <a:ext cx="1728192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>
                <a:solidFill>
                  <a:srgbClr val="000000"/>
                </a:solidFill>
                <a:latin typeface="Arial"/>
                <a:ea typeface="맑은 고딕"/>
              </a:rPr>
              <a:t>키워드 트렌드</a:t>
            </a:r>
          </a:p>
        </p:txBody>
      </p:sp>
      <p:cxnSp>
        <p:nvCxnSpPr>
          <p:cNvPr id="38" name="연결선: 꺾임 37">
            <a:extLst>
              <a:ext uri="{FF2B5EF4-FFF2-40B4-BE49-F238E27FC236}">
                <a16:creationId xmlns:a16="http://schemas.microsoft.com/office/drawing/2014/main" id="{CEB809C7-D80D-4D6A-B80C-2F6082FA2938}"/>
              </a:ext>
            </a:extLst>
          </p:cNvPr>
          <p:cNvCxnSpPr>
            <a:cxnSpLocks/>
            <a:stCxn id="28" idx="3"/>
            <a:endCxn id="36" idx="1"/>
          </p:cNvCxnSpPr>
          <p:nvPr/>
        </p:nvCxnSpPr>
        <p:spPr>
          <a:xfrm flipV="1">
            <a:off x="6816080" y="2025446"/>
            <a:ext cx="360040" cy="411096"/>
          </a:xfrm>
          <a:prstGeom prst="bentConnector3">
            <a:avLst/>
          </a:prstGeom>
          <a:ln w="12700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1" name="연결선: 꺾임 40">
            <a:extLst>
              <a:ext uri="{FF2B5EF4-FFF2-40B4-BE49-F238E27FC236}">
                <a16:creationId xmlns:a16="http://schemas.microsoft.com/office/drawing/2014/main" id="{FB073569-2083-4AAB-B6CD-A882249F36A2}"/>
              </a:ext>
            </a:extLst>
          </p:cNvPr>
          <p:cNvCxnSpPr>
            <a:cxnSpLocks/>
            <a:stCxn id="28" idx="3"/>
            <a:endCxn id="35" idx="1"/>
          </p:cNvCxnSpPr>
          <p:nvPr/>
        </p:nvCxnSpPr>
        <p:spPr>
          <a:xfrm flipV="1">
            <a:off x="6816080" y="2433008"/>
            <a:ext cx="360040" cy="3535"/>
          </a:xfrm>
          <a:prstGeom prst="bentConnector3">
            <a:avLst/>
          </a:prstGeom>
          <a:ln w="12700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4" name="연결선: 꺾임 43">
            <a:extLst>
              <a:ext uri="{FF2B5EF4-FFF2-40B4-BE49-F238E27FC236}">
                <a16:creationId xmlns:a16="http://schemas.microsoft.com/office/drawing/2014/main" id="{D985E2B1-86BF-4B83-97B7-D79450372688}"/>
              </a:ext>
            </a:extLst>
          </p:cNvPr>
          <p:cNvCxnSpPr>
            <a:cxnSpLocks/>
            <a:stCxn id="28" idx="3"/>
            <a:endCxn id="37" idx="1"/>
          </p:cNvCxnSpPr>
          <p:nvPr/>
        </p:nvCxnSpPr>
        <p:spPr>
          <a:xfrm>
            <a:off x="6816080" y="2436543"/>
            <a:ext cx="360040" cy="425669"/>
          </a:xfrm>
          <a:prstGeom prst="bentConnector3">
            <a:avLst/>
          </a:prstGeom>
          <a:ln w="12700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5362" name="Picture 2" descr="Check, done">
            <a:extLst>
              <a:ext uri="{FF2B5EF4-FFF2-40B4-BE49-F238E27FC236}">
                <a16:creationId xmlns:a16="http://schemas.microsoft.com/office/drawing/2014/main" id="{79B94978-7C16-49BD-90A0-A60CABAB9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846" y="2134288"/>
            <a:ext cx="265227" cy="280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Check, done">
            <a:extLst>
              <a:ext uri="{FF2B5EF4-FFF2-40B4-BE49-F238E27FC236}">
                <a16:creationId xmlns:a16="http://schemas.microsoft.com/office/drawing/2014/main" id="{248567D9-2A77-4275-9CBA-AF1453E24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429" y="1789041"/>
            <a:ext cx="265227" cy="280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Check, done">
            <a:extLst>
              <a:ext uri="{FF2B5EF4-FFF2-40B4-BE49-F238E27FC236}">
                <a16:creationId xmlns:a16="http://schemas.microsoft.com/office/drawing/2014/main" id="{991A5103-89D8-4799-A78D-8703C6AA7B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429" y="2239701"/>
            <a:ext cx="265227" cy="280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Check, done">
            <a:extLst>
              <a:ext uri="{FF2B5EF4-FFF2-40B4-BE49-F238E27FC236}">
                <a16:creationId xmlns:a16="http://schemas.microsoft.com/office/drawing/2014/main" id="{E18CB48D-EEDD-405B-B9B6-AADB463FD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429" y="2702973"/>
            <a:ext cx="265227" cy="280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8DCD5D1-5094-4703-8CBF-E0AF91AC8166}"/>
              </a:ext>
            </a:extLst>
          </p:cNvPr>
          <p:cNvSpPr txBox="1"/>
          <p:nvPr/>
        </p:nvSpPr>
        <p:spPr>
          <a:xfrm>
            <a:off x="9120336" y="2024699"/>
            <a:ext cx="1728192" cy="807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b="1" dirty="0">
                <a:solidFill>
                  <a:srgbClr val="000000"/>
                </a:solidFill>
                <a:latin typeface="Arial"/>
                <a:ea typeface="맑은 고딕"/>
              </a:rPr>
              <a:t>※ API</a:t>
            </a:r>
            <a:r>
              <a:rPr lang="ko-KR" altLang="en-US" sz="1000" b="1" dirty="0">
                <a:solidFill>
                  <a:srgbClr val="000000"/>
                </a:solidFill>
                <a:latin typeface="Arial"/>
                <a:ea typeface="맑은 고딕"/>
              </a:rPr>
              <a:t> 서비스 이용금액</a:t>
            </a:r>
            <a:br>
              <a:rPr lang="en-US" altLang="ko-KR" sz="10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   - 10,000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회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(3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백만원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b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   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- 20,000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회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(4.8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백만원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b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   - 50,000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회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(10.5</a:t>
            </a:r>
            <a:r>
              <a:rPr lang="ko-KR" altLang="en-US" sz="900" dirty="0">
                <a:solidFill>
                  <a:srgbClr val="000000"/>
                </a:solidFill>
                <a:latin typeface="Arial"/>
                <a:ea typeface="맑은 고딕"/>
              </a:rPr>
              <a:t>백만원</a:t>
            </a:r>
            <a: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  <a:br>
              <a:rPr lang="en-US" altLang="ko-KR" sz="9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ko-KR" altLang="en-US" sz="900" i="1" dirty="0">
                <a:solidFill>
                  <a:srgbClr val="000000"/>
                </a:solidFill>
                <a:latin typeface="Arial"/>
                <a:ea typeface="맑은 고딕"/>
              </a:rPr>
              <a:t>* 구매 후 </a:t>
            </a:r>
            <a:r>
              <a:rPr lang="en-US" altLang="ko-KR" sz="900" i="1" dirty="0">
                <a:solidFill>
                  <a:srgbClr val="000000"/>
                </a:solidFill>
                <a:latin typeface="Arial"/>
                <a:ea typeface="맑은 고딕"/>
              </a:rPr>
              <a:t>5</a:t>
            </a:r>
            <a:r>
              <a:rPr lang="ko-KR" altLang="en-US" sz="900" i="1" dirty="0">
                <a:solidFill>
                  <a:srgbClr val="000000"/>
                </a:solidFill>
                <a:latin typeface="Arial"/>
                <a:ea typeface="맑은 고딕"/>
              </a:rPr>
              <a:t>년 이내 사용</a:t>
            </a:r>
            <a:endParaRPr lang="en-US" altLang="ko-KR" sz="1050" i="1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E4E9F5D-8FA7-4BB4-9B4F-760F22FADA49}"/>
              </a:ext>
            </a:extLst>
          </p:cNvPr>
          <p:cNvSpPr txBox="1"/>
          <p:nvPr/>
        </p:nvSpPr>
        <p:spPr>
          <a:xfrm>
            <a:off x="1631504" y="3196268"/>
            <a:ext cx="38164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ko-KR" altLang="en-US" sz="1400" b="1" dirty="0">
                <a:solidFill>
                  <a:srgbClr val="D04A02"/>
                </a:solidFill>
                <a:latin typeface="Arial"/>
                <a:ea typeface="맑은 고딕"/>
              </a:rPr>
              <a:t>「</a:t>
            </a:r>
            <a:r>
              <a:rPr lang="ko-KR" altLang="en-US" sz="1400" b="1" dirty="0" err="1">
                <a:solidFill>
                  <a:srgbClr val="D04A02"/>
                </a:solidFill>
                <a:latin typeface="Arial"/>
                <a:ea typeface="맑은 고딕"/>
              </a:rPr>
              <a:t>뉴스토어</a:t>
            </a:r>
            <a:r>
              <a:rPr lang="ko-KR" altLang="en-US" sz="1400" b="1" dirty="0">
                <a:solidFill>
                  <a:srgbClr val="D04A02"/>
                </a:solidFill>
                <a:latin typeface="Arial"/>
                <a:ea typeface="맑은 고딕"/>
              </a:rPr>
              <a:t> </a:t>
            </a:r>
            <a:r>
              <a:rPr lang="en-US" altLang="ko-KR" sz="1400" b="1" dirty="0">
                <a:solidFill>
                  <a:srgbClr val="D04A02"/>
                </a:solidFill>
                <a:latin typeface="Arial"/>
                <a:ea typeface="맑은 고딕"/>
              </a:rPr>
              <a:t>API</a:t>
            </a:r>
            <a:r>
              <a:rPr lang="ko-KR" altLang="en-US" sz="1400" b="1" dirty="0">
                <a:solidFill>
                  <a:srgbClr val="D04A02"/>
                </a:solidFill>
                <a:latin typeface="Arial"/>
                <a:ea typeface="맑은 고딕"/>
              </a:rPr>
              <a:t>」를 활용한 서비스 방안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BEA905A-EFBF-483A-94F7-E14D5170F040}"/>
              </a:ext>
            </a:extLst>
          </p:cNvPr>
          <p:cNvSpPr/>
          <p:nvPr/>
        </p:nvSpPr>
        <p:spPr>
          <a:xfrm>
            <a:off x="3156188" y="5103726"/>
            <a:ext cx="1224136" cy="11404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"ESG or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지속가능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”</a:t>
            </a:r>
          </a:p>
          <a:p>
            <a:pPr algn="ctr"/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1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위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.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보고서</a:t>
            </a:r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2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위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.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지배구조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3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위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. ESG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분야별 성과</a:t>
            </a:r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4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위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. MSCI</a:t>
            </a:r>
          </a:p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5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위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. SKC</a:t>
            </a:r>
            <a:endParaRPr lang="ko-KR" altLang="en-US" sz="800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17" name="화살표: 오른쪽 16">
            <a:extLst>
              <a:ext uri="{FF2B5EF4-FFF2-40B4-BE49-F238E27FC236}">
                <a16:creationId xmlns:a16="http://schemas.microsoft.com/office/drawing/2014/main" id="{581A5124-0B13-47F8-82D4-1B75F5C046FB}"/>
              </a:ext>
            </a:extLst>
          </p:cNvPr>
          <p:cNvSpPr/>
          <p:nvPr/>
        </p:nvSpPr>
        <p:spPr>
          <a:xfrm>
            <a:off x="4079776" y="4707726"/>
            <a:ext cx="504056" cy="39600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rgbClr val="FFFFFF"/>
              </a:solidFill>
              <a:latin typeface="Arial"/>
              <a:ea typeface="맑은 고딕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EA12E34D-A94C-4F31-88E9-FF628858C20D}"/>
              </a:ext>
            </a:extLst>
          </p:cNvPr>
          <p:cNvSpPr/>
          <p:nvPr/>
        </p:nvSpPr>
        <p:spPr>
          <a:xfrm>
            <a:off x="6299602" y="5103726"/>
            <a:ext cx="1224136" cy="11404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“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지배구조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“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ko-KR" altLang="en-US" sz="800" dirty="0" err="1">
                <a:solidFill>
                  <a:srgbClr val="000000"/>
                </a:solidFill>
                <a:latin typeface="Arial"/>
                <a:ea typeface="맑은 고딕"/>
              </a:rPr>
              <a:t>일자별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 뉴스 건수 추이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ko-KR" altLang="en-US" sz="800" i="1" dirty="0">
                <a:solidFill>
                  <a:srgbClr val="000000"/>
                </a:solidFill>
                <a:latin typeface="Arial"/>
                <a:ea typeface="맑은 고딕"/>
              </a:rPr>
              <a:t>→ 웹페이지 시각화 구현하여 제공 가능</a:t>
            </a:r>
            <a:endParaRPr lang="en-US" altLang="ko-KR" sz="800" i="1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89E78D0B-577B-4000-B290-64BF023E903B}"/>
              </a:ext>
            </a:extLst>
          </p:cNvPr>
          <p:cNvSpPr/>
          <p:nvPr/>
        </p:nvSpPr>
        <p:spPr>
          <a:xfrm>
            <a:off x="9588442" y="5103726"/>
            <a:ext cx="1224136" cy="11404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“ESG and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지배구조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“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endParaRPr lang="en-US" altLang="ko-KR" sz="800" dirty="0">
              <a:solidFill>
                <a:srgbClr val="000000"/>
              </a:solidFill>
              <a:latin typeface="Arial"/>
              <a:ea typeface="맑은 고딕"/>
            </a:endParaRPr>
          </a:p>
          <a:p>
            <a:pPr algn="ctr"/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지배구조 관련 뉴스를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조회 많은 순으로 제공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(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제목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,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일자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, </a:t>
            </a: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링크</a:t>
            </a:r>
            <a:b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</a:br>
            <a:r>
              <a:rPr lang="ko-KR" altLang="en-US" sz="800" dirty="0">
                <a:solidFill>
                  <a:srgbClr val="000000"/>
                </a:solidFill>
                <a:latin typeface="Arial"/>
                <a:ea typeface="맑은 고딕"/>
              </a:rPr>
              <a:t>정보 포함</a:t>
            </a:r>
            <a:r>
              <a:rPr lang="en-US" altLang="ko-KR" sz="800" dirty="0">
                <a:solidFill>
                  <a:srgbClr val="000000"/>
                </a:solidFill>
                <a:latin typeface="Arial"/>
                <a:ea typeface="맑은 고딕"/>
              </a:rPr>
              <a:t>)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61B3A3C9-B6FF-4F2B-BD6C-FE41BF205D9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706"/>
          <a:stretch/>
        </p:blipFill>
        <p:spPr>
          <a:xfrm>
            <a:off x="1607664" y="1456780"/>
            <a:ext cx="2904161" cy="1612180"/>
          </a:xfrm>
          <a:prstGeom prst="rect">
            <a:avLst/>
          </a:prstGeom>
          <a:ln w="285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044388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4283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B92A537-E4B5-4F6E-AC0C-DC326FB06E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45785" y="1601514"/>
            <a:ext cx="1741141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실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CC16BCB-D05D-4647-A9A8-5A60F81B25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54111" y="1687772"/>
            <a:ext cx="915021" cy="241691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보기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</a:t>
            </a: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548CF8DA-CCB4-4C7D-9559-DAAD5F87C4D9}"/>
              </a:ext>
            </a:extLst>
          </p:cNvPr>
          <p:cNvCxnSpPr>
            <a:cxnSpLocks/>
          </p:cNvCxnSpPr>
          <p:nvPr/>
        </p:nvCxnSpPr>
        <p:spPr>
          <a:xfrm>
            <a:off x="529920" y="1987099"/>
            <a:ext cx="46299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DD9A17EB-88E5-4825-ADCA-59EA45DB2CF4}"/>
              </a:ext>
            </a:extLst>
          </p:cNvPr>
          <p:cNvSpPr/>
          <p:nvPr/>
        </p:nvSpPr>
        <p:spPr>
          <a:xfrm>
            <a:off x="5435161" y="4224068"/>
            <a:ext cx="3379782" cy="11636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E77B5C45-AD2C-488F-B971-92E8721E5BF6}"/>
              </a:ext>
            </a:extLst>
          </p:cNvPr>
          <p:cNvCxnSpPr/>
          <p:nvPr/>
        </p:nvCxnSpPr>
        <p:spPr>
          <a:xfrm>
            <a:off x="341695" y="1268760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4B13D4AE-867F-4C02-8C78-FE2DC0F43A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451911" y="4224068"/>
            <a:ext cx="1741141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구독 신청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39C60C80-6D79-4A63-B513-1B65B3C83D25}"/>
              </a:ext>
            </a:extLst>
          </p:cNvPr>
          <p:cNvSpPr/>
          <p:nvPr/>
        </p:nvSpPr>
        <p:spPr>
          <a:xfrm>
            <a:off x="529920" y="2071537"/>
            <a:ext cx="4635130" cy="323578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D38BD75-9EAE-43D2-AC16-2AEB479F62F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29896" y="2099540"/>
            <a:ext cx="4635128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이드라인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      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제도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                         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연구〮보고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1" name="직선 연결선 90">
            <a:extLst>
              <a:ext uri="{FF2B5EF4-FFF2-40B4-BE49-F238E27FC236}">
                <a16:creationId xmlns:a16="http://schemas.microsoft.com/office/drawing/2014/main" id="{750659F6-8437-40C4-BC3E-6088F27DA671}"/>
              </a:ext>
            </a:extLst>
          </p:cNvPr>
          <p:cNvCxnSpPr>
            <a:cxnSpLocks/>
          </p:cNvCxnSpPr>
          <p:nvPr/>
        </p:nvCxnSpPr>
        <p:spPr>
          <a:xfrm>
            <a:off x="738900" y="2470438"/>
            <a:ext cx="4260491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" name="직선 연결선 91">
            <a:extLst>
              <a:ext uri="{FF2B5EF4-FFF2-40B4-BE49-F238E27FC236}">
                <a16:creationId xmlns:a16="http://schemas.microsoft.com/office/drawing/2014/main" id="{0F1E4D1F-D36E-4B1F-9C25-E2D2395904AC}"/>
              </a:ext>
            </a:extLst>
          </p:cNvPr>
          <p:cNvCxnSpPr>
            <a:cxnSpLocks/>
          </p:cNvCxnSpPr>
          <p:nvPr/>
        </p:nvCxnSpPr>
        <p:spPr>
          <a:xfrm>
            <a:off x="642060" y="2470438"/>
            <a:ext cx="1108629" cy="0"/>
          </a:xfrm>
          <a:prstGeom prst="line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6225BD0E-AA0B-4ECD-8320-E317500EAB01}"/>
              </a:ext>
            </a:extLst>
          </p:cNvPr>
          <p:cNvSpPr/>
          <p:nvPr/>
        </p:nvSpPr>
        <p:spPr>
          <a:xfrm>
            <a:off x="707699" y="2575777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1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18125AF5-0F58-4935-92C5-DF2F2A02C28E}"/>
              </a:ext>
            </a:extLst>
          </p:cNvPr>
          <p:cNvSpPr/>
          <p:nvPr/>
        </p:nvSpPr>
        <p:spPr>
          <a:xfrm>
            <a:off x="707699" y="2844418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2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6AAB98E-A16D-4D3D-8E1E-10E2C687D249}"/>
              </a:ext>
            </a:extLst>
          </p:cNvPr>
          <p:cNvSpPr/>
          <p:nvPr/>
        </p:nvSpPr>
        <p:spPr>
          <a:xfrm>
            <a:off x="707699" y="3113059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3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7EC12493-D24A-4826-85BB-296AEE47ADCC}"/>
              </a:ext>
            </a:extLst>
          </p:cNvPr>
          <p:cNvSpPr/>
          <p:nvPr/>
        </p:nvSpPr>
        <p:spPr>
          <a:xfrm>
            <a:off x="707699" y="3381700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4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6E39912D-6134-4D0E-9217-4E68E5AD9B77}"/>
              </a:ext>
            </a:extLst>
          </p:cNvPr>
          <p:cNvSpPr/>
          <p:nvPr/>
        </p:nvSpPr>
        <p:spPr>
          <a:xfrm>
            <a:off x="707699" y="3650341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5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FE59AC52-3F3C-428B-9525-0537ACA7854E}"/>
              </a:ext>
            </a:extLst>
          </p:cNvPr>
          <p:cNvSpPr/>
          <p:nvPr/>
        </p:nvSpPr>
        <p:spPr>
          <a:xfrm>
            <a:off x="707699" y="3918982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6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2DE3AD45-B749-45D0-919B-9D387BCB5B71}"/>
              </a:ext>
            </a:extLst>
          </p:cNvPr>
          <p:cNvSpPr/>
          <p:nvPr/>
        </p:nvSpPr>
        <p:spPr>
          <a:xfrm>
            <a:off x="707699" y="4187623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7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D251CAED-A4AC-432B-B1B2-79FE7CBC960F}"/>
              </a:ext>
            </a:extLst>
          </p:cNvPr>
          <p:cNvSpPr/>
          <p:nvPr/>
        </p:nvSpPr>
        <p:spPr>
          <a:xfrm>
            <a:off x="707699" y="4456264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8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98F2F5F0-64B8-4373-88A0-78624E08E466}"/>
              </a:ext>
            </a:extLst>
          </p:cNvPr>
          <p:cNvSpPr/>
          <p:nvPr/>
        </p:nvSpPr>
        <p:spPr>
          <a:xfrm>
            <a:off x="707699" y="4724905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9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C7E05272-9A26-4844-B1D2-EC1D4BF20432}"/>
              </a:ext>
            </a:extLst>
          </p:cNvPr>
          <p:cNvSpPr/>
          <p:nvPr/>
        </p:nvSpPr>
        <p:spPr>
          <a:xfrm>
            <a:off x="707699" y="4993542"/>
            <a:ext cx="246857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10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5F9F88DD-4097-4CB3-A28A-A129CBF40EFB}"/>
              </a:ext>
            </a:extLst>
          </p:cNvPr>
          <p:cNvSpPr/>
          <p:nvPr/>
        </p:nvSpPr>
        <p:spPr>
          <a:xfrm>
            <a:off x="935591" y="2561691"/>
            <a:ext cx="4189057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1: Foundation 202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42D9001C-1D3A-4169-9294-52A88FB770AC}"/>
              </a:ext>
            </a:extLst>
          </p:cNvPr>
          <p:cNvSpPr/>
          <p:nvPr/>
        </p:nvSpPr>
        <p:spPr>
          <a:xfrm>
            <a:off x="935591" y="2813574"/>
            <a:ext cx="4044165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2: General Disclosures 2021</a:t>
            </a: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249832CB-830B-42BC-B1E4-BD2272143A4E}"/>
              </a:ext>
            </a:extLst>
          </p:cNvPr>
          <p:cNvSpPr/>
          <p:nvPr/>
        </p:nvSpPr>
        <p:spPr>
          <a:xfrm>
            <a:off x="935591" y="3083387"/>
            <a:ext cx="4044165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3: Material Topics 2021</a:t>
            </a: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C0BAF651-AFE4-4B58-8B4B-CEABDC40EFD6}"/>
              </a:ext>
            </a:extLst>
          </p:cNvPr>
          <p:cNvSpPr/>
          <p:nvPr/>
        </p:nvSpPr>
        <p:spPr>
          <a:xfrm>
            <a:off x="935591" y="3362165"/>
            <a:ext cx="4044165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11: Oil and Gas Sector 2021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7D131F1A-8926-41CF-A066-6A6EDE73749B}"/>
              </a:ext>
            </a:extLst>
          </p:cNvPr>
          <p:cNvSpPr/>
          <p:nvPr/>
        </p:nvSpPr>
        <p:spPr>
          <a:xfrm>
            <a:off x="935591" y="3623013"/>
            <a:ext cx="4044165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12: Coal Sector 2022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FFEC44FB-C913-4FE9-9BDD-7DF68CD03F26}"/>
              </a:ext>
            </a:extLst>
          </p:cNvPr>
          <p:cNvSpPr/>
          <p:nvPr/>
        </p:nvSpPr>
        <p:spPr>
          <a:xfrm>
            <a:off x="935591" y="3892826"/>
            <a:ext cx="4147949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GRI 13: Agriculture, Aquaculture and Fishing…</a:t>
            </a: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71EDF285-4533-4B8D-8A6F-FC2CD5BA7652}"/>
              </a:ext>
            </a:extLst>
          </p:cNvPr>
          <p:cNvSpPr/>
          <p:nvPr/>
        </p:nvSpPr>
        <p:spPr>
          <a:xfrm>
            <a:off x="935591" y="4162639"/>
            <a:ext cx="4147949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ASB : Apparel, Accessories &amp; Footwear</a:t>
            </a: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E8141F74-E92C-41E8-BCE3-4B9DA8B8A533}"/>
              </a:ext>
            </a:extLst>
          </p:cNvPr>
          <p:cNvSpPr/>
          <p:nvPr/>
        </p:nvSpPr>
        <p:spPr>
          <a:xfrm>
            <a:off x="935591" y="4432452"/>
            <a:ext cx="4147949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ASB : Building Products &amp; Furnishings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6FD99865-671E-4A6A-BB5D-8AB990539022}"/>
              </a:ext>
            </a:extLst>
          </p:cNvPr>
          <p:cNvSpPr/>
          <p:nvPr/>
        </p:nvSpPr>
        <p:spPr>
          <a:xfrm>
            <a:off x="935591" y="4702265"/>
            <a:ext cx="4147949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ASB : Household &amp; Personal Products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0DA71CCE-615E-4575-92C6-636AF1C9C17B}"/>
              </a:ext>
            </a:extLst>
          </p:cNvPr>
          <p:cNvSpPr/>
          <p:nvPr/>
        </p:nvSpPr>
        <p:spPr>
          <a:xfrm>
            <a:off x="935591" y="4972078"/>
            <a:ext cx="4147949" cy="1940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ASB : E-Commerce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AF90730-C2BB-468F-92F6-4FEEE3370257}"/>
              </a:ext>
            </a:extLst>
          </p:cNvPr>
          <p:cNvSpPr/>
          <p:nvPr/>
        </p:nvSpPr>
        <p:spPr>
          <a:xfrm>
            <a:off x="468445" y="1631060"/>
            <a:ext cx="4812097" cy="3814161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47" name="표 10">
            <a:extLst>
              <a:ext uri="{FF2B5EF4-FFF2-40B4-BE49-F238E27FC236}">
                <a16:creationId xmlns:a16="http://schemas.microsoft.com/office/drawing/2014/main" id="{764E0139-E6CB-4A10-9C47-619A0AFC9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047824"/>
              </p:ext>
            </p:extLst>
          </p:nvPr>
        </p:nvGraphicFramePr>
        <p:xfrm>
          <a:off x="9267391" y="759198"/>
          <a:ext cx="2922885" cy="54689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00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5884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851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L005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보고 탭으로 구분하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순 기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리스트 자동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8906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 구독 신청 배너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 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미지 영역으로 배너 클릭 시 회원 상태별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 로그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회원만  구독신청이 가능합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② 로그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수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- $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객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, $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주소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뉴스레터를 신청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시겠습니까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 확인 버튼 클릭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 뉴스레터 구독이 신청되었습니다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 구독 신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19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③ 로그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수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- 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객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님 이메일로 뉴스레터 구독 신청 내역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7047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홍보배너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정영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미지 배너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센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배너 클릭 시  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11"/>
                        </a:rPr>
                        <a:t>https://www.pwc.com/kr/ko/services/governance-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11"/>
                        </a:rPr>
                        <a:t>   center.html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ink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너 클릭 시   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12"/>
                        </a:rPr>
                        <a:t>    https://www.samilacademy.com/main/main.do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218063"/>
                  </a:ext>
                </a:extLst>
              </a:tr>
            </a:tbl>
          </a:graphicData>
        </a:graphic>
      </p:graphicFrame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86E712F3-23FE-4859-8091-185FB78EA8BA}"/>
              </a:ext>
            </a:extLst>
          </p:cNvPr>
          <p:cNvSpPr/>
          <p:nvPr/>
        </p:nvSpPr>
        <p:spPr>
          <a:xfrm>
            <a:off x="430098" y="1566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B44A9034-CC80-4FDC-8B64-43E9F78E0BD9}"/>
              </a:ext>
            </a:extLst>
          </p:cNvPr>
          <p:cNvSpPr/>
          <p:nvPr/>
        </p:nvSpPr>
        <p:spPr>
          <a:xfrm>
            <a:off x="5374180" y="4131518"/>
            <a:ext cx="3494629" cy="1313703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F8E06597-5A3F-47F5-B496-D82F49FE8322}"/>
              </a:ext>
            </a:extLst>
          </p:cNvPr>
          <p:cNvSpPr/>
          <p:nvPr/>
        </p:nvSpPr>
        <p:spPr>
          <a:xfrm>
            <a:off x="5382468" y="1631059"/>
            <a:ext cx="3494629" cy="2418311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2289929D-33BC-44F1-ABBD-1B2320BDD3FE}"/>
              </a:ext>
            </a:extLst>
          </p:cNvPr>
          <p:cNvSpPr/>
          <p:nvPr/>
        </p:nvSpPr>
        <p:spPr>
          <a:xfrm>
            <a:off x="5309987" y="155937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A590EF78-A6AD-40B1-A081-638E60676624}"/>
              </a:ext>
            </a:extLst>
          </p:cNvPr>
          <p:cNvSpPr/>
          <p:nvPr/>
        </p:nvSpPr>
        <p:spPr>
          <a:xfrm>
            <a:off x="5382468" y="41068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D8AA9CFE-040E-42C2-923C-7D02AE6D3C0B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6" name="그림 65">
              <a:extLst>
                <a:ext uri="{FF2B5EF4-FFF2-40B4-BE49-F238E27FC236}">
                  <a16:creationId xmlns:a16="http://schemas.microsoft.com/office/drawing/2014/main" id="{929FA6B2-B1CA-4E58-B88F-A7E21A5298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8904BBDA-ED32-46C5-894C-E6489B9EA3F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0" name="그림 69">
              <a:extLst>
                <a:ext uri="{FF2B5EF4-FFF2-40B4-BE49-F238E27FC236}">
                  <a16:creationId xmlns:a16="http://schemas.microsoft.com/office/drawing/2014/main" id="{D8DC9153-532A-4746-835A-FDC06C9ECF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B30C6574-26AA-47C3-A5AC-B876289883DE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82C9A83A-D02F-420B-946B-D0D8B14B4CF3}"/>
              </a:ext>
            </a:extLst>
          </p:cNvPr>
          <p:cNvSpPr/>
          <p:nvPr/>
        </p:nvSpPr>
        <p:spPr>
          <a:xfrm>
            <a:off x="5418260" y="1701670"/>
            <a:ext cx="3379782" cy="11087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6D0AEBC-E1C2-44D5-A2A6-6D59A8680BE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513726" y="1802886"/>
            <a:ext cx="3043576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적의 기업지배구조를 향한 기업의 여정에 함께 합니다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9368CCD-4950-4322-8E8C-81F66F6C0A8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96523" y="2143962"/>
            <a:ext cx="218215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 </a:t>
            </a:r>
            <a:r>
              <a:rPr lang="ko-KR" altLang="en-US" sz="14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센터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2F94DCAD-4E02-4474-A8D5-AC1746BAC5AD}"/>
              </a:ext>
            </a:extLst>
          </p:cNvPr>
          <p:cNvSpPr/>
          <p:nvPr/>
        </p:nvSpPr>
        <p:spPr>
          <a:xfrm>
            <a:off x="5440533" y="2894289"/>
            <a:ext cx="3379782" cy="11087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330F723-5292-4706-9EBC-CEA4B23306D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49923" y="2874514"/>
            <a:ext cx="3152775" cy="990600"/>
          </a:xfrm>
          <a:prstGeom prst="rect">
            <a:avLst/>
          </a:prstGeom>
        </p:spPr>
      </p:pic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B6052EE-DB41-4A5A-8092-6C59D58DBA8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496523" y="3028130"/>
            <a:ext cx="3529478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>
              <a:lnSpc>
                <a:spcPct val="134000"/>
              </a:lnSpc>
            </a:pP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아카데미 통합플랫폼의 </a:t>
            </a:r>
            <a:r>
              <a:rPr lang="ko-KR" altLang="en-US" sz="8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이름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</a:t>
            </a:r>
          </a:p>
          <a:p>
            <a:pPr latinLnBrk="0">
              <a:lnSpc>
                <a:spcPct val="134000"/>
              </a:lnSpc>
            </a:pP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강사와 수강생이 함께 성장하는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llaborative Learnin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</a:t>
            </a:r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E1B8673-B6D3-4B77-894E-025CE877E9C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534723" y="3463245"/>
            <a:ext cx="218215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4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Link</a:t>
            </a: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C14E8FF1-D87C-4BCE-8BCE-C97D43253378}"/>
              </a:ext>
            </a:extLst>
          </p:cNvPr>
          <p:cNvSpPr/>
          <p:nvPr/>
        </p:nvSpPr>
        <p:spPr>
          <a:xfrm>
            <a:off x="9240095" y="-29940"/>
            <a:ext cx="2950181" cy="54101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이미지 배너 영역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2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로 분리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클릭 시 개별 사이트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새창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출력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8036428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직사각형 40">
            <a:extLst>
              <a:ext uri="{FF2B5EF4-FFF2-40B4-BE49-F238E27FC236}">
                <a16:creationId xmlns:a16="http://schemas.microsoft.com/office/drawing/2014/main" id="{E997C85B-BC58-41C3-8383-174646CF9A2F}"/>
              </a:ext>
            </a:extLst>
          </p:cNvPr>
          <p:cNvSpPr/>
          <p:nvPr/>
        </p:nvSpPr>
        <p:spPr>
          <a:xfrm>
            <a:off x="6371055" y="2962446"/>
            <a:ext cx="2366381" cy="9419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t" anchorCtr="0"/>
          <a:lstStyle/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주요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공시별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기준 적용과 활용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주요 기관별 평가 방법론과 기준 비교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지속가능경영보고서 인증 이론 및 사례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SG </a:t>
            </a:r>
            <a:r>
              <a:rPr lang="ko-KR" altLang="en-US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채권</a:t>
            </a:r>
            <a:r>
              <a:rPr lang="en-US" altLang="ko-KR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, </a:t>
            </a:r>
            <a:r>
              <a:rPr lang="ko-KR" altLang="en-US" sz="9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펀드 인증 이론 및 사례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1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에서 제공하는 주제별 특강과 당사에서 제공가능한 교육 프로그램을 간략하게 요약 소개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영상클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편집된 세미나 영상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영상파일을 볼 수 있도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L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자료 상세 화면을 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향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</a:p>
        </p:txBody>
      </p:sp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484784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26840A-1535-492C-83CC-F662D406CF69}"/>
              </a:ext>
            </a:extLst>
          </p:cNvPr>
          <p:cNvSpPr txBox="1"/>
          <p:nvPr/>
        </p:nvSpPr>
        <p:spPr>
          <a:xfrm>
            <a:off x="484864" y="1899265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 유형별 맞춤형 커리큘럼</a:t>
            </a: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15DB06C0-BC20-47DE-9E8C-E231460C4FD4}"/>
              </a:ext>
            </a:extLst>
          </p:cNvPr>
          <p:cNvSpPr/>
          <p:nvPr/>
        </p:nvSpPr>
        <p:spPr>
          <a:xfrm>
            <a:off x="527217" y="2141942"/>
            <a:ext cx="8220910" cy="474755"/>
          </a:xfrm>
          <a:prstGeom prst="rect">
            <a:avLst/>
          </a:prstGeom>
          <a:solidFill>
            <a:srgbClr val="F2F2F2">
              <a:alpha val="50196"/>
            </a:srgb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t">
            <a:noAutofit/>
          </a:bodyPr>
          <a:lstStyle/>
          <a:p>
            <a:pPr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무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 과정으로 구분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 커리큘럼을 통해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내재화를 지원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커리큘럼을 기업 현황에 맞게 선택하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1 Day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 과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로 구성하여 제공할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9F7257D-0627-4419-A685-F139E0AA04D0}"/>
              </a:ext>
            </a:extLst>
          </p:cNvPr>
          <p:cNvSpPr/>
          <p:nvPr/>
        </p:nvSpPr>
        <p:spPr>
          <a:xfrm>
            <a:off x="623392" y="2716539"/>
            <a:ext cx="2205466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기본과정</a:t>
            </a: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37056488-41B1-4F73-9B26-5027322CFCAA}"/>
              </a:ext>
            </a:extLst>
          </p:cNvPr>
          <p:cNvSpPr/>
          <p:nvPr/>
        </p:nvSpPr>
        <p:spPr>
          <a:xfrm>
            <a:off x="3445067" y="2716539"/>
            <a:ext cx="2355478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실무과정</a:t>
            </a: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8590BD13-0976-419C-BF6F-ECC41B54A768}"/>
              </a:ext>
            </a:extLst>
          </p:cNvPr>
          <p:cNvSpPr/>
          <p:nvPr/>
        </p:nvSpPr>
        <p:spPr>
          <a:xfrm>
            <a:off x="623392" y="2962446"/>
            <a:ext cx="2205466" cy="9419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ESG </a:t>
            </a:r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이해와 역사</a:t>
            </a:r>
            <a:r>
              <a:rPr lang="en-US" altLang="ko-KR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, </a:t>
            </a:r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국내외 동향</a:t>
            </a:r>
            <a:endParaRPr lang="en-US" altLang="ko-KR" sz="900" b="1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ESG </a:t>
            </a:r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경영의 개념</a:t>
            </a:r>
            <a:endParaRPr lang="en-US" altLang="ko-KR" sz="900" b="1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주요 공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·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평가의 이해</a:t>
            </a:r>
            <a:endParaRPr lang="en-US" altLang="ko-KR" sz="9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기후변화에 대한 대응노력</a:t>
            </a:r>
            <a:endParaRPr lang="en-US" altLang="ko-KR" sz="900" b="1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 marL="92075" indent="-92075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지속가능 금융의 배경 및 이해</a:t>
            </a: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1DC89F35-B71A-452C-B4D4-D762233BA640}"/>
              </a:ext>
            </a:extLst>
          </p:cNvPr>
          <p:cNvSpPr/>
          <p:nvPr/>
        </p:nvSpPr>
        <p:spPr>
          <a:xfrm>
            <a:off x="3442752" y="2962446"/>
            <a:ext cx="2366381" cy="9419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ctr" anchorCtr="0"/>
          <a:lstStyle/>
          <a:p>
            <a:pPr marL="92075" marR="0" lvl="0" indent="-92075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경영전략과 계획 수립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marR="0" lvl="0" indent="-92075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경영체계와 의사결정체계 수립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marR="0" lvl="0" indent="-92075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탄소 배출량 측정 및 관리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marR="0" lvl="0" indent="-92075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공급망 관리의 이해와 적용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92075" marR="0" lvl="0" indent="-92075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기후 리스크 산출 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1" name="더하기 기호 10">
            <a:extLst>
              <a:ext uri="{FF2B5EF4-FFF2-40B4-BE49-F238E27FC236}">
                <a16:creationId xmlns:a16="http://schemas.microsoft.com/office/drawing/2014/main" id="{9A751722-B1F9-42B1-8627-E8FBF0EDE45C}"/>
              </a:ext>
            </a:extLst>
          </p:cNvPr>
          <p:cNvSpPr/>
          <p:nvPr/>
        </p:nvSpPr>
        <p:spPr>
          <a:xfrm>
            <a:off x="2984456" y="3191956"/>
            <a:ext cx="360000" cy="360040"/>
          </a:xfrm>
          <a:prstGeom prst="mathPlus">
            <a:avLst/>
          </a:prstGeom>
          <a:solidFill>
            <a:schemeClr val="bg1">
              <a:lumMod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1746BAF-61A4-4C75-ADF6-B86B43646413}"/>
              </a:ext>
            </a:extLst>
          </p:cNvPr>
          <p:cNvSpPr txBox="1"/>
          <p:nvPr/>
        </p:nvSpPr>
        <p:spPr>
          <a:xfrm>
            <a:off x="484864" y="4188326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세미나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A316A84F-8537-40EF-A340-C540F19B3417}"/>
              </a:ext>
            </a:extLst>
          </p:cNvPr>
          <p:cNvSpPr/>
          <p:nvPr/>
        </p:nvSpPr>
        <p:spPr>
          <a:xfrm>
            <a:off x="527217" y="4436446"/>
            <a:ext cx="8220910" cy="349546"/>
          </a:xfrm>
          <a:prstGeom prst="rect">
            <a:avLst/>
          </a:prstGeom>
          <a:solidFill>
            <a:srgbClr val="F2F2F2">
              <a:alpha val="50196"/>
            </a:srgbClr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0" tIns="36000" rIns="144000" bIns="109720" numCol="1" spcCol="38100" rtlCol="0" anchor="ctr">
            <a:noAutofit/>
          </a:bodyPr>
          <a:lstStyle/>
          <a:p>
            <a:pPr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에서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동향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정책 또는 주요 이슈를 공유하기 위해 온라인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오프라인 세미나를 개최하고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4" name="그림 33">
            <a:extLst>
              <a:ext uri="{FF2B5EF4-FFF2-40B4-BE49-F238E27FC236}">
                <a16:creationId xmlns:a16="http://schemas.microsoft.com/office/drawing/2014/main" id="{D0FBB269-E70C-46B5-94A3-5DC0AFF479B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3342" y="5116534"/>
            <a:ext cx="2246324" cy="1207551"/>
          </a:xfrm>
          <a:prstGeom prst="rect">
            <a:avLst/>
          </a:prstGeom>
        </p:spPr>
      </p:pic>
      <p:sp>
        <p:nvSpPr>
          <p:cNvPr id="35" name="직사각형 34">
            <a:extLst>
              <a:ext uri="{FF2B5EF4-FFF2-40B4-BE49-F238E27FC236}">
                <a16:creationId xmlns:a16="http://schemas.microsoft.com/office/drawing/2014/main" id="{F5771AE1-8F24-43C2-BE14-AED658ED26B7}"/>
              </a:ext>
            </a:extLst>
          </p:cNvPr>
          <p:cNvSpPr/>
          <p:nvPr/>
        </p:nvSpPr>
        <p:spPr>
          <a:xfrm>
            <a:off x="541224" y="4820588"/>
            <a:ext cx="8178698" cy="244862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rPr>
              <a:t>[Webinar 2023.05] ESG 2.0 </a:t>
            </a: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rPr>
              <a:t>탄소관리와 공시 고도화 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024FF91E-987D-4F9C-92D3-8C5A9E0991ED}"/>
              </a:ext>
            </a:extLst>
          </p:cNvPr>
          <p:cNvSpPr/>
          <p:nvPr/>
        </p:nvSpPr>
        <p:spPr>
          <a:xfrm>
            <a:off x="2885607" y="5126409"/>
            <a:ext cx="5831999" cy="120755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t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1. Opening</a:t>
            </a:r>
          </a:p>
          <a:p>
            <a:pPr marL="357188" marR="0" lvl="0" indent="-17780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탄소중립 배경과 대응 필요성</a:t>
            </a:r>
            <a:br>
              <a:rPr kumimoji="0" lang="en-US" altLang="ko-KR" sz="10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- 2020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년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EU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각국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한국 탄소 중립 선언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- IFRS ISSB, EU CSRD, SEC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규제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3E5FD1-B022-41C7-857C-6B842B4898C5}"/>
              </a:ext>
            </a:extLst>
          </p:cNvPr>
          <p:cNvSpPr txBox="1"/>
          <p:nvPr/>
        </p:nvSpPr>
        <p:spPr>
          <a:xfrm>
            <a:off x="4444774" y="3900122"/>
            <a:ext cx="4356000" cy="253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부적인 교육 프로그램 안내는 「문의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사항」 을 통해 문의하실 수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kumimoji="0" lang="ko-KR" altLang="en-US" sz="90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</a:p>
        </p:txBody>
      </p:sp>
      <p:pic>
        <p:nvPicPr>
          <p:cNvPr id="38" name="Picture 2" descr="Audio, play, player, video">
            <a:extLst>
              <a:ext uri="{FF2B5EF4-FFF2-40B4-BE49-F238E27FC236}">
                <a16:creationId xmlns:a16="http://schemas.microsoft.com/office/drawing/2014/main" id="{41DBC434-459B-418E-8D71-656BB52AF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1704" y="54155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25A4F7E5-20B7-4643-93D0-4151ECB79A56}"/>
              </a:ext>
            </a:extLst>
          </p:cNvPr>
          <p:cNvSpPr/>
          <p:nvPr/>
        </p:nvSpPr>
        <p:spPr>
          <a:xfrm>
            <a:off x="6374224" y="2716539"/>
            <a:ext cx="2355478" cy="21600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r>
              <a:rPr lang="ko-KR" altLang="en-US" sz="9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전문과정</a:t>
            </a:r>
          </a:p>
        </p:txBody>
      </p:sp>
      <p:sp>
        <p:nvSpPr>
          <p:cNvPr id="42" name="더하기 기호 41">
            <a:extLst>
              <a:ext uri="{FF2B5EF4-FFF2-40B4-BE49-F238E27FC236}">
                <a16:creationId xmlns:a16="http://schemas.microsoft.com/office/drawing/2014/main" id="{53C97BAC-2314-4AFF-BF88-E3BA25CA07C7}"/>
              </a:ext>
            </a:extLst>
          </p:cNvPr>
          <p:cNvSpPr/>
          <p:nvPr/>
        </p:nvSpPr>
        <p:spPr>
          <a:xfrm>
            <a:off x="5924857" y="3191956"/>
            <a:ext cx="360000" cy="360040"/>
          </a:xfrm>
          <a:prstGeom prst="mathPlus">
            <a:avLst/>
          </a:prstGeom>
          <a:solidFill>
            <a:schemeClr val="bg1">
              <a:lumMod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43E077A5-5870-460F-82CE-CBD797E86603}"/>
              </a:ext>
            </a:extLst>
          </p:cNvPr>
          <p:cNvSpPr/>
          <p:nvPr/>
        </p:nvSpPr>
        <p:spPr>
          <a:xfrm>
            <a:off x="500465" y="51676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DC6B6483-A182-4097-B385-2C507910B766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4" name="그림 43">
              <a:extLst>
                <a:ext uri="{FF2B5EF4-FFF2-40B4-BE49-F238E27FC236}">
                  <a16:creationId xmlns:a16="http://schemas.microsoft.com/office/drawing/2014/main" id="{4C56C0BF-5B33-44CB-9DD7-34F5EF55B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D5BD7524-703C-4B66-990E-795D2242096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7" name="그림 46">
              <a:extLst>
                <a:ext uri="{FF2B5EF4-FFF2-40B4-BE49-F238E27FC236}">
                  <a16:creationId xmlns:a16="http://schemas.microsoft.com/office/drawing/2014/main" id="{4983D856-9E67-4C8A-BC4E-1515196FE1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F439C894-1706-463F-BDEE-800A8F3CB10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748513F-8F43-4D54-A02C-7630FB7B10F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412272311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에서 제공하는 주제별 특강과 당사에서 제공가능한 교육 프로그램을 간략하게 요약 소개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영상클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편집된 세미나 영상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상파일을 볼 수 있도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L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자료 상세 화면을 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367234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향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6BD2289-7068-4FF4-B496-0143DBE37731}"/>
              </a:ext>
            </a:extLst>
          </p:cNvPr>
          <p:cNvSpPr/>
          <p:nvPr/>
        </p:nvSpPr>
        <p:spPr>
          <a:xfrm>
            <a:off x="528479" y="1628800"/>
            <a:ext cx="5831999" cy="128879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t" anchorCtr="0"/>
          <a:lstStyle/>
          <a:p>
            <a:pPr>
              <a:lnSpc>
                <a:spcPct val="150000"/>
              </a:lnSpc>
            </a:pPr>
            <a:r>
              <a:rPr lang="en-US" altLang="ko-KR" sz="1200" b="1" u="sng" dirty="0">
                <a:solidFill>
                  <a:schemeClr val="accent2"/>
                </a:solidFill>
                <a:latin typeface="+mn-ea"/>
                <a:cs typeface="Segoe UI" panose="020B0502040204020203" pitchFamily="34" charset="0"/>
              </a:rPr>
              <a:t>2. </a:t>
            </a:r>
            <a:r>
              <a:rPr lang="ko-KR" altLang="en-US" sz="1200" b="1" u="sng" dirty="0">
                <a:solidFill>
                  <a:schemeClr val="accent2"/>
                </a:solidFill>
                <a:latin typeface="+mn-ea"/>
                <a:cs typeface="Segoe UI" panose="020B0502040204020203" pitchFamily="34" charset="0"/>
              </a:rPr>
              <a:t>탄소 배출량 관리 및 측정</a:t>
            </a:r>
            <a:r>
              <a:rPr lang="ko-KR" altLang="en-US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Segoe UI" panose="020B0502040204020203" pitchFamily="34" charset="0"/>
              </a:rPr>
              <a:t> </a:t>
            </a:r>
            <a:r>
              <a:rPr lang="en-US" altLang="ko-KR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Segoe UI" panose="020B0502040204020203" pitchFamily="34" charset="0"/>
              </a:rPr>
              <a:t>: </a:t>
            </a:r>
            <a:r>
              <a:rPr lang="ko-KR" altLang="en-US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Segoe UI" panose="020B0502040204020203" pitchFamily="34" charset="0"/>
              </a:rPr>
              <a:t>탄소배출량 관리의 방향성</a:t>
            </a:r>
            <a:endParaRPr lang="en-US" altLang="ko-KR" sz="1200" b="1" u="sng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cs typeface="Segoe UI" panose="020B0502040204020203" pitchFamily="34" charset="0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배출량 최신 트렌드</a:t>
            </a:r>
            <a:br>
              <a:rPr lang="en-US" altLang="ko-KR" sz="1000" b="1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</a:br>
            <a:r>
              <a:rPr lang="en-US" altLang="ko-KR" sz="10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 전략 수립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감축 실행과 공시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LCA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반 제품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량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산출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ACCE73FC-47A6-4003-8EB2-448397DC31D2}"/>
              </a:ext>
            </a:extLst>
          </p:cNvPr>
          <p:cNvSpPr/>
          <p:nvPr/>
        </p:nvSpPr>
        <p:spPr>
          <a:xfrm>
            <a:off x="2885607" y="3028195"/>
            <a:ext cx="5831999" cy="128879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3.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탄소국경세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: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각 국 진행경과</a:t>
            </a: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,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한국 기업의 대응</a:t>
            </a:r>
            <a:endParaRPr kumimoji="0" lang="en-US" altLang="ko-KR" sz="1200" b="1" i="0" u="sng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357188" marR="0" lvl="0" indent="-17780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경세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도입 배경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marR="0" lvl="0" indent="-17780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 진행 경과 및 주요 내용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marR="0" lvl="0" indent="-17780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국가 동향</a:t>
            </a:r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D3956745-2E3F-464E-B0B3-1E7EF1FB97B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6416698" y="1628800"/>
            <a:ext cx="2306887" cy="131471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4BDA24B5-14B9-424F-9D10-466295CBD9D4}"/>
              </a:ext>
            </a:extLst>
          </p:cNvPr>
          <p:cNvSpPr txBox="1"/>
          <p:nvPr/>
        </p:nvSpPr>
        <p:spPr>
          <a:xfrm>
            <a:off x="3791744" y="1966566"/>
            <a:ext cx="2672706" cy="524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반 기후위험 공시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친환경 분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Taxonomy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응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DA1FEBA-05E3-4ECA-85AB-F744F36BE827}"/>
              </a:ext>
            </a:extLst>
          </p:cNvPr>
          <p:cNvSpPr/>
          <p:nvPr/>
        </p:nvSpPr>
        <p:spPr>
          <a:xfrm>
            <a:off x="528479" y="4424050"/>
            <a:ext cx="5831999" cy="128879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4. ESG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공시기준 업데이트</a:t>
            </a:r>
            <a:endParaRPr kumimoji="0" lang="en-US" altLang="ko-KR" sz="1200" b="1" i="0" u="sng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“Big Three”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기준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S / ISSB</a:t>
            </a:r>
          </a:p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ESRS / CSR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A76BA24-A820-447C-B39E-AE32800F71C6}"/>
              </a:ext>
            </a:extLst>
          </p:cNvPr>
          <p:cNvSpPr txBox="1"/>
          <p:nvPr/>
        </p:nvSpPr>
        <p:spPr>
          <a:xfrm>
            <a:off x="3719736" y="4821738"/>
            <a:ext cx="2672706" cy="293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S SEC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 관련 공시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1B5CB332-5801-49A2-BBCE-F0845BEB48D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0"/>
          </a:blip>
          <a:stretch>
            <a:fillRect/>
          </a:stretch>
        </p:blipFill>
        <p:spPr>
          <a:xfrm>
            <a:off x="6469272" y="4424008"/>
            <a:ext cx="2232315" cy="1309247"/>
          </a:xfrm>
          <a:prstGeom prst="rect">
            <a:avLst/>
          </a:prstGeom>
        </p:spPr>
      </p:pic>
      <p:pic>
        <p:nvPicPr>
          <p:cNvPr id="49" name="그림 48">
            <a:extLst>
              <a:ext uri="{FF2B5EF4-FFF2-40B4-BE49-F238E27FC236}">
                <a16:creationId xmlns:a16="http://schemas.microsoft.com/office/drawing/2014/main" id="{BBBA76D1-F2DA-4A62-AEEC-12906DFCA84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523657" y="3044560"/>
            <a:ext cx="2252000" cy="1260389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722D833A-0C15-4288-B0B6-FB9162ED5BCC}"/>
              </a:ext>
            </a:extLst>
          </p:cNvPr>
          <p:cNvSpPr txBox="1"/>
          <p:nvPr/>
        </p:nvSpPr>
        <p:spPr>
          <a:xfrm>
            <a:off x="6065376" y="3430377"/>
            <a:ext cx="2672706" cy="293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한국 기업의 대응 방안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E282868D-992C-48AF-B965-3D7DD4EF27FA}"/>
              </a:ext>
            </a:extLst>
          </p:cNvPr>
          <p:cNvSpPr/>
          <p:nvPr/>
        </p:nvSpPr>
        <p:spPr>
          <a:xfrm>
            <a:off x="2885607" y="5814203"/>
            <a:ext cx="5831999" cy="49199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5. ESG Reporting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전략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: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중대성 평가 기반 연결</a:t>
            </a:r>
            <a:endParaRPr kumimoji="0" lang="en-US" altLang="ko-KR" sz="1200" b="1" i="0" u="sng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pic>
        <p:nvPicPr>
          <p:cNvPr id="62" name="그림 61">
            <a:extLst>
              <a:ext uri="{FF2B5EF4-FFF2-40B4-BE49-F238E27FC236}">
                <a16:creationId xmlns:a16="http://schemas.microsoft.com/office/drawing/2014/main" id="{DBFB20EC-8CDD-4179-A9D3-3D56F7FB920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50000"/>
          </a:blip>
          <a:srcRect b="61463"/>
          <a:stretch/>
        </p:blipFill>
        <p:spPr>
          <a:xfrm>
            <a:off x="528480" y="5809540"/>
            <a:ext cx="2247177" cy="496654"/>
          </a:xfrm>
          <a:prstGeom prst="rect">
            <a:avLst/>
          </a:prstGeom>
        </p:spPr>
      </p:pic>
      <p:pic>
        <p:nvPicPr>
          <p:cNvPr id="63" name="Picture 2" descr="Audio, play, player, video">
            <a:extLst>
              <a:ext uri="{FF2B5EF4-FFF2-40B4-BE49-F238E27FC236}">
                <a16:creationId xmlns:a16="http://schemas.microsoft.com/office/drawing/2014/main" id="{6D965880-C9AA-4DA7-AB90-3A76D23D5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341" y="1986551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Audio, play, player, video">
            <a:extLst>
              <a:ext uri="{FF2B5EF4-FFF2-40B4-BE49-F238E27FC236}">
                <a16:creationId xmlns:a16="http://schemas.microsoft.com/office/drawing/2014/main" id="{486BD7A9-49C2-4E61-8A32-F56BFE768A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341" y="4773831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Audio, play, player, video">
            <a:extLst>
              <a:ext uri="{FF2B5EF4-FFF2-40B4-BE49-F238E27FC236}">
                <a16:creationId xmlns:a16="http://schemas.microsoft.com/office/drawing/2014/main" id="{B365BB38-E747-4DD3-A442-A72F48699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268" y="336509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AB4F990A-A202-435E-BE3B-FA578E104D9F}"/>
              </a:ext>
            </a:extLst>
          </p:cNvPr>
          <p:cNvSpPr/>
          <p:nvPr/>
        </p:nvSpPr>
        <p:spPr>
          <a:xfrm>
            <a:off x="6401835" y="18103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58067E02-BB16-49E4-A866-393E5A13719B}"/>
              </a:ext>
            </a:extLst>
          </p:cNvPr>
          <p:cNvSpPr/>
          <p:nvPr/>
        </p:nvSpPr>
        <p:spPr>
          <a:xfrm>
            <a:off x="528646" y="324647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48604976-D26E-481C-8B32-C4BF2E209E77}"/>
              </a:ext>
            </a:extLst>
          </p:cNvPr>
          <p:cNvSpPr/>
          <p:nvPr/>
        </p:nvSpPr>
        <p:spPr>
          <a:xfrm>
            <a:off x="6445690" y="45773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9C58758A-5E74-4FD4-BDA9-02CC7D1898FF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4556418B-BE5A-4523-86BB-26C50115D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76B2A4B1-C6F7-42A0-8F0E-216FBBA4AF6D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22497E51-F868-485D-8812-DE85B717E0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4A5AEFDC-B017-4F0F-AF85-3B33C14233F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D3BB7BF9-42B2-421E-942A-434B4C7D67C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728333826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>
            <a:extLst>
              <a:ext uri="{FF2B5EF4-FFF2-40B4-BE49-F238E27FC236}">
                <a16:creationId xmlns:a16="http://schemas.microsoft.com/office/drawing/2014/main" id="{63F0F8F8-F649-4C48-98E7-F4390837C5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l="21938" t="34260" r="54920" b="44344"/>
          <a:stretch/>
        </p:blipFill>
        <p:spPr>
          <a:xfrm>
            <a:off x="6778404" y="4429248"/>
            <a:ext cx="1976459" cy="1039462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2773E66-9453-460D-879C-23589814894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</a:blip>
          <a:srcRect l="21928" t="40721" r="54920" b="38208"/>
          <a:stretch/>
        </p:blipFill>
        <p:spPr>
          <a:xfrm>
            <a:off x="4724571" y="4457663"/>
            <a:ext cx="1913059" cy="1026613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F522932-A113-4A26-BEE4-17CCE48320E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50000"/>
          </a:blip>
          <a:srcRect l="21512" t="50285" r="54920" b="28278"/>
          <a:stretch/>
        </p:blipFill>
        <p:spPr>
          <a:xfrm>
            <a:off x="2653945" y="4453936"/>
            <a:ext cx="1920025" cy="1026613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57D40DB8-8312-4965-AD4B-969436EE21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50000"/>
          </a:blip>
          <a:srcRect l="21815" t="37692" r="54920" b="41068"/>
          <a:stretch/>
        </p:blipFill>
        <p:spPr>
          <a:xfrm>
            <a:off x="564085" y="4453937"/>
            <a:ext cx="1976458" cy="1008571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에서 제공하는 주제별 특강과 당사에서 제공가능한 교육 프로그램을 간략하게 요약 소개하는 화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473138"/>
              </p:ext>
            </p:extLst>
          </p:nvPr>
        </p:nvGraphicFramePr>
        <p:xfrm>
          <a:off x="9267391" y="759198"/>
          <a:ext cx="2922885" cy="32615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영상클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편집된 세미나 영상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상파일을 볼 수 있도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L01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자료 상세 화면을 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ick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미나 대표 영상 외 원포인트 레슨으로 편집된 영상 자료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미나 대표 영상 제외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8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의 영상 자료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영상자료 클립 모두 화면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242285"/>
            <a:ext cx="8626856" cy="428587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71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4683068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향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ACCE73FC-47A6-4003-8EB2-448397DC31D2}"/>
              </a:ext>
            </a:extLst>
          </p:cNvPr>
          <p:cNvSpPr/>
          <p:nvPr/>
        </p:nvSpPr>
        <p:spPr>
          <a:xfrm>
            <a:off x="2885607" y="1633715"/>
            <a:ext cx="5831999" cy="11413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5. ESG Reporting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전략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: </a:t>
            </a: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중대성 평가 기반 연결</a:t>
            </a:r>
            <a:endParaRPr kumimoji="0" lang="en-US" altLang="ko-KR" sz="1200" b="1" i="0" u="sng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Data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의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in Point</a:t>
            </a: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효과적인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Data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방향성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출 신뢰성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DA1FEBA-05E3-4ECA-85AB-F744F36BE827}"/>
              </a:ext>
            </a:extLst>
          </p:cNvPr>
          <p:cNvSpPr/>
          <p:nvPr/>
        </p:nvSpPr>
        <p:spPr>
          <a:xfrm>
            <a:off x="528479" y="2878378"/>
            <a:ext cx="5831999" cy="11413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6. Q&amp;A </a:t>
            </a: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ope 3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질의응답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향 탄소국경세 적용 기업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 검증 기준 및 범위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A76BA24-A820-447C-B39E-AE32800F71C6}"/>
              </a:ext>
            </a:extLst>
          </p:cNvPr>
          <p:cNvSpPr txBox="1"/>
          <p:nvPr/>
        </p:nvSpPr>
        <p:spPr>
          <a:xfrm>
            <a:off x="3719736" y="3276066"/>
            <a:ext cx="2672706" cy="524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성 데이터 공시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Data Platform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표관리 기능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1B5CB332-5801-49A2-BBCE-F0845BEB48D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0000"/>
          </a:blip>
          <a:stretch>
            <a:fillRect/>
          </a:stretch>
        </p:blipFill>
        <p:spPr>
          <a:xfrm>
            <a:off x="6469272" y="2878336"/>
            <a:ext cx="2232315" cy="1159421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722D833A-0C15-4288-B0B6-FB9162ED5BCC}"/>
              </a:ext>
            </a:extLst>
          </p:cNvPr>
          <p:cNvSpPr txBox="1"/>
          <p:nvPr/>
        </p:nvSpPr>
        <p:spPr>
          <a:xfrm>
            <a:off x="6065376" y="2035897"/>
            <a:ext cx="2672706" cy="293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marR="0" lvl="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통합시스템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별시스템 보완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1" name="그림 30">
            <a:extLst>
              <a:ext uri="{FF2B5EF4-FFF2-40B4-BE49-F238E27FC236}">
                <a16:creationId xmlns:a16="http://schemas.microsoft.com/office/drawing/2014/main" id="{E399B8A9-D2C2-4455-AF9C-D2B21029D3E3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0000"/>
          </a:blip>
          <a:stretch>
            <a:fillRect/>
          </a:stretch>
        </p:blipFill>
        <p:spPr>
          <a:xfrm>
            <a:off x="530364" y="1628801"/>
            <a:ext cx="2261969" cy="1150012"/>
          </a:xfrm>
          <a:prstGeom prst="rect">
            <a:avLst/>
          </a:prstGeom>
        </p:spPr>
      </p:pic>
      <p:pic>
        <p:nvPicPr>
          <p:cNvPr id="32" name="Picture 2" descr="Audio, play, player, video">
            <a:extLst>
              <a:ext uri="{FF2B5EF4-FFF2-40B4-BE49-F238E27FC236}">
                <a16:creationId xmlns:a16="http://schemas.microsoft.com/office/drawing/2014/main" id="{200525A1-DE6F-4E02-8753-9EDC69FFB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341" y="324638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Audio, play, player, video">
            <a:extLst>
              <a:ext uri="{FF2B5EF4-FFF2-40B4-BE49-F238E27FC236}">
                <a16:creationId xmlns:a16="http://schemas.microsoft.com/office/drawing/2014/main" id="{0D39E623-8737-45DB-9B4D-D7BC6D5CC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268" y="198884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D2D563E4-C816-41DB-BA41-0BCC2653C89E}"/>
              </a:ext>
            </a:extLst>
          </p:cNvPr>
          <p:cNvSpPr/>
          <p:nvPr/>
        </p:nvSpPr>
        <p:spPr>
          <a:xfrm>
            <a:off x="572946" y="17008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A6138F66-55EF-456E-A0CF-A33597D2BE9C}"/>
              </a:ext>
            </a:extLst>
          </p:cNvPr>
          <p:cNvSpPr/>
          <p:nvPr/>
        </p:nvSpPr>
        <p:spPr>
          <a:xfrm>
            <a:off x="6537593" y="28553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E321D7-8DE0-42AD-83B9-B789B05A08F0}"/>
              </a:ext>
            </a:extLst>
          </p:cNvPr>
          <p:cNvSpPr txBox="1"/>
          <p:nvPr/>
        </p:nvSpPr>
        <p:spPr>
          <a:xfrm>
            <a:off x="484864" y="4115172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ick (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 영상 자료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9971B18F-7577-4F34-BC3A-E1C1463A9125}"/>
              </a:ext>
            </a:extLst>
          </p:cNvPr>
          <p:cNvCxnSpPr>
            <a:cxnSpLocks/>
          </p:cNvCxnSpPr>
          <p:nvPr/>
        </p:nvCxnSpPr>
        <p:spPr>
          <a:xfrm>
            <a:off x="558561" y="4335205"/>
            <a:ext cx="814302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D10D0BD-12C8-44D2-8B51-DE67EB344B4A}"/>
              </a:ext>
            </a:extLst>
          </p:cNvPr>
          <p:cNvSpPr/>
          <p:nvPr/>
        </p:nvSpPr>
        <p:spPr>
          <a:xfrm>
            <a:off x="513068" y="5648364"/>
            <a:ext cx="2087743" cy="2123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.06.30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D27D3325-41B0-4FE0-A7C2-DE0AC50FF216}"/>
              </a:ext>
            </a:extLst>
          </p:cNvPr>
          <p:cNvGrpSpPr/>
          <p:nvPr/>
        </p:nvGrpSpPr>
        <p:grpSpPr>
          <a:xfrm>
            <a:off x="572946" y="5883527"/>
            <a:ext cx="1795182" cy="323029"/>
            <a:chOff x="2640783" y="6075007"/>
            <a:chExt cx="1795182" cy="323029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6FB1F375-0F0D-4F6A-BE4F-3CB579399325}"/>
                </a:ext>
              </a:extLst>
            </p:cNvPr>
            <p:cNvGrpSpPr/>
            <p:nvPr/>
          </p:nvGrpSpPr>
          <p:grpSpPr>
            <a:xfrm>
              <a:off x="2672310" y="6075007"/>
              <a:ext cx="1274034" cy="155587"/>
              <a:chOff x="3287688" y="7034971"/>
              <a:chExt cx="1069338" cy="218150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9AAE231E-98DE-4AB1-997B-FA2AE63D1BEE}"/>
                  </a:ext>
                </a:extLst>
              </p:cNvPr>
              <p:cNvSpPr/>
              <p:nvPr/>
            </p:nvSpPr>
            <p:spPr>
              <a:xfrm>
                <a:off x="3287688" y="7034971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9C422BFE-CC6E-4984-8522-60BE04B6E0FB}"/>
                  </a:ext>
                </a:extLst>
              </p:cNvPr>
              <p:cNvSpPr/>
              <p:nvPr/>
            </p:nvSpPr>
            <p:spPr>
              <a:xfrm>
                <a:off x="3582719" y="70350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11A890BC-5DFF-4E43-A504-411206E34736}"/>
                  </a:ext>
                </a:extLst>
              </p:cNvPr>
              <p:cNvSpPr/>
              <p:nvPr/>
            </p:nvSpPr>
            <p:spPr>
              <a:xfrm>
                <a:off x="4106199" y="70350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17C5F081-F469-4E87-BCDB-22B989B09CCA}"/>
                </a:ext>
              </a:extLst>
            </p:cNvPr>
            <p:cNvSpPr/>
            <p:nvPr/>
          </p:nvSpPr>
          <p:spPr>
            <a:xfrm>
              <a:off x="2640783" y="6242484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72F6712E-AAE7-4909-9158-2E87EBD61F23}"/>
              </a:ext>
            </a:extLst>
          </p:cNvPr>
          <p:cNvGrpSpPr/>
          <p:nvPr/>
        </p:nvGrpSpPr>
        <p:grpSpPr>
          <a:xfrm>
            <a:off x="1394680" y="4861505"/>
            <a:ext cx="317115" cy="317115"/>
            <a:chOff x="1519093" y="5661249"/>
            <a:chExt cx="504056" cy="504056"/>
          </a:xfrm>
        </p:grpSpPr>
        <p:sp>
          <p:nvSpPr>
            <p:cNvPr id="51" name="타원 50">
              <a:extLst>
                <a:ext uri="{FF2B5EF4-FFF2-40B4-BE49-F238E27FC236}">
                  <a16:creationId xmlns:a16="http://schemas.microsoft.com/office/drawing/2014/main" id="{C30E7501-0643-44C7-807A-71A8F64652E3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2" name="이등변 삼각형 51">
              <a:extLst>
                <a:ext uri="{FF2B5EF4-FFF2-40B4-BE49-F238E27FC236}">
                  <a16:creationId xmlns:a16="http://schemas.microsoft.com/office/drawing/2014/main" id="{0ED2FED4-1ECB-4194-8272-7D5F14452462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167DE064-9462-43FA-A174-D86429360EF0}"/>
              </a:ext>
            </a:extLst>
          </p:cNvPr>
          <p:cNvGrpSpPr/>
          <p:nvPr/>
        </p:nvGrpSpPr>
        <p:grpSpPr>
          <a:xfrm>
            <a:off x="3512057" y="4861505"/>
            <a:ext cx="317115" cy="317115"/>
            <a:chOff x="1519093" y="5661249"/>
            <a:chExt cx="504056" cy="504056"/>
          </a:xfrm>
        </p:grpSpPr>
        <p:sp>
          <p:nvSpPr>
            <p:cNvPr id="78" name="타원 77">
              <a:extLst>
                <a:ext uri="{FF2B5EF4-FFF2-40B4-BE49-F238E27FC236}">
                  <a16:creationId xmlns:a16="http://schemas.microsoft.com/office/drawing/2014/main" id="{7ABF7EE2-7B97-4EFA-8EB8-5D382C36273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9" name="이등변 삼각형 78">
              <a:extLst>
                <a:ext uri="{FF2B5EF4-FFF2-40B4-BE49-F238E27FC236}">
                  <a16:creationId xmlns:a16="http://schemas.microsoft.com/office/drawing/2014/main" id="{1CD3052A-F009-4F26-A7D5-7000C1B3B9D9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1F118B29-BA80-4881-B9A8-B4DCFC16CB73}"/>
              </a:ext>
            </a:extLst>
          </p:cNvPr>
          <p:cNvGrpSpPr/>
          <p:nvPr/>
        </p:nvGrpSpPr>
        <p:grpSpPr>
          <a:xfrm>
            <a:off x="5532647" y="4861505"/>
            <a:ext cx="317115" cy="317115"/>
            <a:chOff x="1519093" y="5661249"/>
            <a:chExt cx="504056" cy="504056"/>
          </a:xfrm>
        </p:grpSpPr>
        <p:sp>
          <p:nvSpPr>
            <p:cNvPr id="81" name="타원 80">
              <a:extLst>
                <a:ext uri="{FF2B5EF4-FFF2-40B4-BE49-F238E27FC236}">
                  <a16:creationId xmlns:a16="http://schemas.microsoft.com/office/drawing/2014/main" id="{39B4963F-188A-4005-9EC3-B20445E1DA1C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2" name="이등변 삼각형 81">
              <a:extLst>
                <a:ext uri="{FF2B5EF4-FFF2-40B4-BE49-F238E27FC236}">
                  <a16:creationId xmlns:a16="http://schemas.microsoft.com/office/drawing/2014/main" id="{1E37CF32-F95A-42AF-B2D0-20F6AE3F0312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B23A9097-E8D0-486F-A1BC-F5D512EEFB6D}"/>
              </a:ext>
            </a:extLst>
          </p:cNvPr>
          <p:cNvGrpSpPr/>
          <p:nvPr/>
        </p:nvGrpSpPr>
        <p:grpSpPr>
          <a:xfrm>
            <a:off x="7521331" y="4861505"/>
            <a:ext cx="317115" cy="317115"/>
            <a:chOff x="1519093" y="5661249"/>
            <a:chExt cx="504056" cy="504056"/>
          </a:xfrm>
        </p:grpSpPr>
        <p:sp>
          <p:nvSpPr>
            <p:cNvPr id="84" name="타원 83">
              <a:extLst>
                <a:ext uri="{FF2B5EF4-FFF2-40B4-BE49-F238E27FC236}">
                  <a16:creationId xmlns:a16="http://schemas.microsoft.com/office/drawing/2014/main" id="{4606688D-DC8E-4E25-AB1B-6ACE303C3357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5" name="이등변 삼각형 84">
              <a:extLst>
                <a:ext uri="{FF2B5EF4-FFF2-40B4-BE49-F238E27FC236}">
                  <a16:creationId xmlns:a16="http://schemas.microsoft.com/office/drawing/2014/main" id="{D91426A2-9882-414B-8D6F-4E9D05664742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9FF5B153-3834-4662-B1F0-DE4B09533472}"/>
              </a:ext>
            </a:extLst>
          </p:cNvPr>
          <p:cNvSpPr/>
          <p:nvPr/>
        </p:nvSpPr>
        <p:spPr>
          <a:xfrm>
            <a:off x="520892" y="5500340"/>
            <a:ext cx="2019650" cy="21230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후변화 시나리오와 재무영향 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A3529D00-7CE2-4441-9FEF-CDE97DA283FD}"/>
              </a:ext>
            </a:extLst>
          </p:cNvPr>
          <p:cNvSpPr/>
          <p:nvPr/>
        </p:nvSpPr>
        <p:spPr>
          <a:xfrm>
            <a:off x="2617132" y="5500340"/>
            <a:ext cx="2019650" cy="21230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후위기 대응을 위한 금융업 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B18281B5-6B13-4BCC-B8AC-6F97FCCEA0F2}"/>
              </a:ext>
            </a:extLst>
          </p:cNvPr>
          <p:cNvSpPr/>
          <p:nvPr/>
        </p:nvSpPr>
        <p:spPr>
          <a:xfrm>
            <a:off x="4664348" y="5500340"/>
            <a:ext cx="2052000" cy="21230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알기 쉬운 탄소국경제도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CBAM)</a:t>
            </a: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1B119298-2EF2-4582-B520-ACEAEF73D8BF}"/>
              </a:ext>
            </a:extLst>
          </p:cNvPr>
          <p:cNvSpPr/>
          <p:nvPr/>
        </p:nvSpPr>
        <p:spPr>
          <a:xfrm>
            <a:off x="6750154" y="5500340"/>
            <a:ext cx="2052000" cy="21230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Scope3 </a:t>
            </a: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배출량 측정과 공급망 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…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CD011A43-0B9F-41D0-96F2-DED39391F658}"/>
              </a:ext>
            </a:extLst>
          </p:cNvPr>
          <p:cNvSpPr/>
          <p:nvPr/>
        </p:nvSpPr>
        <p:spPr>
          <a:xfrm>
            <a:off x="465939" y="44196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29D75D99-2D97-4FF3-93C0-9C31E8D595F1}"/>
              </a:ext>
            </a:extLst>
          </p:cNvPr>
          <p:cNvSpPr/>
          <p:nvPr/>
        </p:nvSpPr>
        <p:spPr>
          <a:xfrm>
            <a:off x="2608124" y="5648364"/>
            <a:ext cx="2087743" cy="2123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.06.30</a:t>
            </a: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B1AC0E88-4B68-4981-86C5-EF2943E3E9CE}"/>
              </a:ext>
            </a:extLst>
          </p:cNvPr>
          <p:cNvGrpSpPr/>
          <p:nvPr/>
        </p:nvGrpSpPr>
        <p:grpSpPr>
          <a:xfrm>
            <a:off x="2668002" y="5883527"/>
            <a:ext cx="1795182" cy="323029"/>
            <a:chOff x="2640783" y="6075007"/>
            <a:chExt cx="1795182" cy="323029"/>
          </a:xfrm>
        </p:grpSpPr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2675C86-1F90-4EE9-87AB-5E2A31F3ECC4}"/>
                </a:ext>
              </a:extLst>
            </p:cNvPr>
            <p:cNvGrpSpPr/>
            <p:nvPr/>
          </p:nvGrpSpPr>
          <p:grpSpPr>
            <a:xfrm>
              <a:off x="2672310" y="6075007"/>
              <a:ext cx="1274034" cy="155587"/>
              <a:chOff x="3287688" y="7034971"/>
              <a:chExt cx="1069338" cy="218150"/>
            </a:xfrm>
          </p:grpSpPr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58838388-01F8-4074-9308-DB66D523CD88}"/>
                  </a:ext>
                </a:extLst>
              </p:cNvPr>
              <p:cNvSpPr/>
              <p:nvPr/>
            </p:nvSpPr>
            <p:spPr>
              <a:xfrm>
                <a:off x="3287688" y="7034971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36AC2332-D0AC-4BE8-A8B1-3431705D7302}"/>
                  </a:ext>
                </a:extLst>
              </p:cNvPr>
              <p:cNvSpPr/>
              <p:nvPr/>
            </p:nvSpPr>
            <p:spPr>
              <a:xfrm>
                <a:off x="3582719" y="70350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17367E1E-8562-4369-9603-8659BD960586}"/>
                  </a:ext>
                </a:extLst>
              </p:cNvPr>
              <p:cNvSpPr/>
              <p:nvPr/>
            </p:nvSpPr>
            <p:spPr>
              <a:xfrm>
                <a:off x="4106199" y="70350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BAAC23F2-566D-44EF-AF2F-C99457ADE1B5}"/>
                </a:ext>
              </a:extLst>
            </p:cNvPr>
            <p:cNvSpPr/>
            <p:nvPr/>
          </p:nvSpPr>
          <p:spPr>
            <a:xfrm>
              <a:off x="2640783" y="6242484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1DB59EF9-3587-40C8-8293-19420E3D87B1}"/>
              </a:ext>
            </a:extLst>
          </p:cNvPr>
          <p:cNvSpPr/>
          <p:nvPr/>
        </p:nvSpPr>
        <p:spPr>
          <a:xfrm>
            <a:off x="4703842" y="5648364"/>
            <a:ext cx="2087743" cy="2123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.06.30</a:t>
            </a:r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17B9E443-27C0-4BCE-BF54-867B673DB4F7}"/>
              </a:ext>
            </a:extLst>
          </p:cNvPr>
          <p:cNvGrpSpPr/>
          <p:nvPr/>
        </p:nvGrpSpPr>
        <p:grpSpPr>
          <a:xfrm>
            <a:off x="4763720" y="5883527"/>
            <a:ext cx="1795182" cy="323029"/>
            <a:chOff x="2640783" y="6075007"/>
            <a:chExt cx="1795182" cy="323029"/>
          </a:xfrm>
        </p:grpSpPr>
        <p:grpSp>
          <p:nvGrpSpPr>
            <p:cNvPr id="101" name="그룹 100">
              <a:extLst>
                <a:ext uri="{FF2B5EF4-FFF2-40B4-BE49-F238E27FC236}">
                  <a16:creationId xmlns:a16="http://schemas.microsoft.com/office/drawing/2014/main" id="{06E4BAAE-F623-4107-851E-2C52ED7DD286}"/>
                </a:ext>
              </a:extLst>
            </p:cNvPr>
            <p:cNvGrpSpPr/>
            <p:nvPr/>
          </p:nvGrpSpPr>
          <p:grpSpPr>
            <a:xfrm>
              <a:off x="2672310" y="6075007"/>
              <a:ext cx="1274034" cy="155587"/>
              <a:chOff x="3287688" y="7034971"/>
              <a:chExt cx="1069338" cy="218150"/>
            </a:xfrm>
          </p:grpSpPr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900F0330-1200-476F-A75C-8F12B6D5BB6F}"/>
                  </a:ext>
                </a:extLst>
              </p:cNvPr>
              <p:cNvSpPr/>
              <p:nvPr/>
            </p:nvSpPr>
            <p:spPr>
              <a:xfrm>
                <a:off x="3287688" y="7034971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5C32DEBB-8252-453D-8FE5-AD327303D7B1}"/>
                  </a:ext>
                </a:extLst>
              </p:cNvPr>
              <p:cNvSpPr/>
              <p:nvPr/>
            </p:nvSpPr>
            <p:spPr>
              <a:xfrm>
                <a:off x="3582719" y="70350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9B6ACFE0-FAD2-4FEC-958B-C8F20BA9EC93}"/>
                  </a:ext>
                </a:extLst>
              </p:cNvPr>
              <p:cNvSpPr/>
              <p:nvPr/>
            </p:nvSpPr>
            <p:spPr>
              <a:xfrm>
                <a:off x="4106199" y="70350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F6C6630E-67C6-43DC-973E-43F6675245E7}"/>
                </a:ext>
              </a:extLst>
            </p:cNvPr>
            <p:cNvSpPr/>
            <p:nvPr/>
          </p:nvSpPr>
          <p:spPr>
            <a:xfrm>
              <a:off x="2640783" y="6242484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F51E0181-28D5-4247-B1C8-E9E2467D34D7}"/>
              </a:ext>
            </a:extLst>
          </p:cNvPr>
          <p:cNvSpPr/>
          <p:nvPr/>
        </p:nvSpPr>
        <p:spPr>
          <a:xfrm>
            <a:off x="6771239" y="5648364"/>
            <a:ext cx="2087743" cy="21230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en-US" altLang="ko-KR" sz="9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.06.30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FCB7EA7F-8038-4E41-8AFA-1719A9D715DC}"/>
              </a:ext>
            </a:extLst>
          </p:cNvPr>
          <p:cNvGrpSpPr/>
          <p:nvPr/>
        </p:nvGrpSpPr>
        <p:grpSpPr>
          <a:xfrm>
            <a:off x="6831117" y="5883527"/>
            <a:ext cx="1795182" cy="323029"/>
            <a:chOff x="2640783" y="6075007"/>
            <a:chExt cx="1795182" cy="323029"/>
          </a:xfrm>
        </p:grpSpPr>
        <p:grpSp>
          <p:nvGrpSpPr>
            <p:cNvPr id="108" name="그룹 107">
              <a:extLst>
                <a:ext uri="{FF2B5EF4-FFF2-40B4-BE49-F238E27FC236}">
                  <a16:creationId xmlns:a16="http://schemas.microsoft.com/office/drawing/2014/main" id="{B1520B37-08F2-450B-9756-E2B6368255AD}"/>
                </a:ext>
              </a:extLst>
            </p:cNvPr>
            <p:cNvGrpSpPr/>
            <p:nvPr/>
          </p:nvGrpSpPr>
          <p:grpSpPr>
            <a:xfrm>
              <a:off x="2672310" y="6075007"/>
              <a:ext cx="1274034" cy="155587"/>
              <a:chOff x="3287688" y="7034971"/>
              <a:chExt cx="1069338" cy="218150"/>
            </a:xfrm>
          </p:grpSpPr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DBE55D8-3923-41FF-A88F-8DB961E6B0A9}"/>
                  </a:ext>
                </a:extLst>
              </p:cNvPr>
              <p:cNvSpPr/>
              <p:nvPr/>
            </p:nvSpPr>
            <p:spPr>
              <a:xfrm>
                <a:off x="3287688" y="7034971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321D3920-EAC2-41B1-BE76-CC35F2C478E4}"/>
                  </a:ext>
                </a:extLst>
              </p:cNvPr>
              <p:cNvSpPr/>
              <p:nvPr/>
            </p:nvSpPr>
            <p:spPr>
              <a:xfrm>
                <a:off x="3582719" y="70350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062533C1-3EDB-460E-B861-3A0BCC5EC829}"/>
                  </a:ext>
                </a:extLst>
              </p:cNvPr>
              <p:cNvSpPr/>
              <p:nvPr/>
            </p:nvSpPr>
            <p:spPr>
              <a:xfrm>
                <a:off x="4106199" y="70350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B08D38AD-F4E7-4EA4-BCF5-2A08A055550B}"/>
                </a:ext>
              </a:extLst>
            </p:cNvPr>
            <p:cNvSpPr/>
            <p:nvPr/>
          </p:nvSpPr>
          <p:spPr>
            <a:xfrm>
              <a:off x="2640783" y="6242484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8776EBD7-3265-4F6C-90B1-548AC80EF908}"/>
              </a:ext>
            </a:extLst>
          </p:cNvPr>
          <p:cNvSpPr/>
          <p:nvPr/>
        </p:nvSpPr>
        <p:spPr>
          <a:xfrm>
            <a:off x="9092641" y="-8389"/>
            <a:ext cx="3123223" cy="104980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7.11&gt;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endParaRPr lang="en-US" altLang="ko-KR" sz="3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2]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링크 추가</a:t>
            </a:r>
          </a:p>
        </p:txBody>
      </p: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032396FE-FE23-4AAF-B9BA-B715EA53447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14" name="그림 113">
              <a:extLst>
                <a:ext uri="{FF2B5EF4-FFF2-40B4-BE49-F238E27FC236}">
                  <a16:creationId xmlns:a16="http://schemas.microsoft.com/office/drawing/2014/main" id="{A7E3CA4F-C408-4D72-9501-10431758A0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7A4477FF-13D4-4131-A77F-A46F89DB974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7" name="그림 116">
              <a:extLst>
                <a:ext uri="{FF2B5EF4-FFF2-40B4-BE49-F238E27FC236}">
                  <a16:creationId xmlns:a16="http://schemas.microsoft.com/office/drawing/2014/main" id="{662EADCD-C38A-4E85-9C97-B219C749B5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30859B42-497A-455F-971C-08687E55F1E9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BEE8A4C0-1BAE-4769-A5BD-B5E051FE9D5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817842736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757186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자료 상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GRI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예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질적인 자료 내용이 보여지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뷰어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연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6" name="표 10">
            <a:extLst>
              <a:ext uri="{FF2B5EF4-FFF2-40B4-BE49-F238E27FC236}">
                <a16:creationId xmlns:a16="http://schemas.microsoft.com/office/drawing/2014/main" id="{A043742E-8FA5-4396-B1E4-37D02919AA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466956"/>
              </p:ext>
            </p:extLst>
          </p:nvPr>
        </p:nvGraphicFramePr>
        <p:xfrm>
          <a:off x="9275970" y="750181"/>
          <a:ext cx="2922885" cy="84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자료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뷰어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화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1287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내 세부 기능은 각 뷰어에서 제공하는 기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을사용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PDF, EPU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 등에 사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을 매핑하여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된 내용에 대한 상세한 정보가 사례를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733349"/>
                  </a:ext>
                </a:extLst>
              </a:tr>
            </a:tbl>
          </a:graphicData>
        </a:graphic>
      </p:graphicFrame>
      <p:pic>
        <p:nvPicPr>
          <p:cNvPr id="4" name="그림 3">
            <a:extLst>
              <a:ext uri="{FF2B5EF4-FFF2-40B4-BE49-F238E27FC236}">
                <a16:creationId xmlns:a16="http://schemas.microsoft.com/office/drawing/2014/main" id="{2404824E-912C-4CA8-99FC-6C5B7A8B56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033"/>
          <a:stretch/>
        </p:blipFill>
        <p:spPr>
          <a:xfrm>
            <a:off x="337577" y="6194042"/>
            <a:ext cx="8596742" cy="332920"/>
          </a:xfrm>
          <a:prstGeom prst="rect">
            <a:avLst/>
          </a:prstGeom>
        </p:spPr>
      </p:pic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FAEFBF5B-B663-4210-8235-ACE83D88D442}"/>
              </a:ext>
            </a:extLst>
          </p:cNvPr>
          <p:cNvSpPr/>
          <p:nvPr/>
        </p:nvSpPr>
        <p:spPr>
          <a:xfrm>
            <a:off x="349793" y="1073311"/>
            <a:ext cx="8626404" cy="5461256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900" b="1" dirty="0">
              <a:latin typeface="+mn-ea"/>
              <a:cs typeface="함초롬바탕" panose="0203060400010101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BBB6B8D-3B6E-4FB5-A3EA-80EE0D9621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01" t="1233" r="5177" b="6587"/>
          <a:stretch/>
        </p:blipFill>
        <p:spPr>
          <a:xfrm>
            <a:off x="1359584" y="1473344"/>
            <a:ext cx="6552728" cy="435609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B9C7B2E5-34CC-4AA4-8816-5F514AA16DE1}"/>
              </a:ext>
            </a:extLst>
          </p:cNvPr>
          <p:cNvSpPr/>
          <p:nvPr/>
        </p:nvSpPr>
        <p:spPr>
          <a:xfrm>
            <a:off x="332168" y="733400"/>
            <a:ext cx="8644029" cy="3399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/>
              </a:rPr>
              <a:t> GRI 306: Waste 2020</a:t>
            </a:r>
            <a:endParaRPr lang="ko-KR" altLang="en-US" sz="1200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4BEC376B-CBF6-4806-A5CA-5AA403B264F5}"/>
              </a:ext>
            </a:extLst>
          </p:cNvPr>
          <p:cNvGrpSpPr/>
          <p:nvPr/>
        </p:nvGrpSpPr>
        <p:grpSpPr>
          <a:xfrm>
            <a:off x="915924" y="3429000"/>
            <a:ext cx="288032" cy="504056"/>
            <a:chOff x="920148" y="3137518"/>
            <a:chExt cx="288032" cy="504056"/>
          </a:xfrm>
        </p:grpSpPr>
        <p:sp>
          <p:nvSpPr>
            <p:cNvPr id="8" name="사각형: 둥근 모서리 7">
              <a:extLst>
                <a:ext uri="{FF2B5EF4-FFF2-40B4-BE49-F238E27FC236}">
                  <a16:creationId xmlns:a16="http://schemas.microsoft.com/office/drawing/2014/main" id="{A44F661F-B903-41ED-921B-237EAA1636A0}"/>
                </a:ext>
              </a:extLst>
            </p:cNvPr>
            <p:cNvSpPr/>
            <p:nvPr/>
          </p:nvSpPr>
          <p:spPr>
            <a:xfrm>
              <a:off x="920148" y="3137518"/>
              <a:ext cx="288032" cy="50405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endPara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" name="이등변 삼각형 8">
              <a:extLst>
                <a:ext uri="{FF2B5EF4-FFF2-40B4-BE49-F238E27FC236}">
                  <a16:creationId xmlns:a16="http://schemas.microsoft.com/office/drawing/2014/main" id="{4088C084-3BCF-43C9-8E52-2255E9C65A2D}"/>
                </a:ext>
              </a:extLst>
            </p:cNvPr>
            <p:cNvSpPr/>
            <p:nvPr/>
          </p:nvSpPr>
          <p:spPr>
            <a:xfrm rot="16200000">
              <a:off x="921734" y="3334963"/>
              <a:ext cx="265413" cy="90000"/>
            </a:xfrm>
            <a:prstGeom prst="triangle">
              <a:avLst>
                <a:gd name="adj" fmla="val 45693"/>
              </a:avLst>
            </a:prstGeom>
            <a:solidFill>
              <a:schemeClr val="tx1">
                <a:lumMod val="50000"/>
                <a:lumOff val="5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93087FB0-2F12-4077-84E4-281311D992AF}"/>
              </a:ext>
            </a:extLst>
          </p:cNvPr>
          <p:cNvGrpSpPr/>
          <p:nvPr/>
        </p:nvGrpSpPr>
        <p:grpSpPr>
          <a:xfrm flipH="1">
            <a:off x="8148170" y="3432951"/>
            <a:ext cx="288032" cy="504056"/>
            <a:chOff x="920148" y="3137518"/>
            <a:chExt cx="288032" cy="504056"/>
          </a:xfrm>
        </p:grpSpPr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349755E1-1EF9-4703-9956-7D069DCAA893}"/>
                </a:ext>
              </a:extLst>
            </p:cNvPr>
            <p:cNvSpPr/>
            <p:nvPr/>
          </p:nvSpPr>
          <p:spPr>
            <a:xfrm>
              <a:off x="920148" y="3137518"/>
              <a:ext cx="288032" cy="50405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endPara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64" name="이등변 삼각형 163">
              <a:extLst>
                <a:ext uri="{FF2B5EF4-FFF2-40B4-BE49-F238E27FC236}">
                  <a16:creationId xmlns:a16="http://schemas.microsoft.com/office/drawing/2014/main" id="{AD20D5F8-8F01-4829-BB59-3A3327467B57}"/>
                </a:ext>
              </a:extLst>
            </p:cNvPr>
            <p:cNvSpPr/>
            <p:nvPr/>
          </p:nvSpPr>
          <p:spPr>
            <a:xfrm rot="16200000">
              <a:off x="921734" y="3334963"/>
              <a:ext cx="265413" cy="90000"/>
            </a:xfrm>
            <a:prstGeom prst="triangle">
              <a:avLst>
                <a:gd name="adj" fmla="val 45693"/>
              </a:avLst>
            </a:prstGeom>
            <a:solidFill>
              <a:schemeClr val="tx1">
                <a:lumMod val="50000"/>
                <a:lumOff val="5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1D81F760-C6F2-425F-8FB1-EE1249C15C2D}"/>
              </a:ext>
            </a:extLst>
          </p:cNvPr>
          <p:cNvSpPr/>
          <p:nvPr/>
        </p:nvSpPr>
        <p:spPr>
          <a:xfrm>
            <a:off x="2711624" y="61446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881140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9628907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자료 상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GRI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예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질적인 자료 내용이 보여지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뷰어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연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6" name="표 10">
            <a:extLst>
              <a:ext uri="{FF2B5EF4-FFF2-40B4-BE49-F238E27FC236}">
                <a16:creationId xmlns:a16="http://schemas.microsoft.com/office/drawing/2014/main" id="{A043742E-8FA5-4396-B1E4-37D02919AA7C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750181"/>
          <a:ext cx="2922885" cy="84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자료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뷰어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화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1287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내 세부 기능은 각 뷰어에서 제공하는 기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을사용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PDF, EPU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 등에 사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을 매핑하여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된 내용에 대한 상세한 정보가 사례를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733349"/>
                  </a:ext>
                </a:extLst>
              </a:tr>
            </a:tbl>
          </a:graphicData>
        </a:graphic>
      </p:graphicFrame>
      <p:pic>
        <p:nvPicPr>
          <p:cNvPr id="4" name="그림 3">
            <a:extLst>
              <a:ext uri="{FF2B5EF4-FFF2-40B4-BE49-F238E27FC236}">
                <a16:creationId xmlns:a16="http://schemas.microsoft.com/office/drawing/2014/main" id="{2404824E-912C-4CA8-99FC-6C5B7A8B56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033"/>
          <a:stretch/>
        </p:blipFill>
        <p:spPr>
          <a:xfrm>
            <a:off x="337577" y="6194042"/>
            <a:ext cx="8596742" cy="332920"/>
          </a:xfrm>
          <a:prstGeom prst="rect">
            <a:avLst/>
          </a:prstGeom>
        </p:spPr>
      </p:pic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FAEFBF5B-B663-4210-8235-ACE83D88D442}"/>
              </a:ext>
            </a:extLst>
          </p:cNvPr>
          <p:cNvSpPr/>
          <p:nvPr/>
        </p:nvSpPr>
        <p:spPr>
          <a:xfrm>
            <a:off x="349793" y="1073311"/>
            <a:ext cx="8626404" cy="5461256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900" b="1" dirty="0">
              <a:latin typeface="+mn-ea"/>
              <a:cs typeface="함초롬바탕" panose="0203060400010101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BBB6B8D-3B6E-4FB5-A3EA-80EE0D9621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01" t="1233" r="5177" b="6587"/>
          <a:stretch/>
        </p:blipFill>
        <p:spPr>
          <a:xfrm>
            <a:off x="1359584" y="1473344"/>
            <a:ext cx="6552728" cy="435609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B9C7B2E5-34CC-4AA4-8816-5F514AA16DE1}"/>
              </a:ext>
            </a:extLst>
          </p:cNvPr>
          <p:cNvSpPr/>
          <p:nvPr/>
        </p:nvSpPr>
        <p:spPr>
          <a:xfrm>
            <a:off x="349793" y="733400"/>
            <a:ext cx="8626404" cy="3399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정보공개 </a:t>
            </a:r>
            <a:r>
              <a:rPr lang="ko-KR" altLang="en-US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가이던스</a:t>
            </a:r>
            <a:endParaRPr lang="ko-KR" altLang="en-US" sz="1200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4BEC376B-CBF6-4806-A5CA-5AA403B264F5}"/>
              </a:ext>
            </a:extLst>
          </p:cNvPr>
          <p:cNvGrpSpPr/>
          <p:nvPr/>
        </p:nvGrpSpPr>
        <p:grpSpPr>
          <a:xfrm>
            <a:off x="915924" y="3429000"/>
            <a:ext cx="288032" cy="504056"/>
            <a:chOff x="920148" y="3137518"/>
            <a:chExt cx="288032" cy="504056"/>
          </a:xfrm>
        </p:grpSpPr>
        <p:sp>
          <p:nvSpPr>
            <p:cNvPr id="8" name="사각형: 둥근 모서리 7">
              <a:extLst>
                <a:ext uri="{FF2B5EF4-FFF2-40B4-BE49-F238E27FC236}">
                  <a16:creationId xmlns:a16="http://schemas.microsoft.com/office/drawing/2014/main" id="{A44F661F-B903-41ED-921B-237EAA1636A0}"/>
                </a:ext>
              </a:extLst>
            </p:cNvPr>
            <p:cNvSpPr/>
            <p:nvPr/>
          </p:nvSpPr>
          <p:spPr>
            <a:xfrm>
              <a:off x="920148" y="3137518"/>
              <a:ext cx="288032" cy="50405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endPara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" name="이등변 삼각형 8">
              <a:extLst>
                <a:ext uri="{FF2B5EF4-FFF2-40B4-BE49-F238E27FC236}">
                  <a16:creationId xmlns:a16="http://schemas.microsoft.com/office/drawing/2014/main" id="{4088C084-3BCF-43C9-8E52-2255E9C65A2D}"/>
                </a:ext>
              </a:extLst>
            </p:cNvPr>
            <p:cNvSpPr/>
            <p:nvPr/>
          </p:nvSpPr>
          <p:spPr>
            <a:xfrm rot="16200000">
              <a:off x="921734" y="3334963"/>
              <a:ext cx="265413" cy="90000"/>
            </a:xfrm>
            <a:prstGeom prst="triangle">
              <a:avLst>
                <a:gd name="adj" fmla="val 45693"/>
              </a:avLst>
            </a:prstGeom>
            <a:solidFill>
              <a:schemeClr val="tx1">
                <a:lumMod val="50000"/>
                <a:lumOff val="5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93087FB0-2F12-4077-84E4-281311D992AF}"/>
              </a:ext>
            </a:extLst>
          </p:cNvPr>
          <p:cNvGrpSpPr/>
          <p:nvPr/>
        </p:nvGrpSpPr>
        <p:grpSpPr>
          <a:xfrm flipH="1">
            <a:off x="8148170" y="3432951"/>
            <a:ext cx="288032" cy="504056"/>
            <a:chOff x="920148" y="3137518"/>
            <a:chExt cx="288032" cy="504056"/>
          </a:xfrm>
        </p:grpSpPr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349755E1-1EF9-4703-9956-7D069DCAA893}"/>
                </a:ext>
              </a:extLst>
            </p:cNvPr>
            <p:cNvSpPr/>
            <p:nvPr/>
          </p:nvSpPr>
          <p:spPr>
            <a:xfrm>
              <a:off x="920148" y="3137518"/>
              <a:ext cx="288032" cy="50405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endPara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64" name="이등변 삼각형 163">
              <a:extLst>
                <a:ext uri="{FF2B5EF4-FFF2-40B4-BE49-F238E27FC236}">
                  <a16:creationId xmlns:a16="http://schemas.microsoft.com/office/drawing/2014/main" id="{AD20D5F8-8F01-4829-BB59-3A3327467B57}"/>
                </a:ext>
              </a:extLst>
            </p:cNvPr>
            <p:cNvSpPr/>
            <p:nvPr/>
          </p:nvSpPr>
          <p:spPr>
            <a:xfrm rot="16200000">
              <a:off x="921734" y="3334963"/>
              <a:ext cx="265413" cy="90000"/>
            </a:xfrm>
            <a:prstGeom prst="triangle">
              <a:avLst>
                <a:gd name="adj" fmla="val 45693"/>
              </a:avLst>
            </a:prstGeom>
            <a:solidFill>
              <a:schemeClr val="tx1">
                <a:lumMod val="50000"/>
                <a:lumOff val="5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16" name="그림 15">
            <a:extLst>
              <a:ext uri="{FF2B5EF4-FFF2-40B4-BE49-F238E27FC236}">
                <a16:creationId xmlns:a16="http://schemas.microsoft.com/office/drawing/2014/main" id="{EAB382F0-F2A1-4666-9261-F4104F93BC5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357" t="19029" r="25446" b="1234"/>
          <a:stretch/>
        </p:blipFill>
        <p:spPr>
          <a:xfrm>
            <a:off x="4711489" y="1482128"/>
            <a:ext cx="3221762" cy="4302561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F44DD58F-C138-4AF5-8C95-C10BA7E8D9C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375" t="18934" r="24481" b="3695"/>
          <a:stretch/>
        </p:blipFill>
        <p:spPr>
          <a:xfrm>
            <a:off x="1388829" y="1515156"/>
            <a:ext cx="3280145" cy="4302561"/>
          </a:xfrm>
          <a:prstGeom prst="rect">
            <a:avLst/>
          </a:prstGeom>
        </p:spPr>
      </p:pic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6FE64021-DFC0-46CD-941E-29C9E44A2839}"/>
              </a:ext>
            </a:extLst>
          </p:cNvPr>
          <p:cNvSpPr/>
          <p:nvPr/>
        </p:nvSpPr>
        <p:spPr>
          <a:xfrm>
            <a:off x="2639616" y="61446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2825595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939179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자료 상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질적인 영상자료가 보여지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레이어로 연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348375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21" name="직사각형 20">
            <a:extLst>
              <a:ext uri="{FF2B5EF4-FFF2-40B4-BE49-F238E27FC236}">
                <a16:creationId xmlns:a16="http://schemas.microsoft.com/office/drawing/2014/main" id="{945D3C81-4079-423F-9A90-7DEA64573C1A}"/>
              </a:ext>
            </a:extLst>
          </p:cNvPr>
          <p:cNvSpPr/>
          <p:nvPr/>
        </p:nvSpPr>
        <p:spPr>
          <a:xfrm>
            <a:off x="6600056" y="924951"/>
            <a:ext cx="1080120" cy="234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동향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47B119A6-73D2-4A66-8AA4-CC498B1F41C0}"/>
              </a:ext>
            </a:extLst>
          </p:cNvPr>
          <p:cNvSpPr/>
          <p:nvPr/>
        </p:nvSpPr>
        <p:spPr>
          <a:xfrm>
            <a:off x="945811" y="2255603"/>
            <a:ext cx="7815517" cy="9705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defTabSz="742950" latinLnBrk="1"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분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공시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&gt;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742950" latinLnBrk="1"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공언어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문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742950" latinLnBrk="1"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공형태   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DF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 다운로드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742950" latinLnBrk="1"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수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2</a:t>
            </a: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167D9A4A-71A8-40CB-9446-0E842466F287}"/>
              </a:ext>
            </a:extLst>
          </p:cNvPr>
          <p:cNvGrpSpPr/>
          <p:nvPr/>
        </p:nvGrpSpPr>
        <p:grpSpPr>
          <a:xfrm>
            <a:off x="1055440" y="3330623"/>
            <a:ext cx="3744416" cy="218101"/>
            <a:chOff x="3287688" y="7159620"/>
            <a:chExt cx="3096344" cy="222541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3D19A834-2EA4-494D-B058-72185755FCD2}"/>
                </a:ext>
              </a:extLst>
            </p:cNvPr>
            <p:cNvSpPr/>
            <p:nvPr/>
          </p:nvSpPr>
          <p:spPr>
            <a:xfrm>
              <a:off x="3287688" y="7159620"/>
              <a:ext cx="360040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212BDA42-5ACE-472C-A8C8-A147D9AC5ED8}"/>
                </a:ext>
              </a:extLst>
            </p:cNvPr>
            <p:cNvSpPr/>
            <p:nvPr/>
          </p:nvSpPr>
          <p:spPr>
            <a:xfrm>
              <a:off x="3729296" y="7159620"/>
              <a:ext cx="360040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보고</a:t>
              </a: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170F81CB-4722-490A-83D7-DA87D7D967FB}"/>
                </a:ext>
              </a:extLst>
            </p:cNvPr>
            <p:cNvSpPr/>
            <p:nvPr/>
          </p:nvSpPr>
          <p:spPr>
            <a:xfrm>
              <a:off x="4170904" y="7159620"/>
              <a:ext cx="556944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r>
                <a:rPr lang="ko-KR" altLang="en-US" sz="9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</a:t>
              </a:r>
              <a:endPara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6EF054FF-ED63-495C-8CEE-7D5036631A4B}"/>
                </a:ext>
              </a:extLst>
            </p:cNvPr>
            <p:cNvSpPr/>
            <p:nvPr/>
          </p:nvSpPr>
          <p:spPr>
            <a:xfrm>
              <a:off x="4809416" y="7164060"/>
              <a:ext cx="556944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배구조</a:t>
              </a:r>
            </a:p>
          </p:txBody>
        </p:sp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C596C1D6-8A84-48FE-B969-EF8D1DD55FF2}"/>
                </a:ext>
              </a:extLst>
            </p:cNvPr>
            <p:cNvSpPr/>
            <p:nvPr/>
          </p:nvSpPr>
          <p:spPr>
            <a:xfrm>
              <a:off x="5451366" y="7164060"/>
              <a:ext cx="932666" cy="2181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배구조보고서</a:t>
              </a:r>
            </a:p>
          </p:txBody>
        </p:sp>
      </p:grp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79094939-FF7F-44CB-BDE4-6405F5FD3439}"/>
              </a:ext>
            </a:extLst>
          </p:cNvPr>
          <p:cNvSpPr/>
          <p:nvPr/>
        </p:nvSpPr>
        <p:spPr>
          <a:xfrm>
            <a:off x="3153207" y="3553350"/>
            <a:ext cx="3165926" cy="60494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영상 플레이어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FAEFBF5B-B663-4210-8235-ACE83D88D442}"/>
              </a:ext>
            </a:extLst>
          </p:cNvPr>
          <p:cNvSpPr/>
          <p:nvPr/>
        </p:nvSpPr>
        <p:spPr>
          <a:xfrm>
            <a:off x="349793" y="1073834"/>
            <a:ext cx="8626404" cy="538858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graphicFrame>
        <p:nvGraphicFramePr>
          <p:cNvPr id="96" name="표 10">
            <a:extLst>
              <a:ext uri="{FF2B5EF4-FFF2-40B4-BE49-F238E27FC236}">
                <a16:creationId xmlns:a16="http://schemas.microsoft.com/office/drawing/2014/main" id="{F500A7D0-C118-4D44-9D8F-1F293C3BA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414274"/>
              </p:ext>
            </p:extLst>
          </p:nvPr>
        </p:nvGraphicFramePr>
        <p:xfrm>
          <a:off x="9275970" y="750180"/>
          <a:ext cx="2922885" cy="6242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자료 플레이어 화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재생 시 세부 기능은 영상 플레이어에서 제공하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본 기능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</a:tbl>
          </a:graphicData>
        </a:graphic>
      </p:graphicFrame>
      <p:pic>
        <p:nvPicPr>
          <p:cNvPr id="103" name="그림 102">
            <a:extLst>
              <a:ext uri="{FF2B5EF4-FFF2-40B4-BE49-F238E27FC236}">
                <a16:creationId xmlns:a16="http://schemas.microsoft.com/office/drawing/2014/main" id="{8D718834-921E-456F-B069-2D7A764865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55" t="20688" r="30394" b="21629"/>
          <a:stretch/>
        </p:blipFill>
        <p:spPr>
          <a:xfrm>
            <a:off x="1247094" y="1518801"/>
            <a:ext cx="6819112" cy="385180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F7E51777-BD4C-42C0-9F53-652B2C418AA3}"/>
              </a:ext>
            </a:extLst>
          </p:cNvPr>
          <p:cNvGrpSpPr/>
          <p:nvPr/>
        </p:nvGrpSpPr>
        <p:grpSpPr>
          <a:xfrm>
            <a:off x="4383683" y="3061942"/>
            <a:ext cx="576000" cy="576000"/>
            <a:chOff x="1519093" y="5661249"/>
            <a:chExt cx="504056" cy="504056"/>
          </a:xfrm>
        </p:grpSpPr>
        <p:sp>
          <p:nvSpPr>
            <p:cNvPr id="100" name="타원 99">
              <a:extLst>
                <a:ext uri="{FF2B5EF4-FFF2-40B4-BE49-F238E27FC236}">
                  <a16:creationId xmlns:a16="http://schemas.microsoft.com/office/drawing/2014/main" id="{03883278-4B99-4A4C-8A6F-2287F93594E2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1" name="이등변 삼각형 100">
              <a:extLst>
                <a:ext uri="{FF2B5EF4-FFF2-40B4-BE49-F238E27FC236}">
                  <a16:creationId xmlns:a16="http://schemas.microsoft.com/office/drawing/2014/main" id="{17EB004C-7B65-4133-9870-72CFEA56B758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E528120C-CFBA-4398-8F5C-3EBB89650B5F}"/>
              </a:ext>
            </a:extLst>
          </p:cNvPr>
          <p:cNvSpPr/>
          <p:nvPr/>
        </p:nvSpPr>
        <p:spPr>
          <a:xfrm>
            <a:off x="349793" y="733400"/>
            <a:ext cx="8626404" cy="3399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기후변화 시나리오와 재무영향 분석</a:t>
            </a:r>
          </a:p>
        </p:txBody>
      </p:sp>
      <p:pic>
        <p:nvPicPr>
          <p:cNvPr id="119" name="그림 118">
            <a:extLst>
              <a:ext uri="{FF2B5EF4-FFF2-40B4-BE49-F238E27FC236}">
                <a16:creationId xmlns:a16="http://schemas.microsoft.com/office/drawing/2014/main" id="{F307F5E0-9CB7-469B-A619-2A17298F89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967" y="5920116"/>
            <a:ext cx="8627229" cy="532440"/>
          </a:xfrm>
          <a:prstGeom prst="rect">
            <a:avLst/>
          </a:prstGeom>
        </p:spPr>
      </p:pic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212BC9E8-2944-4F6C-B2F6-AA5B20752302}"/>
              </a:ext>
            </a:extLst>
          </p:cNvPr>
          <p:cNvSpPr/>
          <p:nvPr/>
        </p:nvSpPr>
        <p:spPr>
          <a:xfrm>
            <a:off x="321112" y="58860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6823221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518699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자료 상세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을 선택하였을 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사 내용이 보여지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FAEFBF5B-B663-4210-8235-ACE83D88D442}"/>
              </a:ext>
            </a:extLst>
          </p:cNvPr>
          <p:cNvSpPr/>
          <p:nvPr/>
        </p:nvSpPr>
        <p:spPr>
          <a:xfrm>
            <a:off x="349793" y="1073311"/>
            <a:ext cx="8626404" cy="5461256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900" b="1" dirty="0">
              <a:latin typeface="+mn-ea"/>
              <a:cs typeface="함초롬바탕" panose="02030604000101010101" pitchFamily="18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9C7B2E5-34CC-4AA4-8816-5F514AA16DE1}"/>
              </a:ext>
            </a:extLst>
          </p:cNvPr>
          <p:cNvSpPr/>
          <p:nvPr/>
        </p:nvSpPr>
        <p:spPr>
          <a:xfrm>
            <a:off x="349793" y="733400"/>
            <a:ext cx="8626404" cy="3399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ISSB, TCFD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의 기후 </a:t>
            </a:r>
            <a:r>
              <a:rPr lang="en-US" altLang="ko-KR" sz="12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thfyyl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 </a:t>
            </a:r>
            <a:endParaRPr lang="ko-KR" altLang="en-US" sz="1200" dirty="0">
              <a:solidFill>
                <a:schemeClr val="bg1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86AFA56-7403-4A4B-9242-2244C488FC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69" t="18560" r="34262" b="25530"/>
          <a:stretch/>
        </p:blipFill>
        <p:spPr>
          <a:xfrm>
            <a:off x="488916" y="1213697"/>
            <a:ext cx="8249723" cy="4976245"/>
          </a:xfrm>
          <a:prstGeom prst="rect">
            <a:avLst/>
          </a:prstGeom>
        </p:spPr>
      </p:pic>
      <p:graphicFrame>
        <p:nvGraphicFramePr>
          <p:cNvPr id="22" name="표 10">
            <a:extLst>
              <a:ext uri="{FF2B5EF4-FFF2-40B4-BE49-F238E27FC236}">
                <a16:creationId xmlns:a16="http://schemas.microsoft.com/office/drawing/2014/main" id="{C0021F38-D252-4C1E-B5F1-C3E37E8153FB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750180"/>
          <a:ext cx="2922885" cy="6242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자료 뷰어 화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088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내 세부 기능은 각 뷰어에서 제공하는 기본 기능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755777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128359"/>
              </p:ext>
            </p:extLst>
          </p:nvPr>
        </p:nvGraphicFramePr>
        <p:xfrm>
          <a:off x="1" y="0"/>
          <a:ext cx="12191999" cy="492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 레슨 자료 상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종류가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원포인트레슨으로 등록된 컨텐츠 출력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9C7B2E5-34CC-4AA4-8816-5F514AA16DE1}"/>
              </a:ext>
            </a:extLst>
          </p:cNvPr>
          <p:cNvSpPr/>
          <p:nvPr/>
        </p:nvSpPr>
        <p:spPr>
          <a:xfrm>
            <a:off x="349793" y="733400"/>
            <a:ext cx="8626404" cy="3399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2.0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관리와 공시 고도화 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ACB659-22C4-4E2F-8E37-7E0BDA77CDBD}"/>
              </a:ext>
            </a:extLst>
          </p:cNvPr>
          <p:cNvSpPr txBox="1"/>
          <p:nvPr/>
        </p:nvSpPr>
        <p:spPr>
          <a:xfrm>
            <a:off x="479376" y="1296949"/>
            <a:ext cx="61061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2.0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관리와 공시 고도화 </a:t>
            </a:r>
            <a:endParaRPr lang="ko-KR" alt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7F72E9-A7D2-4EBD-9B42-DA4F7D52AFE5}"/>
              </a:ext>
            </a:extLst>
          </p:cNvPr>
          <p:cNvSpPr txBox="1"/>
          <p:nvPr/>
        </p:nvSpPr>
        <p:spPr>
          <a:xfrm>
            <a:off x="6960096" y="1542819"/>
            <a:ext cx="187220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0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0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 프로그램 안내</a:t>
            </a:r>
            <a:endParaRPr lang="ko-KR" altLang="en-US" sz="1000" u="sng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14C41ED1-6A8F-4619-BB3B-E71B0F73D547}"/>
              </a:ext>
            </a:extLst>
          </p:cNvPr>
          <p:cNvGrpSpPr/>
          <p:nvPr/>
        </p:nvGrpSpPr>
        <p:grpSpPr>
          <a:xfrm>
            <a:off x="4749550" y="1891845"/>
            <a:ext cx="3979995" cy="2113219"/>
            <a:chOff x="4414387" y="2099660"/>
            <a:chExt cx="4372765" cy="1085052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2D4EC604-C4E1-4733-B992-D84EF360CBC9}"/>
                </a:ext>
              </a:extLst>
            </p:cNvPr>
            <p:cNvSpPr/>
            <p:nvPr/>
          </p:nvSpPr>
          <p:spPr>
            <a:xfrm>
              <a:off x="4414387" y="2099660"/>
              <a:ext cx="4372765" cy="108505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2294F13C-683E-4986-8809-A46D7464A53D}"/>
                </a:ext>
              </a:extLst>
            </p:cNvPr>
            <p:cNvSpPr/>
            <p:nvPr/>
          </p:nvSpPr>
          <p:spPr>
            <a:xfrm>
              <a:off x="4472264" y="2104066"/>
              <a:ext cx="4226543" cy="101082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72000" bIns="72000" rtlCol="0" anchor="t" anchorCtr="0"/>
            <a:lstStyle/>
            <a:p>
              <a:pPr marR="0" lvl="0" indent="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E48B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. Opening</a:t>
              </a:r>
            </a:p>
            <a:p>
              <a:pPr marL="357188" marR="0" lvl="0" indent="-177800" algn="l" defTabSz="977172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중립 배경과 대응 필요성</a:t>
              </a:r>
              <a:br>
                <a:rPr kumimoji="0" lang="en-US" altLang="ko-KR" sz="900" b="1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</a:b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2020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년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각국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한국 탄소 중립 선언</a:t>
              </a:r>
              <a:b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IFRS ISSB, EU CSRD, SEC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규제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924D9FE-CE57-43B2-8C7A-6CD9904E7EFA}"/>
              </a:ext>
            </a:extLst>
          </p:cNvPr>
          <p:cNvSpPr/>
          <p:nvPr/>
        </p:nvSpPr>
        <p:spPr>
          <a:xfrm>
            <a:off x="4766353" y="4252703"/>
            <a:ext cx="3963192" cy="234876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8B0FED63-B6F2-427D-ADF0-E3C596F65DAB}"/>
              </a:ext>
            </a:extLst>
          </p:cNvPr>
          <p:cNvSpPr/>
          <p:nvPr/>
        </p:nvSpPr>
        <p:spPr>
          <a:xfrm>
            <a:off x="4807427" y="4273520"/>
            <a:ext cx="4226543" cy="101082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t" anchorCtr="0"/>
          <a:lstStyle/>
          <a:p>
            <a:pPr>
              <a:lnSpc>
                <a:spcPct val="150000"/>
              </a:lnSpc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.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배출량 관리 및 측정 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량 관리의 방향성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E48B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 배출량 최신 트렌드</a:t>
            </a:r>
            <a:b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 전략 수립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감축 실행과 공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357188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LCA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반 제품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량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산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8835774D-084A-4C6A-A1FE-3BDC71C73D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612" y="4252703"/>
            <a:ext cx="3989115" cy="2348766"/>
          </a:xfrm>
          <a:prstGeom prst="rect">
            <a:avLst/>
          </a:prstGeom>
        </p:spPr>
      </p:pic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FAEFBF5B-B663-4210-8235-ACE83D88D442}"/>
              </a:ext>
            </a:extLst>
          </p:cNvPr>
          <p:cNvSpPr/>
          <p:nvPr/>
        </p:nvSpPr>
        <p:spPr>
          <a:xfrm>
            <a:off x="349793" y="1073311"/>
            <a:ext cx="8626404" cy="5461256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900" b="1" dirty="0">
              <a:latin typeface="+mn-ea"/>
              <a:cs typeface="함초롬바탕" panose="02030604000101010101" pitchFamily="18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7F35C48-72AB-477F-B62F-5A8AA19984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527" y="1891844"/>
            <a:ext cx="3979994" cy="213652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id="{8510CA5D-55BB-43BD-BEE6-BE1D202BC5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612" y="3783530"/>
            <a:ext cx="3979995" cy="247255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4808C774-DEFF-41B7-B437-5B912C0C1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880" y="6410939"/>
            <a:ext cx="3979995" cy="247255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F4FB4DC8-4071-4B1E-BEAE-048FBB14280B}"/>
              </a:ext>
            </a:extLst>
          </p:cNvPr>
          <p:cNvSpPr/>
          <p:nvPr/>
        </p:nvSpPr>
        <p:spPr>
          <a:xfrm>
            <a:off x="593949" y="6553069"/>
            <a:ext cx="8184692" cy="104908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42" name="표 10">
            <a:extLst>
              <a:ext uri="{FF2B5EF4-FFF2-40B4-BE49-F238E27FC236}">
                <a16:creationId xmlns:a16="http://schemas.microsoft.com/office/drawing/2014/main" id="{9661F963-E112-4536-BEB8-5E16F510C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087929"/>
              </p:ext>
            </p:extLst>
          </p:nvPr>
        </p:nvGraphicFramePr>
        <p:xfrm>
          <a:off x="9275970" y="750180"/>
          <a:ext cx="2922885" cy="29917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20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컨텐츠 출력 화면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73981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로드 된 동영상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영상 뷰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02)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출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되면서 재생됨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로드 된 동영상 해당 페이지 내에서 플레이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멉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화면 등 기능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플레이어에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하는 기본 기능과 동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933553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분량은 영상 재생 전 초기 화면에서 노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재생되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834122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슨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780830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설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09304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기 버튼 클릭 시 화면 닫힘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1536568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 L015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6442635"/>
                  </a:ext>
                </a:extLst>
              </a:tr>
            </a:tbl>
          </a:graphicData>
        </a:graphic>
      </p:graphicFrame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D9FE1D33-6553-4E36-A66E-3D8F8A0948B2}"/>
              </a:ext>
            </a:extLst>
          </p:cNvPr>
          <p:cNvSpPr/>
          <p:nvPr/>
        </p:nvSpPr>
        <p:spPr>
          <a:xfrm>
            <a:off x="458918" y="12034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3E2815D5-3176-425C-B591-A70DDBBF758C}"/>
              </a:ext>
            </a:extLst>
          </p:cNvPr>
          <p:cNvSpPr/>
          <p:nvPr/>
        </p:nvSpPr>
        <p:spPr>
          <a:xfrm>
            <a:off x="583399" y="18462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B59DDD81-FCBB-442D-92F5-1D6CA141B0B1}"/>
              </a:ext>
            </a:extLst>
          </p:cNvPr>
          <p:cNvSpPr/>
          <p:nvPr/>
        </p:nvSpPr>
        <p:spPr>
          <a:xfrm>
            <a:off x="4131994" y="1925809"/>
            <a:ext cx="446139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09:33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F16289DD-B9D3-42CE-9716-E563A21AF628}"/>
              </a:ext>
            </a:extLst>
          </p:cNvPr>
          <p:cNvSpPr/>
          <p:nvPr/>
        </p:nvSpPr>
        <p:spPr>
          <a:xfrm>
            <a:off x="4032582" y="18628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2710CF18-3A24-4FC4-AD8C-394E5F826B31}"/>
              </a:ext>
            </a:extLst>
          </p:cNvPr>
          <p:cNvSpPr/>
          <p:nvPr/>
        </p:nvSpPr>
        <p:spPr>
          <a:xfrm>
            <a:off x="4781798" y="19168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D25C6D03-46C1-4EF9-9DCA-CC878072A12C}"/>
              </a:ext>
            </a:extLst>
          </p:cNvPr>
          <p:cNvSpPr/>
          <p:nvPr/>
        </p:nvSpPr>
        <p:spPr>
          <a:xfrm>
            <a:off x="4919133" y="22924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E1EAD964-9BFC-491E-BC7C-B321B8C9822E}"/>
              </a:ext>
            </a:extLst>
          </p:cNvPr>
          <p:cNvSpPr/>
          <p:nvPr/>
        </p:nvSpPr>
        <p:spPr>
          <a:xfrm>
            <a:off x="6906433" y="14886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9379219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60988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02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602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번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965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5685448"/>
                  </a:ext>
                </a:extLst>
              </a:tr>
              <a:tr h="2602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출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해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0281730"/>
                  </a:ext>
                </a:extLst>
              </a:tr>
              <a:tr h="2602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504885"/>
                  </a:ext>
                </a:extLst>
              </a:tr>
              <a:tr h="3962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언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335176"/>
                  </a:ext>
                </a:extLst>
              </a:tr>
              <a:tr h="18459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형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가 문서일 경우에만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 및 다운로드 가능여부에 따라 출력 문구 상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046966"/>
                  </a:ext>
                </a:extLst>
              </a:tr>
              <a:tr h="2602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2729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015031"/>
                  </a:ext>
                </a:extLst>
              </a:tr>
              <a:tr h="9971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7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제공형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라 버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 열리면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실행되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링크연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으로 아웃링크 연결되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93560"/>
                  </a:ext>
                </a:extLst>
              </a:tr>
              <a:tr h="4159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 및 이미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플레이어 실행되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357941"/>
                  </a:ext>
                </a:extLst>
              </a:tr>
              <a:tr h="2729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66968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51232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8E7C6E1-CD35-4F58-8B29-925EC40B158C}"/>
              </a:ext>
            </a:extLst>
          </p:cNvPr>
          <p:cNvSpPr/>
          <p:nvPr/>
        </p:nvSpPr>
        <p:spPr>
          <a:xfrm>
            <a:off x="8998916" y="2214626"/>
            <a:ext cx="212096" cy="945774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83" name="표 82">
            <a:extLst>
              <a:ext uri="{FF2B5EF4-FFF2-40B4-BE49-F238E27FC236}">
                <a16:creationId xmlns:a16="http://schemas.microsoft.com/office/drawing/2014/main" id="{AAF0E1F7-4518-4C7F-8852-AC023862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058008"/>
              </p:ext>
            </p:extLst>
          </p:nvPr>
        </p:nvGraphicFramePr>
        <p:xfrm>
          <a:off x="1" y="-3212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135368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진입 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가이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 등 화면에서 개별 컨텐츠 클릭 시 출력 화면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pSp>
        <p:nvGrpSpPr>
          <p:cNvPr id="30" name="그룹 29">
            <a:extLst>
              <a:ext uri="{FF2B5EF4-FFF2-40B4-BE49-F238E27FC236}">
                <a16:creationId xmlns:a16="http://schemas.microsoft.com/office/drawing/2014/main" id="{EC2BF156-C132-4C09-9F59-895C609E343F}"/>
              </a:ext>
            </a:extLst>
          </p:cNvPr>
          <p:cNvGrpSpPr/>
          <p:nvPr/>
        </p:nvGrpSpPr>
        <p:grpSpPr>
          <a:xfrm>
            <a:off x="403109" y="1157739"/>
            <a:ext cx="4203154" cy="2266974"/>
            <a:chOff x="-2695580" y="6922940"/>
            <a:chExt cx="5085457" cy="2266974"/>
          </a:xfrm>
        </p:grpSpPr>
        <p:sp>
          <p:nvSpPr>
            <p:cNvPr id="116" name="사각형: 둥근 모서리 115">
              <a:extLst>
                <a:ext uri="{FF2B5EF4-FFF2-40B4-BE49-F238E27FC236}">
                  <a16:creationId xmlns:a16="http://schemas.microsoft.com/office/drawing/2014/main" id="{7D521382-514E-4C2B-BC48-369EF67AC22B}"/>
                </a:ext>
              </a:extLst>
            </p:cNvPr>
            <p:cNvSpPr/>
            <p:nvPr/>
          </p:nvSpPr>
          <p:spPr>
            <a:xfrm>
              <a:off x="41963" y="7385191"/>
              <a:ext cx="1524627" cy="177055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1</a:t>
              </a:r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 전</a:t>
              </a:r>
              <a:endPara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71E0B0C8-2C00-41B1-AF54-614134B4A30F}"/>
                </a:ext>
              </a:extLst>
            </p:cNvPr>
            <p:cNvSpPr/>
            <p:nvPr/>
          </p:nvSpPr>
          <p:spPr>
            <a:xfrm>
              <a:off x="-2695580" y="6922940"/>
              <a:ext cx="5085457" cy="2266974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800" b="1" dirty="0">
                <a:latin typeface="+mn-ea"/>
                <a:cs typeface="함초롬바탕" panose="02030604000101010101" pitchFamily="18" charset="-127"/>
              </a:endParaRPr>
            </a:p>
          </p:txBody>
        </p:sp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0073A786-6A45-43DF-8E31-4C2FC3F5281F}"/>
                </a:ext>
              </a:extLst>
            </p:cNvPr>
            <p:cNvSpPr/>
            <p:nvPr/>
          </p:nvSpPr>
          <p:spPr>
            <a:xfrm>
              <a:off x="-2596339" y="7389401"/>
              <a:ext cx="98040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컨텐츠 번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유형 분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 출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발간 일자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공 언어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제공 형태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0C752A92-354E-4515-8ECD-E725EF8CE2D5}"/>
                </a:ext>
              </a:extLst>
            </p:cNvPr>
            <p:cNvGrpSpPr/>
            <p:nvPr/>
          </p:nvGrpSpPr>
          <p:grpSpPr>
            <a:xfrm>
              <a:off x="294988" y="7668772"/>
              <a:ext cx="1035031" cy="744366"/>
              <a:chOff x="-1516995" y="7271063"/>
              <a:chExt cx="1035031" cy="790250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FD91AD14-3C0F-4375-8FF6-9740B36606F4}"/>
                  </a:ext>
                </a:extLst>
              </p:cNvPr>
              <p:cNvGrpSpPr/>
              <p:nvPr/>
            </p:nvGrpSpPr>
            <p:grpSpPr>
              <a:xfrm>
                <a:off x="-1516995" y="7271063"/>
                <a:ext cx="1035031" cy="790250"/>
                <a:chOff x="7606588" y="4599074"/>
                <a:chExt cx="693262" cy="435102"/>
              </a:xfrm>
            </p:grpSpPr>
            <p:sp>
              <p:nvSpPr>
                <p:cNvPr id="133" name="직사각형 132">
                  <a:extLst>
                    <a:ext uri="{FF2B5EF4-FFF2-40B4-BE49-F238E27FC236}">
                      <a16:creationId xmlns:a16="http://schemas.microsoft.com/office/drawing/2014/main" id="{B7D49DF9-748D-43A4-83E9-B5ABCEB9F7AD}"/>
                    </a:ext>
                  </a:extLst>
                </p:cNvPr>
                <p:cNvSpPr/>
                <p:nvPr/>
              </p:nvSpPr>
              <p:spPr>
                <a:xfrm>
                  <a:off x="7606588" y="4871845"/>
                  <a:ext cx="693262" cy="120824"/>
                </a:xfrm>
                <a:prstGeom prst="rect">
                  <a:avLst/>
                </a:prstGeom>
                <a:noFill/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 anchorCtr="0"/>
                <a:lstStyle/>
                <a:p>
                  <a:pPr algn="ctr"/>
                  <a:r>
                    <a:rPr lang="ko-KR" altLang="en-US" sz="8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뷰어 보기</a:t>
                  </a:r>
                </a:p>
              </p:txBody>
            </p:sp>
            <p:sp>
              <p:nvSpPr>
                <p:cNvPr id="134" name="직사각형 133">
                  <a:extLst>
                    <a:ext uri="{FF2B5EF4-FFF2-40B4-BE49-F238E27FC236}">
                      <a16:creationId xmlns:a16="http://schemas.microsoft.com/office/drawing/2014/main" id="{2936B4B3-0A99-41D3-85EC-67F1070F12E4}"/>
                    </a:ext>
                  </a:extLst>
                </p:cNvPr>
                <p:cNvSpPr/>
                <p:nvPr/>
              </p:nvSpPr>
              <p:spPr>
                <a:xfrm>
                  <a:off x="7696648" y="4599074"/>
                  <a:ext cx="493882" cy="435102"/>
                </a:xfrm>
                <a:prstGeom prst="rect">
                  <a:avLst/>
                </a:prstGeom>
                <a:noFill/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700" dirty="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135" name="그림 134">
                <a:extLst>
                  <a:ext uri="{FF2B5EF4-FFF2-40B4-BE49-F238E27FC236}">
                    <a16:creationId xmlns:a16="http://schemas.microsoft.com/office/drawing/2014/main" id="{794D7330-6E6F-4FB8-8C04-BFF5B044F7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318658" y="7319403"/>
                <a:ext cx="609600" cy="459615"/>
              </a:xfrm>
              <a:prstGeom prst="rect">
                <a:avLst/>
              </a:prstGeom>
            </p:spPr>
          </p:pic>
        </p:grpSp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8039DF4E-D9F0-4CEF-84EB-F02B1DC4BF97}"/>
                </a:ext>
              </a:extLst>
            </p:cNvPr>
            <p:cNvSpPr/>
            <p:nvPr/>
          </p:nvSpPr>
          <p:spPr>
            <a:xfrm>
              <a:off x="-2480798" y="8864639"/>
              <a:ext cx="1795182" cy="146520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8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137" name="그룹 136">
              <a:extLst>
                <a:ext uri="{FF2B5EF4-FFF2-40B4-BE49-F238E27FC236}">
                  <a16:creationId xmlns:a16="http://schemas.microsoft.com/office/drawing/2014/main" id="{08C88050-5601-4A0F-B298-164088BDB2BB}"/>
                </a:ext>
              </a:extLst>
            </p:cNvPr>
            <p:cNvGrpSpPr/>
            <p:nvPr/>
          </p:nvGrpSpPr>
          <p:grpSpPr>
            <a:xfrm>
              <a:off x="-2441948" y="8637678"/>
              <a:ext cx="2345899" cy="158109"/>
              <a:chOff x="1204104" y="5830815"/>
              <a:chExt cx="2345899" cy="167858"/>
            </a:xfrm>
          </p:grpSpPr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5C062496-86EE-4E53-8B6D-44F01A4698C1}"/>
                  </a:ext>
                </a:extLst>
              </p:cNvPr>
              <p:cNvSpPr/>
              <p:nvPr/>
            </p:nvSpPr>
            <p:spPr>
              <a:xfrm>
                <a:off x="1204104" y="5830915"/>
                <a:ext cx="37798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2A0F23E3-6A08-4DA7-B7E5-B6F599261193}"/>
                  </a:ext>
                </a:extLst>
              </p:cNvPr>
              <p:cNvSpPr/>
              <p:nvPr/>
            </p:nvSpPr>
            <p:spPr>
              <a:xfrm>
                <a:off x="1621519" y="5830915"/>
                <a:ext cx="756906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E4F7AA1A-D659-4402-BDFA-2FBE372F9177}"/>
                  </a:ext>
                </a:extLst>
              </p:cNvPr>
              <p:cNvSpPr/>
              <p:nvPr/>
            </p:nvSpPr>
            <p:spPr>
              <a:xfrm>
                <a:off x="2411499" y="5830915"/>
                <a:ext cx="38681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7CB01303-177B-49E1-928F-F901F310BCD9}"/>
                  </a:ext>
                </a:extLst>
              </p:cNvPr>
              <p:cNvSpPr/>
              <p:nvPr/>
            </p:nvSpPr>
            <p:spPr>
              <a:xfrm>
                <a:off x="2833194" y="5830815"/>
                <a:ext cx="71680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</a:t>
                </a:r>
              </a:p>
            </p:txBody>
          </p:sp>
        </p:grpSp>
        <p:sp>
          <p:nvSpPr>
            <p:cNvPr id="142" name="사각형: 둥근 모서리 141">
              <a:extLst>
                <a:ext uri="{FF2B5EF4-FFF2-40B4-BE49-F238E27FC236}">
                  <a16:creationId xmlns:a16="http://schemas.microsoft.com/office/drawing/2014/main" id="{800AAAC5-9666-411A-867B-33AA56E7F5AF}"/>
                </a:ext>
              </a:extLst>
            </p:cNvPr>
            <p:cNvSpPr/>
            <p:nvPr/>
          </p:nvSpPr>
          <p:spPr>
            <a:xfrm>
              <a:off x="-2542585" y="7108371"/>
              <a:ext cx="4010759" cy="23567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algn="l" defTabSz="742950" rtl="0" eaLnBrk="1" latinLnBrk="1" hangingPunct="1"/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GRI</a:t>
              </a:r>
              <a:r>
                <a:rPr lang="ko-KR" altLang="en-US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 기준서 </a:t>
              </a:r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: GRI 2: General Disclosures 2021</a:t>
              </a:r>
              <a:endParaRPr lang="ko-KR" altLang="en-US" sz="1100" b="1" u="sng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E7A2FD2E-3FCB-423D-AFC1-5E5AE660B2B0}"/>
                </a:ext>
              </a:extLst>
            </p:cNvPr>
            <p:cNvSpPr/>
            <p:nvPr/>
          </p:nvSpPr>
          <p:spPr>
            <a:xfrm>
              <a:off x="2117056" y="6945583"/>
              <a:ext cx="217599" cy="17940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x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1C750D4F-2042-44F2-AA93-4FDA2DF0ADA0}"/>
                </a:ext>
              </a:extLst>
            </p:cNvPr>
            <p:cNvSpPr/>
            <p:nvPr/>
          </p:nvSpPr>
          <p:spPr>
            <a:xfrm>
              <a:off x="-1658676" y="7389401"/>
              <a:ext cx="194875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AIOP2123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외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GRI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2023-05-30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영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PDF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뷰어 제공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다운로드 가능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) </a:t>
              </a:r>
            </a:p>
          </p:txBody>
        </p:sp>
        <p:grpSp>
          <p:nvGrpSpPr>
            <p:cNvPr id="117" name="그룹 116">
              <a:extLst>
                <a:ext uri="{FF2B5EF4-FFF2-40B4-BE49-F238E27FC236}">
                  <a16:creationId xmlns:a16="http://schemas.microsoft.com/office/drawing/2014/main" id="{C5E2D6C6-FE2F-4697-B985-852A54A5FDAF}"/>
                </a:ext>
              </a:extLst>
            </p:cNvPr>
            <p:cNvGrpSpPr/>
            <p:nvPr/>
          </p:nvGrpSpPr>
          <p:grpSpPr>
            <a:xfrm>
              <a:off x="1108099" y="7668772"/>
              <a:ext cx="1035031" cy="744366"/>
              <a:chOff x="7606588" y="4599074"/>
              <a:chExt cx="693262" cy="435102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A83CC405-8685-493A-8E5A-B5DEC56A5133}"/>
                  </a:ext>
                </a:extLst>
              </p:cNvPr>
              <p:cNvSpPr/>
              <p:nvPr/>
            </p:nvSpPr>
            <p:spPr>
              <a:xfrm>
                <a:off x="7606588" y="4871845"/>
                <a:ext cx="693262" cy="120824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algn="ctr"/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다운로드</a:t>
                </a: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1EACEB04-9896-4A5B-837A-79D3AE4CC894}"/>
                  </a:ext>
                </a:extLst>
              </p:cNvPr>
              <p:cNvSpPr/>
              <p:nvPr/>
            </p:nvSpPr>
            <p:spPr>
              <a:xfrm>
                <a:off x="7696648" y="4599074"/>
                <a:ext cx="493882" cy="435102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4" name="화살표: 아래쪽 13">
              <a:extLst>
                <a:ext uri="{FF2B5EF4-FFF2-40B4-BE49-F238E27FC236}">
                  <a16:creationId xmlns:a16="http://schemas.microsoft.com/office/drawing/2014/main" id="{1A6D379A-DD7C-4EC0-8B5F-9FB30345894E}"/>
                </a:ext>
              </a:extLst>
            </p:cNvPr>
            <p:cNvSpPr/>
            <p:nvPr/>
          </p:nvSpPr>
          <p:spPr>
            <a:xfrm>
              <a:off x="1491196" y="7811706"/>
              <a:ext cx="205512" cy="199817"/>
            </a:xfrm>
            <a:prstGeom prst="downArrow">
              <a:avLst>
                <a:gd name="adj1" fmla="val 50000"/>
                <a:gd name="adj2" fmla="val 42373"/>
              </a:avLst>
            </a:prstGeom>
            <a:solidFill>
              <a:schemeClr val="tx1">
                <a:lumMod val="65000"/>
                <a:lumOff val="3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7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22" name="직선 연결선 21">
              <a:extLst>
                <a:ext uri="{FF2B5EF4-FFF2-40B4-BE49-F238E27FC236}">
                  <a16:creationId xmlns:a16="http://schemas.microsoft.com/office/drawing/2014/main" id="{3AFC064F-5767-43F4-82F4-8FFAB962BD21}"/>
                </a:ext>
              </a:extLst>
            </p:cNvPr>
            <p:cNvCxnSpPr>
              <a:cxnSpLocks/>
            </p:cNvCxnSpPr>
            <p:nvPr/>
          </p:nvCxnSpPr>
          <p:spPr>
            <a:xfrm>
              <a:off x="1377061" y="8053135"/>
              <a:ext cx="432000" cy="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>
              <a:extLst>
                <a:ext uri="{FF2B5EF4-FFF2-40B4-BE49-F238E27FC236}">
                  <a16:creationId xmlns:a16="http://schemas.microsoft.com/office/drawing/2014/main" id="{FAEC261A-9098-4BB3-A7C5-3B009B40C0A0}"/>
                </a:ext>
              </a:extLst>
            </p:cNvPr>
            <p:cNvCxnSpPr/>
            <p:nvPr/>
          </p:nvCxnSpPr>
          <p:spPr>
            <a:xfrm>
              <a:off x="1387440" y="7987231"/>
              <a:ext cx="0" cy="7200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직선 연결선 120">
              <a:extLst>
                <a:ext uri="{FF2B5EF4-FFF2-40B4-BE49-F238E27FC236}">
                  <a16:creationId xmlns:a16="http://schemas.microsoft.com/office/drawing/2014/main" id="{93BCECB6-2CBC-47C2-B9B3-001EE8A179A9}"/>
                </a:ext>
              </a:extLst>
            </p:cNvPr>
            <p:cNvCxnSpPr/>
            <p:nvPr/>
          </p:nvCxnSpPr>
          <p:spPr>
            <a:xfrm>
              <a:off x="1801441" y="7984945"/>
              <a:ext cx="0" cy="7200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4A9CC4B4-2139-40C0-A836-F4F39514B59C}"/>
              </a:ext>
            </a:extLst>
          </p:cNvPr>
          <p:cNvSpPr/>
          <p:nvPr/>
        </p:nvSpPr>
        <p:spPr>
          <a:xfrm>
            <a:off x="443558" y="12625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7" name="사각형: 둥근 모서리 326">
            <a:extLst>
              <a:ext uri="{FF2B5EF4-FFF2-40B4-BE49-F238E27FC236}">
                <a16:creationId xmlns:a16="http://schemas.microsoft.com/office/drawing/2014/main" id="{3821646B-4B09-4317-A8ED-4D97D202EA60}"/>
              </a:ext>
            </a:extLst>
          </p:cNvPr>
          <p:cNvSpPr/>
          <p:nvPr/>
        </p:nvSpPr>
        <p:spPr>
          <a:xfrm>
            <a:off x="478489" y="17157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28" name="그룹 327">
            <a:extLst>
              <a:ext uri="{FF2B5EF4-FFF2-40B4-BE49-F238E27FC236}">
                <a16:creationId xmlns:a16="http://schemas.microsoft.com/office/drawing/2014/main" id="{63F8B38D-B495-4025-AEA3-BEC4640E4DD2}"/>
              </a:ext>
            </a:extLst>
          </p:cNvPr>
          <p:cNvGrpSpPr/>
          <p:nvPr/>
        </p:nvGrpSpPr>
        <p:grpSpPr>
          <a:xfrm>
            <a:off x="4702862" y="1157739"/>
            <a:ext cx="4203154" cy="2266974"/>
            <a:chOff x="-2695580" y="6922940"/>
            <a:chExt cx="5085457" cy="2266974"/>
          </a:xfrm>
        </p:grpSpPr>
        <p:sp>
          <p:nvSpPr>
            <p:cNvPr id="329" name="사각형: 둥근 모서리 328">
              <a:extLst>
                <a:ext uri="{FF2B5EF4-FFF2-40B4-BE49-F238E27FC236}">
                  <a16:creationId xmlns:a16="http://schemas.microsoft.com/office/drawing/2014/main" id="{FC674C96-B50A-4E87-8B38-CD3E0AAF6872}"/>
                </a:ext>
              </a:extLst>
            </p:cNvPr>
            <p:cNvSpPr/>
            <p:nvPr/>
          </p:nvSpPr>
          <p:spPr>
            <a:xfrm>
              <a:off x="41963" y="7385191"/>
              <a:ext cx="1524627" cy="177055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1</a:t>
              </a:r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 전</a:t>
              </a:r>
              <a:endPara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30" name="사각형: 둥근 모서리 329">
              <a:extLst>
                <a:ext uri="{FF2B5EF4-FFF2-40B4-BE49-F238E27FC236}">
                  <a16:creationId xmlns:a16="http://schemas.microsoft.com/office/drawing/2014/main" id="{E5BE7837-F1D8-43DF-BD54-BC9FE5C1C6DE}"/>
                </a:ext>
              </a:extLst>
            </p:cNvPr>
            <p:cNvSpPr/>
            <p:nvPr/>
          </p:nvSpPr>
          <p:spPr>
            <a:xfrm>
              <a:off x="-2695580" y="6922940"/>
              <a:ext cx="5085457" cy="2266974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800" b="1" dirty="0">
                <a:latin typeface="+mn-ea"/>
                <a:cs typeface="함초롬바탕" panose="02030604000101010101" pitchFamily="18" charset="-127"/>
              </a:endParaRPr>
            </a:p>
          </p:txBody>
        </p:sp>
        <p:sp>
          <p:nvSpPr>
            <p:cNvPr id="331" name="직사각형 330">
              <a:extLst>
                <a:ext uri="{FF2B5EF4-FFF2-40B4-BE49-F238E27FC236}">
                  <a16:creationId xmlns:a16="http://schemas.microsoft.com/office/drawing/2014/main" id="{CE850631-1E3D-4B50-86A8-E3BF49D7B335}"/>
                </a:ext>
              </a:extLst>
            </p:cNvPr>
            <p:cNvSpPr/>
            <p:nvPr/>
          </p:nvSpPr>
          <p:spPr>
            <a:xfrm>
              <a:off x="-2596339" y="7389401"/>
              <a:ext cx="98040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컨텐츠 번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유형 분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 출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발간 일자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공 언어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제공 형태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332" name="그룹 331">
              <a:extLst>
                <a:ext uri="{FF2B5EF4-FFF2-40B4-BE49-F238E27FC236}">
                  <a16:creationId xmlns:a16="http://schemas.microsoft.com/office/drawing/2014/main" id="{5C718237-CFC5-469D-978D-0CF6406B7FC8}"/>
                </a:ext>
              </a:extLst>
            </p:cNvPr>
            <p:cNvGrpSpPr/>
            <p:nvPr/>
          </p:nvGrpSpPr>
          <p:grpSpPr>
            <a:xfrm>
              <a:off x="815925" y="7668772"/>
              <a:ext cx="1035032" cy="744366"/>
              <a:chOff x="-996058" y="7271063"/>
              <a:chExt cx="1035032" cy="790250"/>
            </a:xfrm>
          </p:grpSpPr>
          <p:grpSp>
            <p:nvGrpSpPr>
              <p:cNvPr id="349" name="그룹 348">
                <a:extLst>
                  <a:ext uri="{FF2B5EF4-FFF2-40B4-BE49-F238E27FC236}">
                    <a16:creationId xmlns:a16="http://schemas.microsoft.com/office/drawing/2014/main" id="{B577FE2D-EC1E-4149-BBF5-2EB12D4FD6EB}"/>
                  </a:ext>
                </a:extLst>
              </p:cNvPr>
              <p:cNvGrpSpPr/>
              <p:nvPr/>
            </p:nvGrpSpPr>
            <p:grpSpPr>
              <a:xfrm>
                <a:off x="-996058" y="7271063"/>
                <a:ext cx="1035032" cy="790250"/>
                <a:chOff x="7955494" y="4599074"/>
                <a:chExt cx="693262" cy="435102"/>
              </a:xfrm>
            </p:grpSpPr>
            <p:sp>
              <p:nvSpPr>
                <p:cNvPr id="351" name="직사각형 350">
                  <a:extLst>
                    <a:ext uri="{FF2B5EF4-FFF2-40B4-BE49-F238E27FC236}">
                      <a16:creationId xmlns:a16="http://schemas.microsoft.com/office/drawing/2014/main" id="{D2942FBC-37A6-447C-AE1B-F45EA19F82A8}"/>
                    </a:ext>
                  </a:extLst>
                </p:cNvPr>
                <p:cNvSpPr/>
                <p:nvPr/>
              </p:nvSpPr>
              <p:spPr>
                <a:xfrm>
                  <a:off x="7955494" y="4871845"/>
                  <a:ext cx="693262" cy="120824"/>
                </a:xfrm>
                <a:prstGeom prst="rect">
                  <a:avLst/>
                </a:prstGeom>
                <a:noFill/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 anchorCtr="0"/>
                <a:lstStyle/>
                <a:p>
                  <a:pPr algn="ctr"/>
                  <a:r>
                    <a:rPr lang="ko-KR" altLang="en-US" sz="8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뷰어 보기</a:t>
                  </a:r>
                </a:p>
              </p:txBody>
            </p:sp>
            <p:sp>
              <p:nvSpPr>
                <p:cNvPr id="352" name="직사각형 351">
                  <a:extLst>
                    <a:ext uri="{FF2B5EF4-FFF2-40B4-BE49-F238E27FC236}">
                      <a16:creationId xmlns:a16="http://schemas.microsoft.com/office/drawing/2014/main" id="{6B635387-B06E-441D-9076-69DAFC4E43CF}"/>
                    </a:ext>
                  </a:extLst>
                </p:cNvPr>
                <p:cNvSpPr/>
                <p:nvPr/>
              </p:nvSpPr>
              <p:spPr>
                <a:xfrm>
                  <a:off x="7964842" y="4599074"/>
                  <a:ext cx="653963" cy="435102"/>
                </a:xfrm>
                <a:prstGeom prst="rect">
                  <a:avLst/>
                </a:prstGeom>
                <a:noFill/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700" dirty="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350" name="그림 349">
                <a:extLst>
                  <a:ext uri="{FF2B5EF4-FFF2-40B4-BE49-F238E27FC236}">
                    <a16:creationId xmlns:a16="http://schemas.microsoft.com/office/drawing/2014/main" id="{C645DD33-9592-42D5-8E94-AF23346E7E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787035" y="7319403"/>
                <a:ext cx="609600" cy="459615"/>
              </a:xfrm>
              <a:prstGeom prst="rect">
                <a:avLst/>
              </a:prstGeom>
            </p:spPr>
          </p:pic>
        </p:grpSp>
        <p:sp>
          <p:nvSpPr>
            <p:cNvPr id="333" name="직사각형 332">
              <a:extLst>
                <a:ext uri="{FF2B5EF4-FFF2-40B4-BE49-F238E27FC236}">
                  <a16:creationId xmlns:a16="http://schemas.microsoft.com/office/drawing/2014/main" id="{768761D6-97F3-444B-B32B-43455743851F}"/>
                </a:ext>
              </a:extLst>
            </p:cNvPr>
            <p:cNvSpPr/>
            <p:nvPr/>
          </p:nvSpPr>
          <p:spPr>
            <a:xfrm>
              <a:off x="-2480798" y="8864639"/>
              <a:ext cx="1795182" cy="146520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8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334" name="그룹 333">
              <a:extLst>
                <a:ext uri="{FF2B5EF4-FFF2-40B4-BE49-F238E27FC236}">
                  <a16:creationId xmlns:a16="http://schemas.microsoft.com/office/drawing/2014/main" id="{C09DD30A-8B36-45A2-AC2B-26A75C78F30A}"/>
                </a:ext>
              </a:extLst>
            </p:cNvPr>
            <p:cNvGrpSpPr/>
            <p:nvPr/>
          </p:nvGrpSpPr>
          <p:grpSpPr>
            <a:xfrm>
              <a:off x="-2441948" y="8637678"/>
              <a:ext cx="2345899" cy="158109"/>
              <a:chOff x="1204104" y="5830815"/>
              <a:chExt cx="2345899" cy="167858"/>
            </a:xfrm>
          </p:grpSpPr>
          <p:sp>
            <p:nvSpPr>
              <p:cNvPr id="345" name="직사각형 344">
                <a:extLst>
                  <a:ext uri="{FF2B5EF4-FFF2-40B4-BE49-F238E27FC236}">
                    <a16:creationId xmlns:a16="http://schemas.microsoft.com/office/drawing/2014/main" id="{A114683F-5C58-4783-893D-1280612D32C4}"/>
                  </a:ext>
                </a:extLst>
              </p:cNvPr>
              <p:cNvSpPr/>
              <p:nvPr/>
            </p:nvSpPr>
            <p:spPr>
              <a:xfrm>
                <a:off x="1204104" y="5830915"/>
                <a:ext cx="37798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346" name="직사각형 345">
                <a:extLst>
                  <a:ext uri="{FF2B5EF4-FFF2-40B4-BE49-F238E27FC236}">
                    <a16:creationId xmlns:a16="http://schemas.microsoft.com/office/drawing/2014/main" id="{8C7913FD-D4EF-4F78-A242-2595E2B1EFA9}"/>
                  </a:ext>
                </a:extLst>
              </p:cNvPr>
              <p:cNvSpPr/>
              <p:nvPr/>
            </p:nvSpPr>
            <p:spPr>
              <a:xfrm>
                <a:off x="1621519" y="5830915"/>
                <a:ext cx="756906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347" name="직사각형 346">
                <a:extLst>
                  <a:ext uri="{FF2B5EF4-FFF2-40B4-BE49-F238E27FC236}">
                    <a16:creationId xmlns:a16="http://schemas.microsoft.com/office/drawing/2014/main" id="{09C05611-9B4B-40CB-8511-55C60EE89EB1}"/>
                  </a:ext>
                </a:extLst>
              </p:cNvPr>
              <p:cNvSpPr/>
              <p:nvPr/>
            </p:nvSpPr>
            <p:spPr>
              <a:xfrm>
                <a:off x="2411499" y="5830915"/>
                <a:ext cx="38681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348" name="직사각형 347">
                <a:extLst>
                  <a:ext uri="{FF2B5EF4-FFF2-40B4-BE49-F238E27FC236}">
                    <a16:creationId xmlns:a16="http://schemas.microsoft.com/office/drawing/2014/main" id="{46BB783D-5044-476E-83B5-C1B6BABCD560}"/>
                  </a:ext>
                </a:extLst>
              </p:cNvPr>
              <p:cNvSpPr/>
              <p:nvPr/>
            </p:nvSpPr>
            <p:spPr>
              <a:xfrm>
                <a:off x="2833194" y="5830815"/>
                <a:ext cx="71680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</a:t>
                </a:r>
              </a:p>
            </p:txBody>
          </p:sp>
        </p:grpSp>
        <p:sp>
          <p:nvSpPr>
            <p:cNvPr id="335" name="사각형: 둥근 모서리 334">
              <a:extLst>
                <a:ext uri="{FF2B5EF4-FFF2-40B4-BE49-F238E27FC236}">
                  <a16:creationId xmlns:a16="http://schemas.microsoft.com/office/drawing/2014/main" id="{8EC4F0F1-487C-4585-AE67-3857ABD4186C}"/>
                </a:ext>
              </a:extLst>
            </p:cNvPr>
            <p:cNvSpPr/>
            <p:nvPr/>
          </p:nvSpPr>
          <p:spPr>
            <a:xfrm>
              <a:off x="-2542585" y="7108371"/>
              <a:ext cx="4010759" cy="23567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algn="l" defTabSz="742950" rtl="0" eaLnBrk="1" latinLnBrk="1" hangingPunct="1"/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GRI</a:t>
              </a:r>
              <a:r>
                <a:rPr lang="ko-KR" altLang="en-US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 기준서 </a:t>
              </a:r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: GRI 2: General Disclosures 2021</a:t>
              </a:r>
              <a:endParaRPr lang="ko-KR" altLang="en-US" sz="1100" b="1" u="sng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336" name="직사각형 335">
              <a:extLst>
                <a:ext uri="{FF2B5EF4-FFF2-40B4-BE49-F238E27FC236}">
                  <a16:creationId xmlns:a16="http://schemas.microsoft.com/office/drawing/2014/main" id="{C400F8BE-9C80-4195-80A8-DF5E94893AEC}"/>
                </a:ext>
              </a:extLst>
            </p:cNvPr>
            <p:cNvSpPr/>
            <p:nvPr/>
          </p:nvSpPr>
          <p:spPr>
            <a:xfrm>
              <a:off x="2117056" y="6945583"/>
              <a:ext cx="217599" cy="17940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x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37" name="직사각형 336">
              <a:extLst>
                <a:ext uri="{FF2B5EF4-FFF2-40B4-BE49-F238E27FC236}">
                  <a16:creationId xmlns:a16="http://schemas.microsoft.com/office/drawing/2014/main" id="{41318CF1-CAD9-421C-BDDA-0E4F2A86AAD9}"/>
                </a:ext>
              </a:extLst>
            </p:cNvPr>
            <p:cNvSpPr/>
            <p:nvPr/>
          </p:nvSpPr>
          <p:spPr>
            <a:xfrm>
              <a:off x="-1658676" y="7389401"/>
              <a:ext cx="194875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AIOP2123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외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GRI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2023-05-30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영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PDF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뷰어 제공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다운로드 가능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) </a:t>
              </a:r>
            </a:p>
          </p:txBody>
        </p:sp>
      </p:grpSp>
      <p:grpSp>
        <p:nvGrpSpPr>
          <p:cNvPr id="378" name="그룹 377">
            <a:extLst>
              <a:ext uri="{FF2B5EF4-FFF2-40B4-BE49-F238E27FC236}">
                <a16:creationId xmlns:a16="http://schemas.microsoft.com/office/drawing/2014/main" id="{F32CA262-3920-4458-81AC-C9BEA071A0B7}"/>
              </a:ext>
            </a:extLst>
          </p:cNvPr>
          <p:cNvGrpSpPr/>
          <p:nvPr/>
        </p:nvGrpSpPr>
        <p:grpSpPr>
          <a:xfrm>
            <a:off x="4702862" y="4217816"/>
            <a:ext cx="4203154" cy="2266974"/>
            <a:chOff x="-2695580" y="6922940"/>
            <a:chExt cx="5085457" cy="2266974"/>
          </a:xfrm>
        </p:grpSpPr>
        <p:sp>
          <p:nvSpPr>
            <p:cNvPr id="379" name="사각형: 둥근 모서리 378">
              <a:extLst>
                <a:ext uri="{FF2B5EF4-FFF2-40B4-BE49-F238E27FC236}">
                  <a16:creationId xmlns:a16="http://schemas.microsoft.com/office/drawing/2014/main" id="{CFB18FA7-36EF-4B54-8D20-B2B8A3E7BA61}"/>
                </a:ext>
              </a:extLst>
            </p:cNvPr>
            <p:cNvSpPr/>
            <p:nvPr/>
          </p:nvSpPr>
          <p:spPr>
            <a:xfrm>
              <a:off x="41963" y="7385191"/>
              <a:ext cx="1524627" cy="177055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defTabSz="2437985"/>
              <a:r>
                <a:rPr lang="en-US" altLang="ko-KR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1</a:t>
              </a:r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 전</a:t>
              </a:r>
              <a:endPara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80" name="사각형: 둥근 모서리 379">
              <a:extLst>
                <a:ext uri="{FF2B5EF4-FFF2-40B4-BE49-F238E27FC236}">
                  <a16:creationId xmlns:a16="http://schemas.microsoft.com/office/drawing/2014/main" id="{E188C460-AB61-47BD-8513-73BFEAD08695}"/>
                </a:ext>
              </a:extLst>
            </p:cNvPr>
            <p:cNvSpPr/>
            <p:nvPr/>
          </p:nvSpPr>
          <p:spPr>
            <a:xfrm>
              <a:off x="-2695580" y="6922940"/>
              <a:ext cx="5085457" cy="2266974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800" b="1" dirty="0">
                <a:latin typeface="+mn-ea"/>
                <a:cs typeface="함초롬바탕" panose="02030604000101010101" pitchFamily="18" charset="-127"/>
              </a:endParaRPr>
            </a:p>
          </p:txBody>
        </p:sp>
        <p:sp>
          <p:nvSpPr>
            <p:cNvPr id="381" name="직사각형 380">
              <a:extLst>
                <a:ext uri="{FF2B5EF4-FFF2-40B4-BE49-F238E27FC236}">
                  <a16:creationId xmlns:a16="http://schemas.microsoft.com/office/drawing/2014/main" id="{0DEB058B-CE2D-41CF-96F5-74EFF89C7F9C}"/>
                </a:ext>
              </a:extLst>
            </p:cNvPr>
            <p:cNvSpPr/>
            <p:nvPr/>
          </p:nvSpPr>
          <p:spPr>
            <a:xfrm>
              <a:off x="-2596339" y="7389401"/>
              <a:ext cx="98040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컨텐츠 번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유형 분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 출처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발간 일자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공 언어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83" name="직사각형 382">
              <a:extLst>
                <a:ext uri="{FF2B5EF4-FFF2-40B4-BE49-F238E27FC236}">
                  <a16:creationId xmlns:a16="http://schemas.microsoft.com/office/drawing/2014/main" id="{0FB76993-797F-4ADB-B54A-04AD961C1149}"/>
                </a:ext>
              </a:extLst>
            </p:cNvPr>
            <p:cNvSpPr/>
            <p:nvPr/>
          </p:nvSpPr>
          <p:spPr>
            <a:xfrm>
              <a:off x="-2480798" y="8864639"/>
              <a:ext cx="1795182" cy="146520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8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384" name="그룹 383">
              <a:extLst>
                <a:ext uri="{FF2B5EF4-FFF2-40B4-BE49-F238E27FC236}">
                  <a16:creationId xmlns:a16="http://schemas.microsoft.com/office/drawing/2014/main" id="{985D0B29-66DC-43A7-AC61-D211292D4C60}"/>
                </a:ext>
              </a:extLst>
            </p:cNvPr>
            <p:cNvGrpSpPr/>
            <p:nvPr/>
          </p:nvGrpSpPr>
          <p:grpSpPr>
            <a:xfrm>
              <a:off x="-2441948" y="8637678"/>
              <a:ext cx="2345899" cy="158109"/>
              <a:chOff x="1204104" y="5830815"/>
              <a:chExt cx="2345899" cy="167858"/>
            </a:xfrm>
          </p:grpSpPr>
          <p:sp>
            <p:nvSpPr>
              <p:cNvPr id="395" name="직사각형 394">
                <a:extLst>
                  <a:ext uri="{FF2B5EF4-FFF2-40B4-BE49-F238E27FC236}">
                    <a16:creationId xmlns:a16="http://schemas.microsoft.com/office/drawing/2014/main" id="{5E9AA2D5-7033-48EA-8ADA-3E9CA79F5B41}"/>
                  </a:ext>
                </a:extLst>
              </p:cNvPr>
              <p:cNvSpPr/>
              <p:nvPr/>
            </p:nvSpPr>
            <p:spPr>
              <a:xfrm>
                <a:off x="1204104" y="5830915"/>
                <a:ext cx="37798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396" name="직사각형 395">
                <a:extLst>
                  <a:ext uri="{FF2B5EF4-FFF2-40B4-BE49-F238E27FC236}">
                    <a16:creationId xmlns:a16="http://schemas.microsoft.com/office/drawing/2014/main" id="{19B8CAA5-5AD5-44FC-836C-83FFCBFF43A8}"/>
                  </a:ext>
                </a:extLst>
              </p:cNvPr>
              <p:cNvSpPr/>
              <p:nvPr/>
            </p:nvSpPr>
            <p:spPr>
              <a:xfrm>
                <a:off x="1621519" y="5830915"/>
                <a:ext cx="756906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397" name="직사각형 396">
                <a:extLst>
                  <a:ext uri="{FF2B5EF4-FFF2-40B4-BE49-F238E27FC236}">
                    <a16:creationId xmlns:a16="http://schemas.microsoft.com/office/drawing/2014/main" id="{61B50FAB-6B54-4142-B8BD-73B82B053C53}"/>
                  </a:ext>
                </a:extLst>
              </p:cNvPr>
              <p:cNvSpPr/>
              <p:nvPr/>
            </p:nvSpPr>
            <p:spPr>
              <a:xfrm>
                <a:off x="2411499" y="5830915"/>
                <a:ext cx="38681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398" name="직사각형 397">
                <a:extLst>
                  <a:ext uri="{FF2B5EF4-FFF2-40B4-BE49-F238E27FC236}">
                    <a16:creationId xmlns:a16="http://schemas.microsoft.com/office/drawing/2014/main" id="{6EC0A75A-21DD-4DDB-9EF4-2D743B0192AD}"/>
                  </a:ext>
                </a:extLst>
              </p:cNvPr>
              <p:cNvSpPr/>
              <p:nvPr/>
            </p:nvSpPr>
            <p:spPr>
              <a:xfrm>
                <a:off x="2833194" y="5830815"/>
                <a:ext cx="716809" cy="1677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중립</a:t>
                </a:r>
              </a:p>
            </p:txBody>
          </p:sp>
        </p:grpSp>
        <p:sp>
          <p:nvSpPr>
            <p:cNvPr id="385" name="사각형: 둥근 모서리 384">
              <a:extLst>
                <a:ext uri="{FF2B5EF4-FFF2-40B4-BE49-F238E27FC236}">
                  <a16:creationId xmlns:a16="http://schemas.microsoft.com/office/drawing/2014/main" id="{E2F788C5-F251-4F11-964A-D7D4DF6CAAB8}"/>
                </a:ext>
              </a:extLst>
            </p:cNvPr>
            <p:cNvSpPr/>
            <p:nvPr/>
          </p:nvSpPr>
          <p:spPr>
            <a:xfrm>
              <a:off x="-2542585" y="7108371"/>
              <a:ext cx="4010759" cy="235676"/>
            </a:xfrm>
            <a:prstGeom prst="roundRect">
              <a:avLst>
                <a:gd name="adj" fmla="val 9800"/>
              </a:avLst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algn="l" defTabSz="742950" rtl="0" eaLnBrk="1" latinLnBrk="1" hangingPunct="1"/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GRI</a:t>
              </a:r>
              <a:r>
                <a:rPr lang="ko-KR" altLang="en-US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 기준서 </a:t>
              </a:r>
              <a:r>
                <a:rPr lang="en-US" altLang="ko-KR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: GRI 2: General Disclosures 2021</a:t>
              </a:r>
              <a:endParaRPr lang="ko-KR" altLang="en-US" sz="1100" b="1" u="sng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386" name="직사각형 385">
              <a:extLst>
                <a:ext uri="{FF2B5EF4-FFF2-40B4-BE49-F238E27FC236}">
                  <a16:creationId xmlns:a16="http://schemas.microsoft.com/office/drawing/2014/main" id="{14AFB998-AF02-42BD-AD26-DD6E81C92258}"/>
                </a:ext>
              </a:extLst>
            </p:cNvPr>
            <p:cNvSpPr/>
            <p:nvPr/>
          </p:nvSpPr>
          <p:spPr>
            <a:xfrm>
              <a:off x="2117056" y="6945583"/>
              <a:ext cx="217599" cy="17940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x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87" name="직사각형 386">
              <a:extLst>
                <a:ext uri="{FF2B5EF4-FFF2-40B4-BE49-F238E27FC236}">
                  <a16:creationId xmlns:a16="http://schemas.microsoft.com/office/drawing/2014/main" id="{2BECA781-73DD-42E8-8578-B41EDE3189E7}"/>
                </a:ext>
              </a:extLst>
            </p:cNvPr>
            <p:cNvSpPr/>
            <p:nvPr/>
          </p:nvSpPr>
          <p:spPr>
            <a:xfrm>
              <a:off x="-1658676" y="7389401"/>
              <a:ext cx="1948751" cy="1401725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AIOP2123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라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외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&gt; GRI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2023-05-30</a:t>
              </a:r>
            </a:p>
            <a:p>
              <a:pPr defTabSz="742950" latinLnBrk="1">
                <a:lnSpc>
                  <a:spcPct val="15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영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0A88B77E-96B7-44A2-9363-ABF275E12B2C}"/>
              </a:ext>
            </a:extLst>
          </p:cNvPr>
          <p:cNvGrpSpPr/>
          <p:nvPr/>
        </p:nvGrpSpPr>
        <p:grpSpPr>
          <a:xfrm>
            <a:off x="405303" y="4218334"/>
            <a:ext cx="4203154" cy="2266974"/>
            <a:chOff x="405303" y="4218334"/>
            <a:chExt cx="4203154" cy="2266974"/>
          </a:xfrm>
        </p:grpSpPr>
        <p:grpSp>
          <p:nvGrpSpPr>
            <p:cNvPr id="403" name="그룹 402">
              <a:extLst>
                <a:ext uri="{FF2B5EF4-FFF2-40B4-BE49-F238E27FC236}">
                  <a16:creationId xmlns:a16="http://schemas.microsoft.com/office/drawing/2014/main" id="{208697CF-3FAA-439B-A8BB-055ACC06E4CA}"/>
                </a:ext>
              </a:extLst>
            </p:cNvPr>
            <p:cNvGrpSpPr/>
            <p:nvPr/>
          </p:nvGrpSpPr>
          <p:grpSpPr>
            <a:xfrm>
              <a:off x="405303" y="4218334"/>
              <a:ext cx="4203154" cy="2266974"/>
              <a:chOff x="-2695580" y="6922940"/>
              <a:chExt cx="5085457" cy="2266974"/>
            </a:xfrm>
          </p:grpSpPr>
          <p:sp>
            <p:nvSpPr>
              <p:cNvPr id="404" name="사각형: 둥근 모서리 403">
                <a:extLst>
                  <a:ext uri="{FF2B5EF4-FFF2-40B4-BE49-F238E27FC236}">
                    <a16:creationId xmlns:a16="http://schemas.microsoft.com/office/drawing/2014/main" id="{0A538F03-64DE-447D-B3F1-1B076D53E190}"/>
                  </a:ext>
                </a:extLst>
              </p:cNvPr>
              <p:cNvSpPr/>
              <p:nvPr/>
            </p:nvSpPr>
            <p:spPr>
              <a:xfrm>
                <a:off x="41963" y="7385191"/>
                <a:ext cx="1524627" cy="177055"/>
              </a:xfrm>
              <a:prstGeom prst="roundRect">
                <a:avLst>
                  <a:gd name="adj" fmla="val 9800"/>
                </a:avLst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defTabSz="2437985"/>
                <a:r>
                  <a:rPr lang="en-US" altLang="ko-KR" sz="7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1</a:t>
                </a:r>
                <a:r>
                  <a:rPr lang="ko-KR" altLang="en-US" sz="7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 전</a:t>
                </a:r>
                <a:endParaRPr lang="en-US" altLang="ko-KR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05" name="사각형: 둥근 모서리 404">
                <a:extLst>
                  <a:ext uri="{FF2B5EF4-FFF2-40B4-BE49-F238E27FC236}">
                    <a16:creationId xmlns:a16="http://schemas.microsoft.com/office/drawing/2014/main" id="{ECAD0502-5BCD-4658-90BB-8F4C58C6421E}"/>
                  </a:ext>
                </a:extLst>
              </p:cNvPr>
              <p:cNvSpPr/>
              <p:nvPr/>
            </p:nvSpPr>
            <p:spPr>
              <a:xfrm>
                <a:off x="-2695580" y="6922940"/>
                <a:ext cx="5085457" cy="226697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rgbClr val="404040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8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406" name="직사각형 405">
                <a:extLst>
                  <a:ext uri="{FF2B5EF4-FFF2-40B4-BE49-F238E27FC236}">
                    <a16:creationId xmlns:a16="http://schemas.microsoft.com/office/drawing/2014/main" id="{3C67CCE6-B896-48B5-8355-D762658ED65D}"/>
                  </a:ext>
                </a:extLst>
              </p:cNvPr>
              <p:cNvSpPr/>
              <p:nvPr/>
            </p:nvSpPr>
            <p:spPr>
              <a:xfrm>
                <a:off x="-2596339" y="7389401"/>
                <a:ext cx="980401" cy="1401725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컨텐츠 번호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유형 분류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자료 출처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발간 일자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제공 언어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〮 제공 형태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grpSp>
            <p:nvGrpSpPr>
              <p:cNvPr id="417" name="그룹 416">
                <a:extLst>
                  <a:ext uri="{FF2B5EF4-FFF2-40B4-BE49-F238E27FC236}">
                    <a16:creationId xmlns:a16="http://schemas.microsoft.com/office/drawing/2014/main" id="{208C6FE6-1016-49CE-8E42-02D71419C90E}"/>
                  </a:ext>
                </a:extLst>
              </p:cNvPr>
              <p:cNvGrpSpPr/>
              <p:nvPr/>
            </p:nvGrpSpPr>
            <p:grpSpPr>
              <a:xfrm>
                <a:off x="815925" y="7668772"/>
                <a:ext cx="1035032" cy="744366"/>
                <a:chOff x="7955494" y="4599074"/>
                <a:chExt cx="693262" cy="435102"/>
              </a:xfrm>
            </p:grpSpPr>
            <p:sp>
              <p:nvSpPr>
                <p:cNvPr id="419" name="직사각형 418">
                  <a:extLst>
                    <a:ext uri="{FF2B5EF4-FFF2-40B4-BE49-F238E27FC236}">
                      <a16:creationId xmlns:a16="http://schemas.microsoft.com/office/drawing/2014/main" id="{A89315C0-4526-443B-B5D0-29FBE11270A5}"/>
                    </a:ext>
                  </a:extLst>
                </p:cNvPr>
                <p:cNvSpPr/>
                <p:nvPr/>
              </p:nvSpPr>
              <p:spPr>
                <a:xfrm>
                  <a:off x="7955494" y="4871845"/>
                  <a:ext cx="693262" cy="120824"/>
                </a:xfrm>
                <a:prstGeom prst="rect">
                  <a:avLst/>
                </a:prstGeom>
                <a:noFill/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 anchorCtr="0"/>
                <a:lstStyle/>
                <a:p>
                  <a:pPr algn="ctr"/>
                  <a:r>
                    <a:rPr lang="ko-KR" altLang="en-US" sz="8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링크 연결</a:t>
                  </a:r>
                </a:p>
              </p:txBody>
            </p:sp>
            <p:sp>
              <p:nvSpPr>
                <p:cNvPr id="420" name="직사각형 419">
                  <a:extLst>
                    <a:ext uri="{FF2B5EF4-FFF2-40B4-BE49-F238E27FC236}">
                      <a16:creationId xmlns:a16="http://schemas.microsoft.com/office/drawing/2014/main" id="{E4BA62F9-FA03-430F-9BE2-6F717A84CA6C}"/>
                    </a:ext>
                  </a:extLst>
                </p:cNvPr>
                <p:cNvSpPr/>
                <p:nvPr/>
              </p:nvSpPr>
              <p:spPr>
                <a:xfrm>
                  <a:off x="7964842" y="4599074"/>
                  <a:ext cx="653963" cy="435102"/>
                </a:xfrm>
                <a:prstGeom prst="rect">
                  <a:avLst/>
                </a:prstGeom>
                <a:noFill/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t" anchorCtr="0"/>
                <a:lstStyle/>
                <a:p>
                  <a:pPr algn="ctr"/>
                  <a:endParaRPr lang="ko-KR" altLang="en-US" sz="700" dirty="0">
                    <a:solidFill>
                      <a:srgbClr val="000000"/>
                    </a:solidFill>
                    <a:latin typeface="+mn-ea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408" name="직사각형 407">
                <a:extLst>
                  <a:ext uri="{FF2B5EF4-FFF2-40B4-BE49-F238E27FC236}">
                    <a16:creationId xmlns:a16="http://schemas.microsoft.com/office/drawing/2014/main" id="{577FD452-73EC-45AA-9C36-F23DEAAED2D7}"/>
                  </a:ext>
                </a:extLst>
              </p:cNvPr>
              <p:cNvSpPr/>
              <p:nvPr/>
            </p:nvSpPr>
            <p:spPr>
              <a:xfrm>
                <a:off x="-2480798" y="8864639"/>
                <a:ext cx="1795182" cy="146520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GRI</a:t>
                </a:r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</a:t>
                </a:r>
                <a:r>
                  <a: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지속가능경영 </a:t>
                </a:r>
                <a:r>
                  <a:rPr lang="en-US" altLang="ko-KR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 EU</a:t>
                </a:r>
                <a:endParaRPr lang="ko-KR" altLang="en-US" sz="8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grpSp>
            <p:nvGrpSpPr>
              <p:cNvPr id="409" name="그룹 408">
                <a:extLst>
                  <a:ext uri="{FF2B5EF4-FFF2-40B4-BE49-F238E27FC236}">
                    <a16:creationId xmlns:a16="http://schemas.microsoft.com/office/drawing/2014/main" id="{44486776-69C6-426F-90E3-10AD269D24DD}"/>
                  </a:ext>
                </a:extLst>
              </p:cNvPr>
              <p:cNvGrpSpPr/>
              <p:nvPr/>
            </p:nvGrpSpPr>
            <p:grpSpPr>
              <a:xfrm>
                <a:off x="-2441948" y="8637678"/>
                <a:ext cx="2345899" cy="158109"/>
                <a:chOff x="1204104" y="5830815"/>
                <a:chExt cx="2345899" cy="167858"/>
              </a:xfrm>
            </p:grpSpPr>
            <p:sp>
              <p:nvSpPr>
                <p:cNvPr id="413" name="직사각형 412">
                  <a:extLst>
                    <a:ext uri="{FF2B5EF4-FFF2-40B4-BE49-F238E27FC236}">
                      <a16:creationId xmlns:a16="http://schemas.microsoft.com/office/drawing/2014/main" id="{14E850B6-7B86-44B6-8591-618439B075C4}"/>
                    </a:ext>
                  </a:extLst>
                </p:cNvPr>
                <p:cNvSpPr/>
                <p:nvPr/>
              </p:nvSpPr>
              <p:spPr>
                <a:xfrm>
                  <a:off x="1204104" y="5830915"/>
                  <a:ext cx="377989" cy="16775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8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공시</a:t>
                  </a:r>
                </a:p>
              </p:txBody>
            </p:sp>
            <p:sp>
              <p:nvSpPr>
                <p:cNvPr id="414" name="직사각형 413">
                  <a:extLst>
                    <a:ext uri="{FF2B5EF4-FFF2-40B4-BE49-F238E27FC236}">
                      <a16:creationId xmlns:a16="http://schemas.microsoft.com/office/drawing/2014/main" id="{AD20AE31-FC03-4C50-83BB-747475A8B627}"/>
                    </a:ext>
                  </a:extLst>
                </p:cNvPr>
                <p:cNvSpPr/>
                <p:nvPr/>
              </p:nvSpPr>
              <p:spPr>
                <a:xfrm>
                  <a:off x="1621519" y="5830915"/>
                  <a:ext cx="756906" cy="16775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en-US" altLang="ko-KR" sz="8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ESG</a:t>
                  </a:r>
                  <a:r>
                    <a:rPr lang="ko-KR" altLang="en-US" sz="8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일반</a:t>
                  </a:r>
                </a:p>
              </p:txBody>
            </p:sp>
            <p:sp>
              <p:nvSpPr>
                <p:cNvPr id="415" name="직사각형 414">
                  <a:extLst>
                    <a:ext uri="{FF2B5EF4-FFF2-40B4-BE49-F238E27FC236}">
                      <a16:creationId xmlns:a16="http://schemas.microsoft.com/office/drawing/2014/main" id="{8C780431-E57F-4322-A7BF-57D7F2862FA5}"/>
                    </a:ext>
                  </a:extLst>
                </p:cNvPr>
                <p:cNvSpPr/>
                <p:nvPr/>
              </p:nvSpPr>
              <p:spPr>
                <a:xfrm>
                  <a:off x="2411499" y="5830915"/>
                  <a:ext cx="386819" cy="16775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en-US" altLang="ko-KR" sz="8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GRI</a:t>
                  </a:r>
                  <a:endParaRPr lang="ko-KR" altLang="en-US" sz="8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416" name="직사각형 415">
                  <a:extLst>
                    <a:ext uri="{FF2B5EF4-FFF2-40B4-BE49-F238E27FC236}">
                      <a16:creationId xmlns:a16="http://schemas.microsoft.com/office/drawing/2014/main" id="{33FC1A00-19D8-49CA-8FD9-B6EEB58F9E9A}"/>
                    </a:ext>
                  </a:extLst>
                </p:cNvPr>
                <p:cNvSpPr/>
                <p:nvPr/>
              </p:nvSpPr>
              <p:spPr>
                <a:xfrm>
                  <a:off x="2833194" y="5830815"/>
                  <a:ext cx="716809" cy="16775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 anchorCtr="0"/>
                <a:lstStyle/>
                <a:p>
                  <a:pPr algn="ctr"/>
                  <a:r>
                    <a:rPr lang="ko-KR" altLang="en-US" sz="800" spc="-50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탄소중립</a:t>
                  </a:r>
                </a:p>
              </p:txBody>
            </p:sp>
          </p:grpSp>
          <p:sp>
            <p:nvSpPr>
              <p:cNvPr id="410" name="사각형: 둥근 모서리 409">
                <a:extLst>
                  <a:ext uri="{FF2B5EF4-FFF2-40B4-BE49-F238E27FC236}">
                    <a16:creationId xmlns:a16="http://schemas.microsoft.com/office/drawing/2014/main" id="{C9DB3F6B-79EE-4296-9324-724758DFB0BC}"/>
                  </a:ext>
                </a:extLst>
              </p:cNvPr>
              <p:cNvSpPr/>
              <p:nvPr/>
            </p:nvSpPr>
            <p:spPr>
              <a:xfrm>
                <a:off x="-2542585" y="7108371"/>
                <a:ext cx="4010759" cy="235676"/>
              </a:xfrm>
              <a:prstGeom prst="roundRect">
                <a:avLst>
                  <a:gd name="adj" fmla="val 9800"/>
                </a:avLst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0" algn="l" defTabSz="742950" rtl="0" eaLnBrk="1" latinLnBrk="1" hangingPunct="1"/>
                <a:r>
                  <a:rPr lang="en-US" altLang="ko-KR" sz="1100" b="1" u="sng" kern="12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/>
                  </a:rPr>
                  <a:t>GRI</a:t>
                </a:r>
                <a:r>
                  <a:rPr lang="ko-KR" altLang="en-US" sz="1100" b="1" u="sng" kern="12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/>
                  </a:rPr>
                  <a:t> 기준서 </a:t>
                </a:r>
                <a:r>
                  <a:rPr lang="en-US" altLang="ko-KR" sz="1100" b="1" u="sng" kern="12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/>
                  </a:rPr>
                  <a:t>: GRI 2: General Disclosures 2021</a:t>
                </a:r>
                <a:endParaRPr lang="ko-KR" altLang="en-US" sz="1100" b="1" u="sng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411" name="직사각형 410">
                <a:extLst>
                  <a:ext uri="{FF2B5EF4-FFF2-40B4-BE49-F238E27FC236}">
                    <a16:creationId xmlns:a16="http://schemas.microsoft.com/office/drawing/2014/main" id="{EC3E6B70-27A6-4E69-BD6D-8057861A1827}"/>
                  </a:ext>
                </a:extLst>
              </p:cNvPr>
              <p:cNvSpPr/>
              <p:nvPr/>
            </p:nvSpPr>
            <p:spPr>
              <a:xfrm>
                <a:off x="2117056" y="6945583"/>
                <a:ext cx="217599" cy="17940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pPr algn="ctr"/>
                <a:r>
                  <a:rPr lang="en-US" altLang="ko-KR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12" name="직사각형 411">
                <a:extLst>
                  <a:ext uri="{FF2B5EF4-FFF2-40B4-BE49-F238E27FC236}">
                    <a16:creationId xmlns:a16="http://schemas.microsoft.com/office/drawing/2014/main" id="{9F7FA7E9-C32A-4DA9-9F38-831DEAED17FA}"/>
                  </a:ext>
                </a:extLst>
              </p:cNvPr>
              <p:cNvSpPr/>
              <p:nvPr/>
            </p:nvSpPr>
            <p:spPr>
              <a:xfrm>
                <a:off x="-1658676" y="7389401"/>
                <a:ext cx="1948751" cy="1401725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defTabSz="742950" latinLnBrk="1">
                  <a:lnSpc>
                    <a:spcPct val="150000"/>
                  </a:lnSpc>
                </a:pP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AIOP2123</a:t>
                </a: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기준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/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이드라인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해외 </a:t>
                </a: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&gt; GRI</a:t>
                </a: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2023-05-30</a:t>
                </a: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영문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  <a:p>
                <a:pPr defTabSz="742950" latinLnBrk="1">
                  <a:lnSpc>
                    <a:spcPct val="150000"/>
                  </a:lnSpc>
                </a:pP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발간기관에서 열람</a:t>
                </a:r>
                <a:endPara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7" name="그룹 46">
              <a:extLst>
                <a:ext uri="{FF2B5EF4-FFF2-40B4-BE49-F238E27FC236}">
                  <a16:creationId xmlns:a16="http://schemas.microsoft.com/office/drawing/2014/main" id="{D403F737-3105-431B-AC43-C2FD0EF85270}"/>
                </a:ext>
              </a:extLst>
            </p:cNvPr>
            <p:cNvGrpSpPr/>
            <p:nvPr/>
          </p:nvGrpSpPr>
          <p:grpSpPr>
            <a:xfrm>
              <a:off x="3557489" y="5054804"/>
              <a:ext cx="330213" cy="361164"/>
              <a:chOff x="11746432" y="7930795"/>
              <a:chExt cx="406624" cy="427363"/>
            </a:xfrm>
          </p:grpSpPr>
          <p:sp>
            <p:nvSpPr>
              <p:cNvPr id="423" name="사각형: 둥근 모서리 422">
                <a:extLst>
                  <a:ext uri="{FF2B5EF4-FFF2-40B4-BE49-F238E27FC236}">
                    <a16:creationId xmlns:a16="http://schemas.microsoft.com/office/drawing/2014/main" id="{8351420D-1D79-45E5-9130-3DB675878187}"/>
                  </a:ext>
                </a:extLst>
              </p:cNvPr>
              <p:cNvSpPr/>
              <p:nvPr/>
            </p:nvSpPr>
            <p:spPr>
              <a:xfrm>
                <a:off x="11746432" y="7980887"/>
                <a:ext cx="377271" cy="377271"/>
              </a:xfrm>
              <a:prstGeom prst="roundRect">
                <a:avLst>
                  <a:gd name="adj" fmla="val 15064"/>
                </a:avLst>
              </a:prstGeom>
              <a:noFill/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424" name="직사각형 423">
                <a:extLst>
                  <a:ext uri="{FF2B5EF4-FFF2-40B4-BE49-F238E27FC236}">
                    <a16:creationId xmlns:a16="http://schemas.microsoft.com/office/drawing/2014/main" id="{7BAAA942-D4AB-47AE-B163-94B476C95AA0}"/>
                  </a:ext>
                </a:extLst>
              </p:cNvPr>
              <p:cNvSpPr/>
              <p:nvPr/>
            </p:nvSpPr>
            <p:spPr>
              <a:xfrm rot="16200000">
                <a:off x="11917767" y="7940551"/>
                <a:ext cx="240199" cy="230379"/>
              </a:xfrm>
              <a:prstGeom prst="rect">
                <a:avLst/>
              </a:prstGeom>
              <a:solidFill>
                <a:srgbClr val="F2F2F2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425" name="직선 화살표 연결선 424">
                <a:extLst>
                  <a:ext uri="{FF2B5EF4-FFF2-40B4-BE49-F238E27FC236}">
                    <a16:creationId xmlns:a16="http://schemas.microsoft.com/office/drawing/2014/main" id="{D6885EA2-9BA1-4271-90F3-F7E27E9E370C}"/>
                  </a:ext>
                </a:extLst>
              </p:cNvPr>
              <p:cNvCxnSpPr>
                <a:cxnSpLocks/>
              </p:cNvCxnSpPr>
              <p:nvPr/>
            </p:nvCxnSpPr>
            <p:spPr>
              <a:xfrm rot="18600000">
                <a:off x="11945904" y="8038795"/>
                <a:ext cx="216000" cy="0"/>
              </a:xfrm>
              <a:prstGeom prst="straightConnector1">
                <a:avLst/>
              </a:prstGeom>
              <a:ln w="28575">
                <a:solidFill>
                  <a:schemeClr val="tx1">
                    <a:lumMod val="65000"/>
                    <a:lumOff val="35000"/>
                  </a:schemeClr>
                </a:solidFill>
                <a:headEnd w="lg" len="lg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B8B3DDDF-9686-4782-BA9D-E59A6F711365}"/>
              </a:ext>
            </a:extLst>
          </p:cNvPr>
          <p:cNvGrpSpPr/>
          <p:nvPr/>
        </p:nvGrpSpPr>
        <p:grpSpPr>
          <a:xfrm>
            <a:off x="7182082" y="4783743"/>
            <a:ext cx="1504468" cy="920715"/>
            <a:chOff x="16111987" y="7494495"/>
            <a:chExt cx="1944000" cy="1189703"/>
          </a:xfrm>
        </p:grpSpPr>
        <p:grpSp>
          <p:nvGrpSpPr>
            <p:cNvPr id="269" name="그룹 268">
              <a:extLst>
                <a:ext uri="{FF2B5EF4-FFF2-40B4-BE49-F238E27FC236}">
                  <a16:creationId xmlns:a16="http://schemas.microsoft.com/office/drawing/2014/main" id="{BE167284-17EA-4FF1-9B51-046F24A6F9BE}"/>
                </a:ext>
              </a:extLst>
            </p:cNvPr>
            <p:cNvGrpSpPr/>
            <p:nvPr/>
          </p:nvGrpSpPr>
          <p:grpSpPr>
            <a:xfrm>
              <a:off x="16111987" y="7494495"/>
              <a:ext cx="1944000" cy="1189703"/>
              <a:chOff x="3925318" y="3675504"/>
              <a:chExt cx="1124954" cy="765997"/>
            </a:xfrm>
          </p:grpSpPr>
          <p:sp>
            <p:nvSpPr>
              <p:cNvPr id="270" name="사각형: 둥근 모서리 269">
                <a:extLst>
                  <a:ext uri="{FF2B5EF4-FFF2-40B4-BE49-F238E27FC236}">
                    <a16:creationId xmlns:a16="http://schemas.microsoft.com/office/drawing/2014/main" id="{60EC092E-06E7-4AA0-9C9E-06261C0BF968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oundRect">
                <a:avLst>
                  <a:gd name="adj" fmla="val 7151"/>
                </a:avLst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271" name="직선 연결선 270">
                <a:extLst>
                  <a:ext uri="{FF2B5EF4-FFF2-40B4-BE49-F238E27FC236}">
                    <a16:creationId xmlns:a16="http://schemas.microsoft.com/office/drawing/2014/main" id="{CDB44BB5-2DB2-4D00-A4B4-CDB62E3F5A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35668" y="3699306"/>
                <a:ext cx="1110566" cy="71984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직선 연결선 271">
                <a:extLst>
                  <a:ext uri="{FF2B5EF4-FFF2-40B4-BE49-F238E27FC236}">
                    <a16:creationId xmlns:a16="http://schemas.microsoft.com/office/drawing/2014/main" id="{5CAD3B81-9E0D-423A-B7BB-C36EB333282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35668" y="3693713"/>
                <a:ext cx="1110565" cy="73035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그룹 272">
              <a:extLst>
                <a:ext uri="{FF2B5EF4-FFF2-40B4-BE49-F238E27FC236}">
                  <a16:creationId xmlns:a16="http://schemas.microsoft.com/office/drawing/2014/main" id="{0AD614FB-5906-4847-929D-EA8CDE67C967}"/>
                </a:ext>
              </a:extLst>
            </p:cNvPr>
            <p:cNvGrpSpPr/>
            <p:nvPr/>
          </p:nvGrpSpPr>
          <p:grpSpPr>
            <a:xfrm>
              <a:off x="16930882" y="7939921"/>
              <a:ext cx="317115" cy="317115"/>
              <a:chOff x="1519093" y="5661249"/>
              <a:chExt cx="504056" cy="504056"/>
            </a:xfrm>
          </p:grpSpPr>
          <p:sp>
            <p:nvSpPr>
              <p:cNvPr id="274" name="타원 273">
                <a:extLst>
                  <a:ext uri="{FF2B5EF4-FFF2-40B4-BE49-F238E27FC236}">
                    <a16:creationId xmlns:a16="http://schemas.microsoft.com/office/drawing/2014/main" id="{8C79CD8A-EB6B-47E6-B9F4-8F9F836631EB}"/>
                  </a:ext>
                </a:extLst>
              </p:cNvPr>
              <p:cNvSpPr/>
              <p:nvPr/>
            </p:nvSpPr>
            <p:spPr>
              <a:xfrm>
                <a:off x="1519093" y="5661249"/>
                <a:ext cx="504056" cy="504056"/>
              </a:xfrm>
              <a:prstGeom prst="ellipse">
                <a:avLst/>
              </a:prstGeom>
              <a:solidFill>
                <a:srgbClr val="40404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275" name="이등변 삼각형 274">
                <a:extLst>
                  <a:ext uri="{FF2B5EF4-FFF2-40B4-BE49-F238E27FC236}">
                    <a16:creationId xmlns:a16="http://schemas.microsoft.com/office/drawing/2014/main" id="{654C6CBA-C422-4F5E-BEAB-FB881AE03634}"/>
                  </a:ext>
                </a:extLst>
              </p:cNvPr>
              <p:cNvSpPr/>
              <p:nvPr/>
            </p:nvSpPr>
            <p:spPr>
              <a:xfrm rot="5400000">
                <a:off x="1678539" y="5818302"/>
                <a:ext cx="231566" cy="189950"/>
              </a:xfrm>
              <a:prstGeom prst="triangle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7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D98300E1-7DF2-4A2F-8104-E00EDFF852DD}"/>
                </a:ext>
              </a:extLst>
            </p:cNvPr>
            <p:cNvSpPr/>
            <p:nvPr/>
          </p:nvSpPr>
          <p:spPr>
            <a:xfrm>
              <a:off x="16999137" y="8466676"/>
              <a:ext cx="960115" cy="14812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HH : MM : SS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426" name="직사각형 425">
            <a:extLst>
              <a:ext uri="{FF2B5EF4-FFF2-40B4-BE49-F238E27FC236}">
                <a16:creationId xmlns:a16="http://schemas.microsoft.com/office/drawing/2014/main" id="{EB130A08-21F7-47C7-8023-BAE7C018A8EC}"/>
              </a:ext>
            </a:extLst>
          </p:cNvPr>
          <p:cNvSpPr/>
          <p:nvPr/>
        </p:nvSpPr>
        <p:spPr>
          <a:xfrm>
            <a:off x="305950" y="875649"/>
            <a:ext cx="4203154" cy="24751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종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//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방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/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운로드 가능여부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O</a:t>
            </a:r>
          </a:p>
        </p:txBody>
      </p:sp>
      <p:sp>
        <p:nvSpPr>
          <p:cNvPr id="427" name="직사각형 426">
            <a:extLst>
              <a:ext uri="{FF2B5EF4-FFF2-40B4-BE49-F238E27FC236}">
                <a16:creationId xmlns:a16="http://schemas.microsoft.com/office/drawing/2014/main" id="{63A6C2BD-4BC4-42CD-8E58-CF7B98F692BD}"/>
              </a:ext>
            </a:extLst>
          </p:cNvPr>
          <p:cNvSpPr/>
          <p:nvPr/>
        </p:nvSpPr>
        <p:spPr>
          <a:xfrm>
            <a:off x="4574192" y="868430"/>
            <a:ext cx="4203154" cy="24751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종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//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방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/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운로드 가능여부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X</a:t>
            </a:r>
          </a:p>
        </p:txBody>
      </p:sp>
      <p:sp>
        <p:nvSpPr>
          <p:cNvPr id="428" name="직사각형 427">
            <a:extLst>
              <a:ext uri="{FF2B5EF4-FFF2-40B4-BE49-F238E27FC236}">
                <a16:creationId xmlns:a16="http://schemas.microsoft.com/office/drawing/2014/main" id="{74C42793-B7F3-4C6A-838D-A90DCCAFB3EF}"/>
              </a:ext>
            </a:extLst>
          </p:cNvPr>
          <p:cNvSpPr/>
          <p:nvPr/>
        </p:nvSpPr>
        <p:spPr>
          <a:xfrm>
            <a:off x="314384" y="3885125"/>
            <a:ext cx="4203154" cy="24751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종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//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방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웃링크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9" name="직사각형 428">
            <a:extLst>
              <a:ext uri="{FF2B5EF4-FFF2-40B4-BE49-F238E27FC236}">
                <a16:creationId xmlns:a16="http://schemas.microsoft.com/office/drawing/2014/main" id="{C4713AE5-C4A1-4BF6-A28A-8FAE99720ACC}"/>
              </a:ext>
            </a:extLst>
          </p:cNvPr>
          <p:cNvSpPr/>
          <p:nvPr/>
        </p:nvSpPr>
        <p:spPr>
          <a:xfrm>
            <a:off x="4634214" y="3907152"/>
            <a:ext cx="4203154" cy="24751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종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ADAEC117-C442-405C-A122-FDACF4590EFD}"/>
              </a:ext>
            </a:extLst>
          </p:cNvPr>
          <p:cNvSpPr/>
          <p:nvPr/>
        </p:nvSpPr>
        <p:spPr>
          <a:xfrm>
            <a:off x="2903279" y="18561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5" name="사각형: 둥근 모서리 144">
            <a:extLst>
              <a:ext uri="{FF2B5EF4-FFF2-40B4-BE49-F238E27FC236}">
                <a16:creationId xmlns:a16="http://schemas.microsoft.com/office/drawing/2014/main" id="{AF96E71E-3DC9-40E5-9009-1D69EB25A529}"/>
              </a:ext>
            </a:extLst>
          </p:cNvPr>
          <p:cNvSpPr/>
          <p:nvPr/>
        </p:nvSpPr>
        <p:spPr>
          <a:xfrm>
            <a:off x="480855" y="190280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사각형: 둥근 모서리 145">
            <a:extLst>
              <a:ext uri="{FF2B5EF4-FFF2-40B4-BE49-F238E27FC236}">
                <a16:creationId xmlns:a16="http://schemas.microsoft.com/office/drawing/2014/main" id="{2E5576AB-55EE-43D7-9F0D-B1B8023FE6B6}"/>
              </a:ext>
            </a:extLst>
          </p:cNvPr>
          <p:cNvSpPr/>
          <p:nvPr/>
        </p:nvSpPr>
        <p:spPr>
          <a:xfrm>
            <a:off x="480855" y="208988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7" name="사각형: 둥근 모서리 146">
            <a:extLst>
              <a:ext uri="{FF2B5EF4-FFF2-40B4-BE49-F238E27FC236}">
                <a16:creationId xmlns:a16="http://schemas.microsoft.com/office/drawing/2014/main" id="{37A466DB-E5B4-49A2-BC60-78CC0D15EE33}"/>
              </a:ext>
            </a:extLst>
          </p:cNvPr>
          <p:cNvSpPr/>
          <p:nvPr/>
        </p:nvSpPr>
        <p:spPr>
          <a:xfrm>
            <a:off x="479809" y="22769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사각형: 둥근 모서리 147">
            <a:extLst>
              <a:ext uri="{FF2B5EF4-FFF2-40B4-BE49-F238E27FC236}">
                <a16:creationId xmlns:a16="http://schemas.microsoft.com/office/drawing/2014/main" id="{B2342B0F-6184-40AE-8BC9-7746E4F49DA2}"/>
              </a:ext>
            </a:extLst>
          </p:cNvPr>
          <p:cNvSpPr/>
          <p:nvPr/>
        </p:nvSpPr>
        <p:spPr>
          <a:xfrm>
            <a:off x="476644" y="2464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9" name="사각형: 둥근 모서리 148">
            <a:extLst>
              <a:ext uri="{FF2B5EF4-FFF2-40B4-BE49-F238E27FC236}">
                <a16:creationId xmlns:a16="http://schemas.microsoft.com/office/drawing/2014/main" id="{B4125D14-B160-4E07-951A-62B85589DE3A}"/>
              </a:ext>
            </a:extLst>
          </p:cNvPr>
          <p:cNvSpPr/>
          <p:nvPr/>
        </p:nvSpPr>
        <p:spPr>
          <a:xfrm>
            <a:off x="437859" y="28566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0" name="사각형: 둥근 모서리 149">
            <a:extLst>
              <a:ext uri="{FF2B5EF4-FFF2-40B4-BE49-F238E27FC236}">
                <a16:creationId xmlns:a16="http://schemas.microsoft.com/office/drawing/2014/main" id="{0AE7C5F3-0236-4B5B-A537-2825F24969E8}"/>
              </a:ext>
            </a:extLst>
          </p:cNvPr>
          <p:cNvSpPr/>
          <p:nvPr/>
        </p:nvSpPr>
        <p:spPr>
          <a:xfrm>
            <a:off x="434766" y="310821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0" name="사각형: 둥근 모서리 429">
            <a:extLst>
              <a:ext uri="{FF2B5EF4-FFF2-40B4-BE49-F238E27FC236}">
                <a16:creationId xmlns:a16="http://schemas.microsoft.com/office/drawing/2014/main" id="{D854247B-B9A5-4A68-8513-48CDF3627DE6}"/>
              </a:ext>
            </a:extLst>
          </p:cNvPr>
          <p:cNvSpPr/>
          <p:nvPr/>
        </p:nvSpPr>
        <p:spPr>
          <a:xfrm>
            <a:off x="476644" y="26511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0" name="표 50">
            <a:extLst>
              <a:ext uri="{FF2B5EF4-FFF2-40B4-BE49-F238E27FC236}">
                <a16:creationId xmlns:a16="http://schemas.microsoft.com/office/drawing/2014/main" id="{DEBC3D5E-3FF7-40C7-8D5B-5A901FABC4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8287197"/>
              </p:ext>
            </p:extLst>
          </p:nvPr>
        </p:nvGraphicFramePr>
        <p:xfrm>
          <a:off x="9732634" y="3442202"/>
          <a:ext cx="2348794" cy="11290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2945">
                  <a:extLst>
                    <a:ext uri="{9D8B030D-6E8A-4147-A177-3AD203B41FA5}">
                      <a16:colId xmlns:a16="http://schemas.microsoft.com/office/drawing/2014/main" val="3081907684"/>
                    </a:ext>
                  </a:extLst>
                </a:gridCol>
                <a:gridCol w="529849">
                  <a:extLst>
                    <a:ext uri="{9D8B030D-6E8A-4147-A177-3AD203B41FA5}">
                      <a16:colId xmlns:a16="http://schemas.microsoft.com/office/drawing/2014/main" val="353142430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815659189"/>
                    </a:ext>
                  </a:extLst>
                </a:gridCol>
              </a:tblGrid>
              <a:tr h="2135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 문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297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형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12685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형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 제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33556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기관에서 열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54946"/>
                  </a:ext>
                </a:extLst>
              </a:tr>
            </a:tbl>
          </a:graphicData>
        </a:graphic>
      </p:graphicFrame>
      <p:sp>
        <p:nvSpPr>
          <p:cNvPr id="433" name="사각형: 둥근 모서리 432">
            <a:extLst>
              <a:ext uri="{FF2B5EF4-FFF2-40B4-BE49-F238E27FC236}">
                <a16:creationId xmlns:a16="http://schemas.microsoft.com/office/drawing/2014/main" id="{CA573DA0-DC0D-4247-9579-54AE5065B36E}"/>
              </a:ext>
            </a:extLst>
          </p:cNvPr>
          <p:cNvSpPr/>
          <p:nvPr/>
        </p:nvSpPr>
        <p:spPr>
          <a:xfrm>
            <a:off x="4767528" y="26455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4" name="사각형: 둥근 모서리 433">
            <a:extLst>
              <a:ext uri="{FF2B5EF4-FFF2-40B4-BE49-F238E27FC236}">
                <a16:creationId xmlns:a16="http://schemas.microsoft.com/office/drawing/2014/main" id="{0A9D062D-E70A-489D-BF9A-15D661D9422F}"/>
              </a:ext>
            </a:extLst>
          </p:cNvPr>
          <p:cNvSpPr/>
          <p:nvPr/>
        </p:nvSpPr>
        <p:spPr>
          <a:xfrm>
            <a:off x="475764" y="56983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6" name="사각형: 둥근 모서리 435">
            <a:extLst>
              <a:ext uri="{FF2B5EF4-FFF2-40B4-BE49-F238E27FC236}">
                <a16:creationId xmlns:a16="http://schemas.microsoft.com/office/drawing/2014/main" id="{2985B3ED-9AB9-4A3E-AFC1-03C3A067486A}"/>
              </a:ext>
            </a:extLst>
          </p:cNvPr>
          <p:cNvSpPr/>
          <p:nvPr/>
        </p:nvSpPr>
        <p:spPr>
          <a:xfrm>
            <a:off x="7579714" y="18611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7" name="사각형: 둥근 모서리 436">
            <a:extLst>
              <a:ext uri="{FF2B5EF4-FFF2-40B4-BE49-F238E27FC236}">
                <a16:creationId xmlns:a16="http://schemas.microsoft.com/office/drawing/2014/main" id="{FF89ED77-05BC-4D31-A421-179A4C8E5CCB}"/>
              </a:ext>
            </a:extLst>
          </p:cNvPr>
          <p:cNvSpPr/>
          <p:nvPr/>
        </p:nvSpPr>
        <p:spPr>
          <a:xfrm>
            <a:off x="3239711" y="49433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8" name="사각형: 둥근 모서리 437">
            <a:extLst>
              <a:ext uri="{FF2B5EF4-FFF2-40B4-BE49-F238E27FC236}">
                <a16:creationId xmlns:a16="http://schemas.microsoft.com/office/drawing/2014/main" id="{3BF0CF69-5E32-4486-B3C9-668635D5F661}"/>
              </a:ext>
            </a:extLst>
          </p:cNvPr>
          <p:cNvSpPr/>
          <p:nvPr/>
        </p:nvSpPr>
        <p:spPr>
          <a:xfrm>
            <a:off x="7135291" y="47467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9" name="사각형: 둥근 모서리 438">
            <a:extLst>
              <a:ext uri="{FF2B5EF4-FFF2-40B4-BE49-F238E27FC236}">
                <a16:creationId xmlns:a16="http://schemas.microsoft.com/office/drawing/2014/main" id="{DAF2F17E-36C9-4FC2-8373-4887A5C92999}"/>
              </a:ext>
            </a:extLst>
          </p:cNvPr>
          <p:cNvSpPr/>
          <p:nvPr/>
        </p:nvSpPr>
        <p:spPr>
          <a:xfrm>
            <a:off x="4238007" y="120841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0074671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027084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영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7950C210-6D52-4504-A2D4-CA2CBB1ED0B9}"/>
              </a:ext>
            </a:extLst>
          </p:cNvPr>
          <p:cNvSpPr/>
          <p:nvPr/>
        </p:nvSpPr>
        <p:spPr>
          <a:xfrm>
            <a:off x="2414885" y="771804"/>
            <a:ext cx="1992469" cy="2704865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65" name="직사각형 364">
            <a:extLst>
              <a:ext uri="{FF2B5EF4-FFF2-40B4-BE49-F238E27FC236}">
                <a16:creationId xmlns:a16="http://schemas.microsoft.com/office/drawing/2014/main" id="{1A132946-8F31-418C-AF8E-C92A2D42E7A3}"/>
              </a:ext>
            </a:extLst>
          </p:cNvPr>
          <p:cNvSpPr/>
          <p:nvPr/>
        </p:nvSpPr>
        <p:spPr>
          <a:xfrm>
            <a:off x="2490779" y="1723029"/>
            <a:ext cx="46739" cy="474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ko-KR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2A9128A8-409F-4C16-AD4C-E040A7644EDF}"/>
              </a:ext>
            </a:extLst>
          </p:cNvPr>
          <p:cNvGrpSpPr/>
          <p:nvPr/>
        </p:nvGrpSpPr>
        <p:grpSpPr>
          <a:xfrm>
            <a:off x="4606359" y="880174"/>
            <a:ext cx="1646896" cy="1263492"/>
            <a:chOff x="4527726" y="1856359"/>
            <a:chExt cx="1646896" cy="1263492"/>
          </a:xfrm>
        </p:grpSpPr>
        <p:grpSp>
          <p:nvGrpSpPr>
            <p:cNvPr id="305" name="그룹 304">
              <a:extLst>
                <a:ext uri="{FF2B5EF4-FFF2-40B4-BE49-F238E27FC236}">
                  <a16:creationId xmlns:a16="http://schemas.microsoft.com/office/drawing/2014/main" id="{2C918979-BE46-4B7D-895A-24EAD5DCD73B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306" name="그림 305">
                <a:extLst>
                  <a:ext uri="{FF2B5EF4-FFF2-40B4-BE49-F238E27FC236}">
                    <a16:creationId xmlns:a16="http://schemas.microsoft.com/office/drawing/2014/main" id="{00040390-51ED-459E-96AE-F9DEAD142B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07" name="TextBox 306">
                <a:extLst>
                  <a:ext uri="{FF2B5EF4-FFF2-40B4-BE49-F238E27FC236}">
                    <a16:creationId xmlns:a16="http://schemas.microsoft.com/office/drawing/2014/main" id="{8E63FBFD-D94A-4A36-82F2-0E09A36E4228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08" name="그룹 307">
              <a:extLst>
                <a:ext uri="{FF2B5EF4-FFF2-40B4-BE49-F238E27FC236}">
                  <a16:creationId xmlns:a16="http://schemas.microsoft.com/office/drawing/2014/main" id="{C1B2614C-A210-4752-AA4D-651474609E93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309" name="그림 308">
                <a:extLst>
                  <a:ext uri="{FF2B5EF4-FFF2-40B4-BE49-F238E27FC236}">
                    <a16:creationId xmlns:a16="http://schemas.microsoft.com/office/drawing/2014/main" id="{418BBF0B-2E94-44A1-9097-F83B2AE86E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10" name="TextBox 309">
                <a:extLst>
                  <a:ext uri="{FF2B5EF4-FFF2-40B4-BE49-F238E27FC236}">
                    <a16:creationId xmlns:a16="http://schemas.microsoft.com/office/drawing/2014/main" id="{2623A82E-03E2-4AC6-9441-192A4F3AF896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2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8" name="그룹 317">
              <a:extLst>
                <a:ext uri="{FF2B5EF4-FFF2-40B4-BE49-F238E27FC236}">
                  <a16:creationId xmlns:a16="http://schemas.microsoft.com/office/drawing/2014/main" id="{0E0F3C35-3D07-4313-9715-C7939DAF8EE5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319" name="그림 318">
                <a:extLst>
                  <a:ext uri="{FF2B5EF4-FFF2-40B4-BE49-F238E27FC236}">
                    <a16:creationId xmlns:a16="http://schemas.microsoft.com/office/drawing/2014/main" id="{0396D59E-E48A-4E4A-9D74-15A978399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0" name="TextBox 319">
                <a:extLst>
                  <a:ext uri="{FF2B5EF4-FFF2-40B4-BE49-F238E27FC236}">
                    <a16:creationId xmlns:a16="http://schemas.microsoft.com/office/drawing/2014/main" id="{B5795C06-10FE-432A-8F6C-1CA62DB776F3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1" name="그룹 320">
              <a:extLst>
                <a:ext uri="{FF2B5EF4-FFF2-40B4-BE49-F238E27FC236}">
                  <a16:creationId xmlns:a16="http://schemas.microsoft.com/office/drawing/2014/main" id="{31A4A4AC-FB96-4376-872C-2E7221043B7A}"/>
                </a:ext>
              </a:extLst>
            </p:cNvPr>
            <p:cNvGrpSpPr/>
            <p:nvPr/>
          </p:nvGrpSpPr>
          <p:grpSpPr>
            <a:xfrm>
              <a:off x="4592427" y="2841176"/>
              <a:ext cx="1510940" cy="142271"/>
              <a:chOff x="408596" y="2468563"/>
              <a:chExt cx="1510940" cy="142271"/>
            </a:xfrm>
          </p:grpSpPr>
          <p:pic>
            <p:nvPicPr>
              <p:cNvPr id="322" name="그림 321">
                <a:extLst>
                  <a:ext uri="{FF2B5EF4-FFF2-40B4-BE49-F238E27FC236}">
                    <a16:creationId xmlns:a16="http://schemas.microsoft.com/office/drawing/2014/main" id="{6A37CE6A-E2EB-44FB-8837-8F23D7226A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3" name="TextBox 322">
                <a:extLst>
                  <a:ext uri="{FF2B5EF4-FFF2-40B4-BE49-F238E27FC236}">
                    <a16:creationId xmlns:a16="http://schemas.microsoft.com/office/drawing/2014/main" id="{CBEF76E6-D031-45EE-BF7F-E1D29C358488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이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350" name="직사각형 349">
              <a:extLst>
                <a:ext uri="{FF2B5EF4-FFF2-40B4-BE49-F238E27FC236}">
                  <a16:creationId xmlns:a16="http://schemas.microsoft.com/office/drawing/2014/main" id="{9C4A94CD-F436-48C5-80FD-DA8335872F10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/>
            </a:p>
          </p:txBody>
        </p:sp>
      </p:grpSp>
      <p:pic>
        <p:nvPicPr>
          <p:cNvPr id="13" name="그림 12">
            <a:extLst>
              <a:ext uri="{FF2B5EF4-FFF2-40B4-BE49-F238E27FC236}">
                <a16:creationId xmlns:a16="http://schemas.microsoft.com/office/drawing/2014/main" id="{6A347BB2-DF86-45F7-BF27-15CC42CAAF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264" y="1080278"/>
            <a:ext cx="138514" cy="606001"/>
          </a:xfrm>
          <a:prstGeom prst="rect">
            <a:avLst/>
          </a:prstGeom>
        </p:spPr>
      </p:pic>
      <p:pic>
        <p:nvPicPr>
          <p:cNvPr id="496" name="그림 495">
            <a:extLst>
              <a:ext uri="{FF2B5EF4-FFF2-40B4-BE49-F238E27FC236}">
                <a16:creationId xmlns:a16="http://schemas.microsoft.com/office/drawing/2014/main" id="{AFAB964A-D1EE-4E16-8C57-BCABB4E87B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11" t="1957" r="56576" b="2876"/>
          <a:stretch/>
        </p:blipFill>
        <p:spPr>
          <a:xfrm>
            <a:off x="575016" y="1114388"/>
            <a:ext cx="859638" cy="2234910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85A46CEC-DD66-4344-AA6B-C87CD94A776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208" t="340" r="2636" b="4353"/>
          <a:stretch/>
        </p:blipFill>
        <p:spPr>
          <a:xfrm>
            <a:off x="586144" y="3277957"/>
            <a:ext cx="860550" cy="2287289"/>
          </a:xfrm>
          <a:prstGeom prst="rect">
            <a:avLst/>
          </a:prstGeom>
        </p:spPr>
      </p:pic>
      <p:sp>
        <p:nvSpPr>
          <p:cNvPr id="490" name="직사각형 489">
            <a:extLst>
              <a:ext uri="{FF2B5EF4-FFF2-40B4-BE49-F238E27FC236}">
                <a16:creationId xmlns:a16="http://schemas.microsoft.com/office/drawing/2014/main" id="{E7792F1A-070F-4B11-9D27-2B23EF54D8D4}"/>
              </a:ext>
            </a:extLst>
          </p:cNvPr>
          <p:cNvSpPr/>
          <p:nvPr/>
        </p:nvSpPr>
        <p:spPr>
          <a:xfrm>
            <a:off x="548259" y="1081964"/>
            <a:ext cx="913199" cy="4568020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494" name="직선 연결선 493">
            <a:extLst>
              <a:ext uri="{FF2B5EF4-FFF2-40B4-BE49-F238E27FC236}">
                <a16:creationId xmlns:a16="http://schemas.microsoft.com/office/drawing/2014/main" id="{A7B7A5C1-55BD-422B-8FB3-0E77E78DFD0A}"/>
              </a:ext>
            </a:extLst>
          </p:cNvPr>
          <p:cNvCxnSpPr>
            <a:cxnSpLocks/>
          </p:cNvCxnSpPr>
          <p:nvPr/>
        </p:nvCxnSpPr>
        <p:spPr>
          <a:xfrm>
            <a:off x="1554156" y="1100951"/>
            <a:ext cx="0" cy="4535596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직선 연결선 496">
            <a:extLst>
              <a:ext uri="{FF2B5EF4-FFF2-40B4-BE49-F238E27FC236}">
                <a16:creationId xmlns:a16="http://schemas.microsoft.com/office/drawing/2014/main" id="{6C3AA332-BAEF-4984-A0B2-8151B7BE4104}"/>
              </a:ext>
            </a:extLst>
          </p:cNvPr>
          <p:cNvCxnSpPr>
            <a:cxnSpLocks/>
          </p:cNvCxnSpPr>
          <p:nvPr/>
        </p:nvCxnSpPr>
        <p:spPr>
          <a:xfrm>
            <a:off x="554355" y="1090004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직선 연결선 497">
            <a:extLst>
              <a:ext uri="{FF2B5EF4-FFF2-40B4-BE49-F238E27FC236}">
                <a16:creationId xmlns:a16="http://schemas.microsoft.com/office/drawing/2014/main" id="{7017ABF6-216A-43C5-B3DA-3DBFFE5D41EB}"/>
              </a:ext>
            </a:extLst>
          </p:cNvPr>
          <p:cNvCxnSpPr>
            <a:cxnSpLocks/>
          </p:cNvCxnSpPr>
          <p:nvPr/>
        </p:nvCxnSpPr>
        <p:spPr>
          <a:xfrm>
            <a:off x="548259" y="5650917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직선 연결선 336">
            <a:extLst>
              <a:ext uri="{FF2B5EF4-FFF2-40B4-BE49-F238E27FC236}">
                <a16:creationId xmlns:a16="http://schemas.microsoft.com/office/drawing/2014/main" id="{516E62D9-D87F-4A86-8A91-9A898EEF8E59}"/>
              </a:ext>
            </a:extLst>
          </p:cNvPr>
          <p:cNvCxnSpPr>
            <a:cxnSpLocks/>
          </p:cNvCxnSpPr>
          <p:nvPr/>
        </p:nvCxnSpPr>
        <p:spPr>
          <a:xfrm>
            <a:off x="2609106" y="11546461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D831479A-33AC-45BD-862B-8A71256938C7}"/>
              </a:ext>
            </a:extLst>
          </p:cNvPr>
          <p:cNvGrpSpPr/>
          <p:nvPr/>
        </p:nvGrpSpPr>
        <p:grpSpPr>
          <a:xfrm>
            <a:off x="5521063" y="9849291"/>
            <a:ext cx="1882574" cy="1263492"/>
            <a:chOff x="4527726" y="1856359"/>
            <a:chExt cx="1882574" cy="1263492"/>
          </a:xfrm>
        </p:grpSpPr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D273737F-CDBC-461D-B884-985F3D2E6614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발간연도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315" name="그룹 314">
              <a:extLst>
                <a:ext uri="{FF2B5EF4-FFF2-40B4-BE49-F238E27FC236}">
                  <a16:creationId xmlns:a16="http://schemas.microsoft.com/office/drawing/2014/main" id="{E91E0C28-49CF-4158-8DC9-61CCCCDF1FFF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332" name="그림 331">
                <a:extLst>
                  <a:ext uri="{FF2B5EF4-FFF2-40B4-BE49-F238E27FC236}">
                    <a16:creationId xmlns:a16="http://schemas.microsoft.com/office/drawing/2014/main" id="{321FB840-F48C-4CE0-A34E-6A2224BAE2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33" name="TextBox 332">
                <a:extLst>
                  <a:ext uri="{FF2B5EF4-FFF2-40B4-BE49-F238E27FC236}">
                    <a16:creationId xmlns:a16="http://schemas.microsoft.com/office/drawing/2014/main" id="{C70630C6-3D60-4813-901E-DA162E8DE863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6" name="그룹 315">
              <a:extLst>
                <a:ext uri="{FF2B5EF4-FFF2-40B4-BE49-F238E27FC236}">
                  <a16:creationId xmlns:a16="http://schemas.microsoft.com/office/drawing/2014/main" id="{6505B424-022A-465A-AF84-FC6815717309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330" name="그림 329">
                <a:extLst>
                  <a:ext uri="{FF2B5EF4-FFF2-40B4-BE49-F238E27FC236}">
                    <a16:creationId xmlns:a16="http://schemas.microsoft.com/office/drawing/2014/main" id="{C026DD60-94A3-4D31-B641-F734C43579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31" name="TextBox 330">
                <a:extLst>
                  <a:ext uri="{FF2B5EF4-FFF2-40B4-BE49-F238E27FC236}">
                    <a16:creationId xmlns:a16="http://schemas.microsoft.com/office/drawing/2014/main" id="{2684A7EB-35CE-4E86-974B-B27718C13D55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2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7" name="그룹 316">
              <a:extLst>
                <a:ext uri="{FF2B5EF4-FFF2-40B4-BE49-F238E27FC236}">
                  <a16:creationId xmlns:a16="http://schemas.microsoft.com/office/drawing/2014/main" id="{11B8495B-58BF-4089-9E30-C3FD68FAEF06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328" name="그림 327">
                <a:extLst>
                  <a:ext uri="{FF2B5EF4-FFF2-40B4-BE49-F238E27FC236}">
                    <a16:creationId xmlns:a16="http://schemas.microsoft.com/office/drawing/2014/main" id="{D3E618C2-C44C-4757-A4D3-84F4E4A78B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F828F29B-064A-456B-AC5B-B80981874EBB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4" name="그룹 323">
              <a:extLst>
                <a:ext uri="{FF2B5EF4-FFF2-40B4-BE49-F238E27FC236}">
                  <a16:creationId xmlns:a16="http://schemas.microsoft.com/office/drawing/2014/main" id="{6B797CAA-B1F4-4F3B-AF4F-BC89F269A7C4}"/>
                </a:ext>
              </a:extLst>
            </p:cNvPr>
            <p:cNvGrpSpPr/>
            <p:nvPr/>
          </p:nvGrpSpPr>
          <p:grpSpPr>
            <a:xfrm>
              <a:off x="4592427" y="2841176"/>
              <a:ext cx="1510940" cy="142271"/>
              <a:chOff x="408596" y="2468563"/>
              <a:chExt cx="1510940" cy="142271"/>
            </a:xfrm>
          </p:grpSpPr>
          <p:pic>
            <p:nvPicPr>
              <p:cNvPr id="326" name="그림 325">
                <a:extLst>
                  <a:ext uri="{FF2B5EF4-FFF2-40B4-BE49-F238E27FC236}">
                    <a16:creationId xmlns:a16="http://schemas.microsoft.com/office/drawing/2014/main" id="{27D9F491-DAB0-45C8-9E6D-AACF7A8B04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7" name="TextBox 326">
                <a:extLst>
                  <a:ext uri="{FF2B5EF4-FFF2-40B4-BE49-F238E27FC236}">
                    <a16:creationId xmlns:a16="http://schemas.microsoft.com/office/drawing/2014/main" id="{73293B22-2BEA-447C-A142-173EFF82D54F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이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115E7138-18CF-4E64-AE22-9ACC021C3752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grpSp>
        <p:nvGrpSpPr>
          <p:cNvPr id="413" name="그룹 412">
            <a:extLst>
              <a:ext uri="{FF2B5EF4-FFF2-40B4-BE49-F238E27FC236}">
                <a16:creationId xmlns:a16="http://schemas.microsoft.com/office/drawing/2014/main" id="{FE2AD8DC-7E1B-4A49-95A9-C8920BA9B24B}"/>
              </a:ext>
            </a:extLst>
          </p:cNvPr>
          <p:cNvGrpSpPr/>
          <p:nvPr/>
        </p:nvGrpSpPr>
        <p:grpSpPr>
          <a:xfrm>
            <a:off x="5602697" y="11117547"/>
            <a:ext cx="1882574" cy="1263492"/>
            <a:chOff x="4527726" y="1856359"/>
            <a:chExt cx="1882574" cy="1263492"/>
          </a:xfrm>
        </p:grpSpPr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29816310-B0DA-4EE0-BA87-AD762D880E9E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영상분량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415" name="그룹 414">
              <a:extLst>
                <a:ext uri="{FF2B5EF4-FFF2-40B4-BE49-F238E27FC236}">
                  <a16:creationId xmlns:a16="http://schemas.microsoft.com/office/drawing/2014/main" id="{2258D1FC-C702-4556-AE60-98D4F5E69BCF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426" name="그림 425">
                <a:extLst>
                  <a:ext uri="{FF2B5EF4-FFF2-40B4-BE49-F238E27FC236}">
                    <a16:creationId xmlns:a16="http://schemas.microsoft.com/office/drawing/2014/main" id="{01D22575-3D2F-4E5B-8309-3256360D1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7" name="TextBox 426">
                <a:extLst>
                  <a:ext uri="{FF2B5EF4-FFF2-40B4-BE49-F238E27FC236}">
                    <a16:creationId xmlns:a16="http://schemas.microsoft.com/office/drawing/2014/main" id="{B2C05099-B1FA-41A9-A65D-6E14C3A37D24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미만 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16" name="그룹 415">
              <a:extLst>
                <a:ext uri="{FF2B5EF4-FFF2-40B4-BE49-F238E27FC236}">
                  <a16:creationId xmlns:a16="http://schemas.microsoft.com/office/drawing/2014/main" id="{6EC914E4-3A64-48A8-B556-690CF0F178E5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424" name="그림 423">
                <a:extLst>
                  <a:ext uri="{FF2B5EF4-FFF2-40B4-BE49-F238E27FC236}">
                    <a16:creationId xmlns:a16="http://schemas.microsoft.com/office/drawing/2014/main" id="{734F44A7-C1C4-483B-B000-A84DEA4A61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5" name="TextBox 424">
                <a:extLst>
                  <a:ext uri="{FF2B5EF4-FFF2-40B4-BE49-F238E27FC236}">
                    <a16:creationId xmlns:a16="http://schemas.microsoft.com/office/drawing/2014/main" id="{2CBF73BB-1085-4B7F-B865-A2522FA5A88D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～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17" name="그룹 416">
              <a:extLst>
                <a:ext uri="{FF2B5EF4-FFF2-40B4-BE49-F238E27FC236}">
                  <a16:creationId xmlns:a16="http://schemas.microsoft.com/office/drawing/2014/main" id="{13114774-E340-467D-873F-6AAE547A9EC2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422" name="그림 421">
                <a:extLst>
                  <a:ext uri="{FF2B5EF4-FFF2-40B4-BE49-F238E27FC236}">
                    <a16:creationId xmlns:a16="http://schemas.microsoft.com/office/drawing/2014/main" id="{C8E89DBE-E4BB-4E9F-9734-1AF5AC219F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3" name="TextBox 422">
                <a:extLst>
                  <a:ext uri="{FF2B5EF4-FFF2-40B4-BE49-F238E27FC236}">
                    <a16:creationId xmlns:a16="http://schemas.microsoft.com/office/drawing/2014/main" id="{E2EB2704-2AC4-4103-B826-06329160E894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초과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419" name="직사각형 418">
              <a:extLst>
                <a:ext uri="{FF2B5EF4-FFF2-40B4-BE49-F238E27FC236}">
                  <a16:creationId xmlns:a16="http://schemas.microsoft.com/office/drawing/2014/main" id="{CF844F9E-BA29-49F2-B01D-4D92E97107E1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cxnSp>
        <p:nvCxnSpPr>
          <p:cNvPr id="438" name="직선 연결선 437">
            <a:extLst>
              <a:ext uri="{FF2B5EF4-FFF2-40B4-BE49-F238E27FC236}">
                <a16:creationId xmlns:a16="http://schemas.microsoft.com/office/drawing/2014/main" id="{26DFF55B-9FD7-40A5-ADFE-9DB11877F8F4}"/>
              </a:ext>
            </a:extLst>
          </p:cNvPr>
          <p:cNvCxnSpPr>
            <a:cxnSpLocks/>
          </p:cNvCxnSpPr>
          <p:nvPr/>
        </p:nvCxnSpPr>
        <p:spPr>
          <a:xfrm>
            <a:off x="5545911" y="11097043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95" name="직사각형 494">
            <a:extLst>
              <a:ext uri="{FF2B5EF4-FFF2-40B4-BE49-F238E27FC236}">
                <a16:creationId xmlns:a16="http://schemas.microsoft.com/office/drawing/2014/main" id="{DACB210B-C1A3-49F1-AA4F-FD3924796DCE}"/>
              </a:ext>
            </a:extLst>
          </p:cNvPr>
          <p:cNvSpPr/>
          <p:nvPr/>
        </p:nvSpPr>
        <p:spPr>
          <a:xfrm>
            <a:off x="1569020" y="1037527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Area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리스트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영역과 별개로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스크롤됨</a:t>
            </a: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1C59B49E-C8BA-4B84-B78B-260B3DEAD626}"/>
              </a:ext>
            </a:extLst>
          </p:cNvPr>
          <p:cNvSpPr/>
          <p:nvPr/>
        </p:nvSpPr>
        <p:spPr>
          <a:xfrm>
            <a:off x="5390769" y="111370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FD2A25FB-03B4-46F5-95F9-0BB592F6AB68}"/>
              </a:ext>
            </a:extLst>
          </p:cNvPr>
          <p:cNvSpPr txBox="1"/>
          <p:nvPr/>
        </p:nvSpPr>
        <p:spPr>
          <a:xfrm>
            <a:off x="2487062" y="1146996"/>
            <a:ext cx="1897572" cy="337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cs typeface="Arial"/>
              </a:rPr>
              <a:t>환경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   사회         거버넌스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R="0" lvl="0" indent="0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금융      공시        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Tax           Deal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BAB1442-C6A2-40B1-86DC-13986ABD9A4E}"/>
              </a:ext>
            </a:extLst>
          </p:cNvPr>
          <p:cNvSpPr/>
          <p:nvPr/>
        </p:nvSpPr>
        <p:spPr>
          <a:xfrm>
            <a:off x="2490779" y="1561462"/>
            <a:ext cx="1808008" cy="210195"/>
          </a:xfrm>
          <a:prstGeom prst="roundRect">
            <a:avLst>
              <a:gd name="adj" fmla="val 29682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온실가스</a:t>
            </a:r>
          </a:p>
        </p:txBody>
      </p:sp>
      <p:sp>
        <p:nvSpPr>
          <p:cNvPr id="181" name="사각형: 둥근 모서리 180">
            <a:extLst>
              <a:ext uri="{FF2B5EF4-FFF2-40B4-BE49-F238E27FC236}">
                <a16:creationId xmlns:a16="http://schemas.microsoft.com/office/drawing/2014/main" id="{31F90ECB-B47B-436A-803C-E11D3849E47E}"/>
              </a:ext>
            </a:extLst>
          </p:cNvPr>
          <p:cNvSpPr/>
          <p:nvPr/>
        </p:nvSpPr>
        <p:spPr>
          <a:xfrm>
            <a:off x="2490779" y="1832080"/>
            <a:ext cx="1808008" cy="210195"/>
          </a:xfrm>
          <a:prstGeom prst="roundRect">
            <a:avLst>
              <a:gd name="adj" fmla="val 30131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기후변화</a:t>
            </a: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DAE087AF-0936-45C0-B43B-0D6D7E8447F2}"/>
              </a:ext>
            </a:extLst>
          </p:cNvPr>
          <p:cNvSpPr/>
          <p:nvPr/>
        </p:nvSpPr>
        <p:spPr>
          <a:xfrm>
            <a:off x="2490779" y="2102698"/>
            <a:ext cx="1808008" cy="210195"/>
          </a:xfrm>
          <a:prstGeom prst="roundRect">
            <a:avLst>
              <a:gd name="adj" fmla="val 28335"/>
            </a:avLst>
          </a:prstGeom>
          <a:solidFill>
            <a:schemeClr val="bg1">
              <a:lumMod val="95000"/>
            </a:schemeClr>
          </a:solidFill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에너지전환</a:t>
            </a: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D2166419-D0AD-49D3-BF14-03C92E143837}"/>
              </a:ext>
            </a:extLst>
          </p:cNvPr>
          <p:cNvSpPr/>
          <p:nvPr/>
        </p:nvSpPr>
        <p:spPr>
          <a:xfrm>
            <a:off x="2490779" y="2375275"/>
            <a:ext cx="1808008" cy="210195"/>
          </a:xfrm>
          <a:prstGeom prst="roundRect">
            <a:avLst>
              <a:gd name="adj" fmla="val 23847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자원 및 순환경제</a:t>
            </a:r>
          </a:p>
        </p:txBody>
      </p:sp>
      <p:sp>
        <p:nvSpPr>
          <p:cNvPr id="184" name="사각형: 둥근 모서리 183">
            <a:extLst>
              <a:ext uri="{FF2B5EF4-FFF2-40B4-BE49-F238E27FC236}">
                <a16:creationId xmlns:a16="http://schemas.microsoft.com/office/drawing/2014/main" id="{3E426015-AAA7-4799-A918-55C355B1B4D0}"/>
              </a:ext>
            </a:extLst>
          </p:cNvPr>
          <p:cNvSpPr/>
          <p:nvPr/>
        </p:nvSpPr>
        <p:spPr>
          <a:xfrm>
            <a:off x="2490779" y="2646538"/>
            <a:ext cx="1808008" cy="210195"/>
          </a:xfrm>
          <a:prstGeom prst="roundRect">
            <a:avLst>
              <a:gd name="adj" fmla="val 2923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생물다양성</a:t>
            </a:r>
          </a:p>
        </p:txBody>
      </p:sp>
      <p:sp>
        <p:nvSpPr>
          <p:cNvPr id="185" name="사각형: 둥근 모서리 184">
            <a:extLst>
              <a:ext uri="{FF2B5EF4-FFF2-40B4-BE49-F238E27FC236}">
                <a16:creationId xmlns:a16="http://schemas.microsoft.com/office/drawing/2014/main" id="{9C9B2893-4C4D-4995-B921-1D878D3DFC6D}"/>
              </a:ext>
            </a:extLst>
          </p:cNvPr>
          <p:cNvSpPr/>
          <p:nvPr/>
        </p:nvSpPr>
        <p:spPr>
          <a:xfrm>
            <a:off x="2490779" y="2933148"/>
            <a:ext cx="1808008" cy="210195"/>
          </a:xfrm>
          <a:prstGeom prst="roundRect">
            <a:avLst>
              <a:gd name="adj" fmla="val 26989"/>
            </a:avLst>
          </a:prstGeom>
          <a:solidFill>
            <a:schemeClr val="bg1">
              <a:lumMod val="95000"/>
            </a:schemeClr>
          </a:solidFill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오염과 폐기물</a:t>
            </a:r>
          </a:p>
        </p:txBody>
      </p:sp>
      <p:sp>
        <p:nvSpPr>
          <p:cNvPr id="186" name="사각형: 둥근 모서리 185">
            <a:extLst>
              <a:ext uri="{FF2B5EF4-FFF2-40B4-BE49-F238E27FC236}">
                <a16:creationId xmlns:a16="http://schemas.microsoft.com/office/drawing/2014/main" id="{0D48F50C-6C8B-471D-B396-781F9EEEAF74}"/>
              </a:ext>
            </a:extLst>
          </p:cNvPr>
          <p:cNvSpPr/>
          <p:nvPr/>
        </p:nvSpPr>
        <p:spPr>
          <a:xfrm>
            <a:off x="2490779" y="3190377"/>
            <a:ext cx="1808008" cy="210195"/>
          </a:xfrm>
          <a:prstGeom prst="roundRect">
            <a:avLst>
              <a:gd name="adj" fmla="val 29682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7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친환경제품 및 기술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2AA3675-AC08-4E00-BA48-50E7DA9D84EA}"/>
              </a:ext>
            </a:extLst>
          </p:cNvPr>
          <p:cNvGrpSpPr/>
          <p:nvPr/>
        </p:nvGrpSpPr>
        <p:grpSpPr>
          <a:xfrm>
            <a:off x="2556532" y="5810319"/>
            <a:ext cx="1524848" cy="610455"/>
            <a:chOff x="2654042" y="3322601"/>
            <a:chExt cx="1524848" cy="610455"/>
          </a:xfrm>
        </p:grpSpPr>
        <p:pic>
          <p:nvPicPr>
            <p:cNvPr id="189" name="그림 188">
              <a:extLst>
                <a:ext uri="{FF2B5EF4-FFF2-40B4-BE49-F238E27FC236}">
                  <a16:creationId xmlns:a16="http://schemas.microsoft.com/office/drawing/2014/main" id="{87A16A81-FCB8-4E19-95CB-105A2CD63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7950" y="3330388"/>
              <a:ext cx="134484" cy="134484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70F0D4A0-F5A5-4D20-9DC6-FD1ACCB7537B}"/>
                </a:ext>
              </a:extLst>
            </p:cNvPr>
            <p:cNvSpPr txBox="1"/>
            <p:nvPr/>
          </p:nvSpPr>
          <p:spPr>
            <a:xfrm>
              <a:off x="2834170" y="3322601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경영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11" name="그림 210">
              <a:extLst>
                <a:ext uri="{FF2B5EF4-FFF2-40B4-BE49-F238E27FC236}">
                  <a16:creationId xmlns:a16="http://schemas.microsoft.com/office/drawing/2014/main" id="{43D51015-BDB7-43A4-BCAD-38C9F94DF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1074" y="3564003"/>
              <a:ext cx="141516" cy="141516"/>
            </a:xfrm>
            <a:prstGeom prst="rect">
              <a:avLst/>
            </a:prstGeom>
          </p:spPr>
        </p:pic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66E04751-7085-4480-A786-DF879223D2E5}"/>
                </a:ext>
              </a:extLst>
            </p:cNvPr>
            <p:cNvSpPr txBox="1"/>
            <p:nvPr/>
          </p:nvSpPr>
          <p:spPr>
            <a:xfrm>
              <a:off x="2827294" y="3563248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공시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13" name="그림 212">
              <a:extLst>
                <a:ext uri="{FF2B5EF4-FFF2-40B4-BE49-F238E27FC236}">
                  <a16:creationId xmlns:a16="http://schemas.microsoft.com/office/drawing/2014/main" id="{D960EF2A-5518-412A-8140-C18D924A6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4042" y="3791540"/>
              <a:ext cx="141516" cy="141516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358C2EE3-F35B-4B8D-A772-59E09AF8DBF9}"/>
                </a:ext>
              </a:extLst>
            </p:cNvPr>
            <p:cNvSpPr txBox="1"/>
            <p:nvPr/>
          </p:nvSpPr>
          <p:spPr>
            <a:xfrm>
              <a:off x="2820262" y="379078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평가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E7137ECF-0EFE-43EB-B693-1F1A842F7280}"/>
              </a:ext>
            </a:extLst>
          </p:cNvPr>
          <p:cNvGrpSpPr/>
          <p:nvPr/>
        </p:nvGrpSpPr>
        <p:grpSpPr>
          <a:xfrm>
            <a:off x="2545420" y="4090061"/>
            <a:ext cx="1529084" cy="1025517"/>
            <a:chOff x="7239398" y="4638599"/>
            <a:chExt cx="1529084" cy="1025517"/>
          </a:xfrm>
        </p:grpSpPr>
        <p:pic>
          <p:nvPicPr>
            <p:cNvPr id="217" name="그림 216">
              <a:extLst>
                <a:ext uri="{FF2B5EF4-FFF2-40B4-BE49-F238E27FC236}">
                  <a16:creationId xmlns:a16="http://schemas.microsoft.com/office/drawing/2014/main" id="{AFF6E9A9-60E8-4CDF-A288-921C7D768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46271" y="5529632"/>
              <a:ext cx="134484" cy="134484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44A1F16E-F625-4263-8CAE-36722BFD3BD8}"/>
                </a:ext>
              </a:extLst>
            </p:cNvPr>
            <p:cNvSpPr txBox="1"/>
            <p:nvPr/>
          </p:nvSpPr>
          <p:spPr>
            <a:xfrm>
              <a:off x="7412491" y="552184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일반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19" name="그림 218">
              <a:extLst>
                <a:ext uri="{FF2B5EF4-FFF2-40B4-BE49-F238E27FC236}">
                  <a16:creationId xmlns:a16="http://schemas.microsoft.com/office/drawing/2014/main" id="{AD6ADCD6-37CD-4D17-B34B-22CB848BA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50510" y="4871785"/>
              <a:ext cx="141516" cy="141516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A8758087-FEBE-4CE0-9F0F-CA9DAD999AB2}"/>
                </a:ext>
              </a:extLst>
            </p:cNvPr>
            <p:cNvSpPr txBox="1"/>
            <p:nvPr/>
          </p:nvSpPr>
          <p:spPr>
            <a:xfrm>
              <a:off x="7416730" y="4638599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환경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21" name="그림 220">
              <a:extLst>
                <a:ext uri="{FF2B5EF4-FFF2-40B4-BE49-F238E27FC236}">
                  <a16:creationId xmlns:a16="http://schemas.microsoft.com/office/drawing/2014/main" id="{5DA91A08-010F-479B-9868-2BD55044E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50510" y="5100353"/>
              <a:ext cx="141516" cy="141516"/>
            </a:xfrm>
            <a:prstGeom prst="rect">
              <a:avLst/>
            </a:prstGeom>
          </p:spPr>
        </p:pic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3AD7FB2B-2D2A-4967-986B-F18B60ABBE16}"/>
                </a:ext>
              </a:extLst>
            </p:cNvPr>
            <p:cNvSpPr txBox="1"/>
            <p:nvPr/>
          </p:nvSpPr>
          <p:spPr>
            <a:xfrm>
              <a:off x="7416730" y="4867167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사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23" name="그림 222">
              <a:extLst>
                <a:ext uri="{FF2B5EF4-FFF2-40B4-BE49-F238E27FC236}">
                  <a16:creationId xmlns:a16="http://schemas.microsoft.com/office/drawing/2014/main" id="{AA57FFC6-8B57-499F-80FF-6A5C9A2A1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57542" y="5321351"/>
              <a:ext cx="141516" cy="141516"/>
            </a:xfrm>
            <a:prstGeom prst="rect">
              <a:avLst/>
            </a:prstGeom>
          </p:spPr>
        </p:pic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03CF0995-3077-41A4-A2DD-E54268C8A8F6}"/>
                </a:ext>
              </a:extLst>
            </p:cNvPr>
            <p:cNvSpPr txBox="1"/>
            <p:nvPr/>
          </p:nvSpPr>
          <p:spPr>
            <a:xfrm>
              <a:off x="7423762" y="508816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거버넌스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25" name="그림 224">
              <a:extLst>
                <a:ext uri="{FF2B5EF4-FFF2-40B4-BE49-F238E27FC236}">
                  <a16:creationId xmlns:a16="http://schemas.microsoft.com/office/drawing/2014/main" id="{CBF9BC52-F9AF-4961-95D6-D9F98DFDA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39398" y="4643731"/>
              <a:ext cx="141516" cy="141516"/>
            </a:xfrm>
            <a:prstGeom prst="rect">
              <a:avLst/>
            </a:prstGeom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A5F6C617-F7B7-438A-97DD-364D3A127A0D}"/>
                </a:ext>
              </a:extLst>
            </p:cNvPr>
            <p:cNvSpPr txBox="1"/>
            <p:nvPr/>
          </p:nvSpPr>
          <p:spPr>
            <a:xfrm>
              <a:off x="7416730" y="5315702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CB08B5B8-5607-46C2-9B73-10E001AE9A95}"/>
              </a:ext>
            </a:extLst>
          </p:cNvPr>
          <p:cNvSpPr/>
          <p:nvPr/>
        </p:nvSpPr>
        <p:spPr>
          <a:xfrm>
            <a:off x="2681886" y="10141880"/>
            <a:ext cx="1705524" cy="117247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) 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제분류</a:t>
            </a:r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) 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업무분류</a:t>
            </a:r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필터 추가 </a:t>
            </a:r>
          </a:p>
        </p:txBody>
      </p:sp>
      <p:grpSp>
        <p:nvGrpSpPr>
          <p:cNvPr id="235" name="그룹 234">
            <a:extLst>
              <a:ext uri="{FF2B5EF4-FFF2-40B4-BE49-F238E27FC236}">
                <a16:creationId xmlns:a16="http://schemas.microsoft.com/office/drawing/2014/main" id="{1147168E-A770-4308-ABBE-7F734A2F95E1}"/>
              </a:ext>
            </a:extLst>
          </p:cNvPr>
          <p:cNvGrpSpPr/>
          <p:nvPr/>
        </p:nvGrpSpPr>
        <p:grpSpPr>
          <a:xfrm>
            <a:off x="7688337" y="9839041"/>
            <a:ext cx="1933190" cy="984135"/>
            <a:chOff x="2604319" y="2948921"/>
            <a:chExt cx="1933190" cy="984135"/>
          </a:xfrm>
        </p:grpSpPr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8131A42A-47B7-490B-88FB-6CBDC622AF47}"/>
                </a:ext>
              </a:extLst>
            </p:cNvPr>
            <p:cNvSpPr txBox="1"/>
            <p:nvPr/>
          </p:nvSpPr>
          <p:spPr>
            <a:xfrm>
              <a:off x="2639937" y="3042647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업무 분류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pic>
          <p:nvPicPr>
            <p:cNvPr id="237" name="그림 236">
              <a:extLst>
                <a:ext uri="{FF2B5EF4-FFF2-40B4-BE49-F238E27FC236}">
                  <a16:creationId xmlns:a16="http://schemas.microsoft.com/office/drawing/2014/main" id="{A9383020-EAE9-4D69-A09C-04F8FC68B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7950" y="3330388"/>
              <a:ext cx="134484" cy="134484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AC091EC2-3218-455F-9534-1648F3F889E0}"/>
                </a:ext>
              </a:extLst>
            </p:cNvPr>
            <p:cNvSpPr txBox="1"/>
            <p:nvPr/>
          </p:nvSpPr>
          <p:spPr>
            <a:xfrm>
              <a:off x="2834170" y="3322601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경영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cxnSp>
          <p:nvCxnSpPr>
            <p:cNvPr id="239" name="직선 연결선 238">
              <a:extLst>
                <a:ext uri="{FF2B5EF4-FFF2-40B4-BE49-F238E27FC236}">
                  <a16:creationId xmlns:a16="http://schemas.microsoft.com/office/drawing/2014/main" id="{238AC645-1A54-47B3-977D-754965240F57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294892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pic>
          <p:nvPicPr>
            <p:cNvPr id="240" name="그림 239">
              <a:extLst>
                <a:ext uri="{FF2B5EF4-FFF2-40B4-BE49-F238E27FC236}">
                  <a16:creationId xmlns:a16="http://schemas.microsoft.com/office/drawing/2014/main" id="{03978F6B-72CB-4C21-AA04-50CEA9A286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1074" y="3564003"/>
              <a:ext cx="141516" cy="141516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219055AF-A014-43E7-B639-D114984775D1}"/>
                </a:ext>
              </a:extLst>
            </p:cNvPr>
            <p:cNvSpPr txBox="1"/>
            <p:nvPr/>
          </p:nvSpPr>
          <p:spPr>
            <a:xfrm>
              <a:off x="2827294" y="3563248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공시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42" name="그림 241">
              <a:extLst>
                <a:ext uri="{FF2B5EF4-FFF2-40B4-BE49-F238E27FC236}">
                  <a16:creationId xmlns:a16="http://schemas.microsoft.com/office/drawing/2014/main" id="{7396AE76-91DD-4FCF-B770-62B409769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4042" y="3791540"/>
              <a:ext cx="141516" cy="141516"/>
            </a:xfrm>
            <a:prstGeom prst="rect">
              <a:avLst/>
            </a:prstGeom>
          </p:spPr>
        </p:pic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C75AA622-1BD7-4A4B-A378-EAE6D8BA0989}"/>
                </a:ext>
              </a:extLst>
            </p:cNvPr>
            <p:cNvSpPr txBox="1"/>
            <p:nvPr/>
          </p:nvSpPr>
          <p:spPr>
            <a:xfrm>
              <a:off x="2820262" y="379078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평가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44" name="그룹 243">
            <a:extLst>
              <a:ext uri="{FF2B5EF4-FFF2-40B4-BE49-F238E27FC236}">
                <a16:creationId xmlns:a16="http://schemas.microsoft.com/office/drawing/2014/main" id="{424B7892-BDA5-4DFD-9E64-A727C9A8A261}"/>
              </a:ext>
            </a:extLst>
          </p:cNvPr>
          <p:cNvGrpSpPr/>
          <p:nvPr/>
        </p:nvGrpSpPr>
        <p:grpSpPr>
          <a:xfrm>
            <a:off x="4766262" y="10111335"/>
            <a:ext cx="1933190" cy="1312316"/>
            <a:chOff x="2604319" y="4090241"/>
            <a:chExt cx="1933190" cy="1312316"/>
          </a:xfrm>
        </p:grpSpPr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9ADF753B-64CB-42FE-8A98-9654899AD768}"/>
                </a:ext>
              </a:extLst>
            </p:cNvPr>
            <p:cNvSpPr txBox="1"/>
            <p:nvPr/>
          </p:nvSpPr>
          <p:spPr>
            <a:xfrm>
              <a:off x="2639937" y="4160128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제 분류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cxnSp>
          <p:nvCxnSpPr>
            <p:cNvPr id="246" name="직선 연결선 245">
              <a:extLst>
                <a:ext uri="{FF2B5EF4-FFF2-40B4-BE49-F238E27FC236}">
                  <a16:creationId xmlns:a16="http://schemas.microsoft.com/office/drawing/2014/main" id="{FF4E940B-76F8-470C-8C76-EDAF482A7AEC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409024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247" name="그룹 246">
              <a:extLst>
                <a:ext uri="{FF2B5EF4-FFF2-40B4-BE49-F238E27FC236}">
                  <a16:creationId xmlns:a16="http://schemas.microsoft.com/office/drawing/2014/main" id="{DA535B36-FA6E-45BF-9293-4352B7E52DAA}"/>
                </a:ext>
              </a:extLst>
            </p:cNvPr>
            <p:cNvGrpSpPr/>
            <p:nvPr/>
          </p:nvGrpSpPr>
          <p:grpSpPr>
            <a:xfrm>
              <a:off x="2655465" y="4377040"/>
              <a:ext cx="1529084" cy="1025517"/>
              <a:chOff x="7239398" y="4638599"/>
              <a:chExt cx="1529084" cy="1025517"/>
            </a:xfrm>
          </p:grpSpPr>
          <p:pic>
            <p:nvPicPr>
              <p:cNvPr id="248" name="그림 247">
                <a:extLst>
                  <a:ext uri="{FF2B5EF4-FFF2-40B4-BE49-F238E27FC236}">
                    <a16:creationId xmlns:a16="http://schemas.microsoft.com/office/drawing/2014/main" id="{C386FF11-00D3-4864-917C-DEAC192D09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46271" y="5529632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49" name="TextBox 248">
                <a:extLst>
                  <a:ext uri="{FF2B5EF4-FFF2-40B4-BE49-F238E27FC236}">
                    <a16:creationId xmlns:a16="http://schemas.microsoft.com/office/drawing/2014/main" id="{A78EE84C-8D87-4B5B-BD41-4FFF22D1A594}"/>
                  </a:ext>
                </a:extLst>
              </p:cNvPr>
              <p:cNvSpPr txBox="1"/>
              <p:nvPr/>
            </p:nvSpPr>
            <p:spPr>
              <a:xfrm>
                <a:off x="7412491" y="552184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일반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0" name="그림 249">
                <a:extLst>
                  <a:ext uri="{FF2B5EF4-FFF2-40B4-BE49-F238E27FC236}">
                    <a16:creationId xmlns:a16="http://schemas.microsoft.com/office/drawing/2014/main" id="{7AB419DD-0B90-4DD0-87B9-9584CA9F0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50510" y="4871785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09F2360-1973-4922-9738-58D7F8212069}"/>
                  </a:ext>
                </a:extLst>
              </p:cNvPr>
              <p:cNvSpPr txBox="1"/>
              <p:nvPr/>
            </p:nvSpPr>
            <p:spPr>
              <a:xfrm>
                <a:off x="7416730" y="4638599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환경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2" name="그림 251">
                <a:extLst>
                  <a:ext uri="{FF2B5EF4-FFF2-40B4-BE49-F238E27FC236}">
                    <a16:creationId xmlns:a16="http://schemas.microsoft.com/office/drawing/2014/main" id="{44E14CA4-FCC8-4968-9C9F-EB0CC3A85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50510" y="5100353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3" name="TextBox 252">
                <a:extLst>
                  <a:ext uri="{FF2B5EF4-FFF2-40B4-BE49-F238E27FC236}">
                    <a16:creationId xmlns:a16="http://schemas.microsoft.com/office/drawing/2014/main" id="{1194995A-3DE0-4B69-9F8D-5444263277A1}"/>
                  </a:ext>
                </a:extLst>
              </p:cNvPr>
              <p:cNvSpPr txBox="1"/>
              <p:nvPr/>
            </p:nvSpPr>
            <p:spPr>
              <a:xfrm>
                <a:off x="7416730" y="48671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4" name="그림 253">
                <a:extLst>
                  <a:ext uri="{FF2B5EF4-FFF2-40B4-BE49-F238E27FC236}">
                    <a16:creationId xmlns:a16="http://schemas.microsoft.com/office/drawing/2014/main" id="{5366EC9A-5662-4930-B294-00E00A7677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57542" y="532135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5" name="TextBox 254">
                <a:extLst>
                  <a:ext uri="{FF2B5EF4-FFF2-40B4-BE49-F238E27FC236}">
                    <a16:creationId xmlns:a16="http://schemas.microsoft.com/office/drawing/2014/main" id="{09B2C321-ACD2-49AB-8D00-A3DBAD84593B}"/>
                  </a:ext>
                </a:extLst>
              </p:cNvPr>
              <p:cNvSpPr txBox="1"/>
              <p:nvPr/>
            </p:nvSpPr>
            <p:spPr>
              <a:xfrm>
                <a:off x="7423762" y="508816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거버넌스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6" name="그림 255">
                <a:extLst>
                  <a:ext uri="{FF2B5EF4-FFF2-40B4-BE49-F238E27FC236}">
                    <a16:creationId xmlns:a16="http://schemas.microsoft.com/office/drawing/2014/main" id="{690734C5-07F5-4524-847C-2CAB16E609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39398" y="464373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05EE8E53-C981-45F7-8F2C-4C72A67FA958}"/>
                  </a:ext>
                </a:extLst>
              </p:cNvPr>
              <p:cNvSpPr txBox="1"/>
              <p:nvPr/>
            </p:nvSpPr>
            <p:spPr>
              <a:xfrm>
                <a:off x="7416730" y="5315702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4AFC1A47-EE3B-412E-8717-468224A603D1}"/>
              </a:ext>
            </a:extLst>
          </p:cNvPr>
          <p:cNvSpPr/>
          <p:nvPr/>
        </p:nvSpPr>
        <p:spPr>
          <a:xfrm>
            <a:off x="2429860" y="788439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DFE225F2-52E2-4E96-A27C-A97560EAB79C}"/>
              </a:ext>
            </a:extLst>
          </p:cNvPr>
          <p:cNvSpPr txBox="1"/>
          <p:nvPr/>
        </p:nvSpPr>
        <p:spPr>
          <a:xfrm>
            <a:off x="2490779" y="863974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키워드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pic>
        <p:nvPicPr>
          <p:cNvPr id="260" name="그림 259">
            <a:extLst>
              <a:ext uri="{FF2B5EF4-FFF2-40B4-BE49-F238E27FC236}">
                <a16:creationId xmlns:a16="http://schemas.microsoft.com/office/drawing/2014/main" id="{957C274F-7E44-468D-93DC-F234801B7D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2808" y="2225017"/>
            <a:ext cx="161003" cy="156908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66C8A7B0-39C0-4585-B053-853716B9DC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0568" y="2979157"/>
            <a:ext cx="101239" cy="101239"/>
          </a:xfrm>
          <a:prstGeom prst="rect">
            <a:avLst/>
          </a:prstGeom>
        </p:spPr>
      </p:pic>
      <p:graphicFrame>
        <p:nvGraphicFramePr>
          <p:cNvPr id="261" name="표 10">
            <a:extLst>
              <a:ext uri="{FF2B5EF4-FFF2-40B4-BE49-F238E27FC236}">
                <a16:creationId xmlns:a16="http://schemas.microsoft.com/office/drawing/2014/main" id="{2244F151-0D8C-44EB-A4EA-FE2B9E20D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022968"/>
              </p:ext>
            </p:extLst>
          </p:nvPr>
        </p:nvGraphicFramePr>
        <p:xfrm>
          <a:off x="9270032" y="775796"/>
          <a:ext cx="2922885" cy="64653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0430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02455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348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체크한 토픽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강조 표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강조 표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체크 마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4504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선택한 주제분류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6144423"/>
                  </a:ext>
                </a:extLst>
              </a:tr>
              <a:tr h="63265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무 분류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선택한 업무분류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 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→ 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/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→  평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1447310"/>
                  </a:ext>
                </a:extLst>
              </a:tr>
              <a:tr h="3555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연도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기입한 발간연도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6037746"/>
                  </a:ext>
                </a:extLst>
              </a:tr>
              <a:tr h="231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출처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출처명에 따라 자동 기입된 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류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55056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언어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체크한 제공언어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87457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에서 나오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값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자동 기입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영상 분량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2502756"/>
                  </a:ext>
                </a:extLst>
              </a:tr>
            </a:tbl>
          </a:graphicData>
        </a:graphic>
      </p:graphicFrame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F4A70335-A5C0-4244-9043-D26E6574400E}"/>
              </a:ext>
            </a:extLst>
          </p:cNvPr>
          <p:cNvSpPr/>
          <p:nvPr/>
        </p:nvSpPr>
        <p:spPr>
          <a:xfrm>
            <a:off x="2415936" y="3658481"/>
            <a:ext cx="1992469" cy="1555153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1FFC1381-BD94-4449-A396-8CB060A55200}"/>
              </a:ext>
            </a:extLst>
          </p:cNvPr>
          <p:cNvSpPr/>
          <p:nvPr/>
        </p:nvSpPr>
        <p:spPr>
          <a:xfrm>
            <a:off x="2430911" y="3675116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0695CACD-E0EE-4F3E-B022-6DD8A09793F0}"/>
              </a:ext>
            </a:extLst>
          </p:cNvPr>
          <p:cNvSpPr txBox="1"/>
          <p:nvPr/>
        </p:nvSpPr>
        <p:spPr>
          <a:xfrm>
            <a:off x="2491830" y="3750651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제 분류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267" name="사각형: 둥근 모서리 266">
            <a:extLst>
              <a:ext uri="{FF2B5EF4-FFF2-40B4-BE49-F238E27FC236}">
                <a16:creationId xmlns:a16="http://schemas.microsoft.com/office/drawing/2014/main" id="{7A8EDBF3-F1AA-402B-A37C-AA381268AB8E}"/>
              </a:ext>
            </a:extLst>
          </p:cNvPr>
          <p:cNvSpPr/>
          <p:nvPr/>
        </p:nvSpPr>
        <p:spPr>
          <a:xfrm>
            <a:off x="2352564" y="7259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8" name="사각형: 둥근 모서리 267">
            <a:extLst>
              <a:ext uri="{FF2B5EF4-FFF2-40B4-BE49-F238E27FC236}">
                <a16:creationId xmlns:a16="http://schemas.microsoft.com/office/drawing/2014/main" id="{E867238D-C2CB-4349-91FE-621F1ED8B70E}"/>
              </a:ext>
            </a:extLst>
          </p:cNvPr>
          <p:cNvSpPr/>
          <p:nvPr/>
        </p:nvSpPr>
        <p:spPr>
          <a:xfrm>
            <a:off x="2362127" y="36469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92" name="표 22">
            <a:extLst>
              <a:ext uri="{FF2B5EF4-FFF2-40B4-BE49-F238E27FC236}">
                <a16:creationId xmlns:a16="http://schemas.microsoft.com/office/drawing/2014/main" id="{16B3D07E-11CC-443F-910B-099610859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2149241"/>
              </p:ext>
            </p:extLst>
          </p:nvPr>
        </p:nvGraphicFramePr>
        <p:xfrm>
          <a:off x="9736690" y="1587502"/>
          <a:ext cx="2370771" cy="170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774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1834997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</a:tblGrid>
              <a:tr h="153558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분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 키워드</a:t>
                      </a:r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7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318928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236243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적자원 관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고객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망 관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157342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주권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윤리경영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153921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strike="noStrike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endParaRPr lang="en-US" altLang="ko-KR" sz="700" b="0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배출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157342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ax</a:t>
                      </a:r>
                      <a:endParaRPr lang="ko-KR" altLang="en-US" sz="7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국경세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세와 세제혜택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무투명성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157342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al </a:t>
                      </a:r>
                      <a:endParaRPr lang="ko-KR" altLang="en-US" sz="7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M&amp;A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</a:tbl>
          </a:graphicData>
        </a:graphic>
      </p:graphicFrame>
      <p:sp>
        <p:nvSpPr>
          <p:cNvPr id="347" name="직사각형 346">
            <a:extLst>
              <a:ext uri="{FF2B5EF4-FFF2-40B4-BE49-F238E27FC236}">
                <a16:creationId xmlns:a16="http://schemas.microsoft.com/office/drawing/2014/main" id="{EE1D8D78-C93B-4405-A3B5-7FD24BE511A5}"/>
              </a:ext>
            </a:extLst>
          </p:cNvPr>
          <p:cNvSpPr/>
          <p:nvPr/>
        </p:nvSpPr>
        <p:spPr>
          <a:xfrm>
            <a:off x="2417827" y="5353029"/>
            <a:ext cx="1992469" cy="1160300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48" name="직사각형 347">
            <a:extLst>
              <a:ext uri="{FF2B5EF4-FFF2-40B4-BE49-F238E27FC236}">
                <a16:creationId xmlns:a16="http://schemas.microsoft.com/office/drawing/2014/main" id="{F6FFC202-7CD9-4106-9A21-FFC64B57862F}"/>
              </a:ext>
            </a:extLst>
          </p:cNvPr>
          <p:cNvSpPr/>
          <p:nvPr/>
        </p:nvSpPr>
        <p:spPr>
          <a:xfrm>
            <a:off x="2432802" y="5369663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9CC66E41-C838-4FB0-82E5-BF5717DD2214}"/>
              </a:ext>
            </a:extLst>
          </p:cNvPr>
          <p:cNvSpPr txBox="1"/>
          <p:nvPr/>
        </p:nvSpPr>
        <p:spPr>
          <a:xfrm>
            <a:off x="2493721" y="5445198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업무 분류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351" name="사각형: 둥근 모서리 350">
            <a:extLst>
              <a:ext uri="{FF2B5EF4-FFF2-40B4-BE49-F238E27FC236}">
                <a16:creationId xmlns:a16="http://schemas.microsoft.com/office/drawing/2014/main" id="{BD5BF30E-EA4E-4B47-B91B-82279D3D55A6}"/>
              </a:ext>
            </a:extLst>
          </p:cNvPr>
          <p:cNvSpPr/>
          <p:nvPr/>
        </p:nvSpPr>
        <p:spPr>
          <a:xfrm>
            <a:off x="2356376" y="53530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8" name="직사각형 367">
            <a:extLst>
              <a:ext uri="{FF2B5EF4-FFF2-40B4-BE49-F238E27FC236}">
                <a16:creationId xmlns:a16="http://schemas.microsoft.com/office/drawing/2014/main" id="{EE9132F7-8B90-429B-921F-9438849CEAF2}"/>
              </a:ext>
            </a:extLst>
          </p:cNvPr>
          <p:cNvSpPr/>
          <p:nvPr/>
        </p:nvSpPr>
        <p:spPr>
          <a:xfrm>
            <a:off x="4547934" y="773853"/>
            <a:ext cx="1992469" cy="1355057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69" name="직사각형 368">
            <a:extLst>
              <a:ext uri="{FF2B5EF4-FFF2-40B4-BE49-F238E27FC236}">
                <a16:creationId xmlns:a16="http://schemas.microsoft.com/office/drawing/2014/main" id="{6EF6C00E-7B9F-4B55-AA9A-276E940922A4}"/>
              </a:ext>
            </a:extLst>
          </p:cNvPr>
          <p:cNvSpPr/>
          <p:nvPr/>
        </p:nvSpPr>
        <p:spPr>
          <a:xfrm>
            <a:off x="4562909" y="790488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5CCC0A70-15FC-4554-89D7-8DF5DF1F08BE}"/>
              </a:ext>
            </a:extLst>
          </p:cNvPr>
          <p:cNvSpPr txBox="1"/>
          <p:nvPr/>
        </p:nvSpPr>
        <p:spPr>
          <a:xfrm>
            <a:off x="4623828" y="866023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발간연도     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372" name="사각형: 둥근 모서리 371">
            <a:extLst>
              <a:ext uri="{FF2B5EF4-FFF2-40B4-BE49-F238E27FC236}">
                <a16:creationId xmlns:a16="http://schemas.microsoft.com/office/drawing/2014/main" id="{BCB63703-E47B-4F78-A744-26CF01565266}"/>
              </a:ext>
            </a:extLst>
          </p:cNvPr>
          <p:cNvSpPr/>
          <p:nvPr/>
        </p:nvSpPr>
        <p:spPr>
          <a:xfrm>
            <a:off x="4490428" y="705917"/>
            <a:ext cx="144962" cy="102689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4" name="직사각형 393">
            <a:extLst>
              <a:ext uri="{FF2B5EF4-FFF2-40B4-BE49-F238E27FC236}">
                <a16:creationId xmlns:a16="http://schemas.microsoft.com/office/drawing/2014/main" id="{14324D28-DAC2-46F1-947D-C1B09253EDC0}"/>
              </a:ext>
            </a:extLst>
          </p:cNvPr>
          <p:cNvSpPr/>
          <p:nvPr/>
        </p:nvSpPr>
        <p:spPr>
          <a:xfrm>
            <a:off x="4552513" y="2275073"/>
            <a:ext cx="1992469" cy="915304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95" name="직사각형 394">
            <a:extLst>
              <a:ext uri="{FF2B5EF4-FFF2-40B4-BE49-F238E27FC236}">
                <a16:creationId xmlns:a16="http://schemas.microsoft.com/office/drawing/2014/main" id="{E608A07F-59BA-44FE-A94E-A0855BB09425}"/>
              </a:ext>
            </a:extLst>
          </p:cNvPr>
          <p:cNvSpPr/>
          <p:nvPr/>
        </p:nvSpPr>
        <p:spPr>
          <a:xfrm>
            <a:off x="4567488" y="2291707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0CD31D19-87C8-474F-BAC7-2DD60A2BC118}"/>
              </a:ext>
            </a:extLst>
          </p:cNvPr>
          <p:cNvSpPr txBox="1"/>
          <p:nvPr/>
        </p:nvSpPr>
        <p:spPr>
          <a:xfrm>
            <a:off x="4628407" y="2367242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자료출처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  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397" name="사각형: 둥근 모서리 396">
            <a:extLst>
              <a:ext uri="{FF2B5EF4-FFF2-40B4-BE49-F238E27FC236}">
                <a16:creationId xmlns:a16="http://schemas.microsoft.com/office/drawing/2014/main" id="{8243BAB0-ECD6-4B32-BF6B-24B28B74F6D2}"/>
              </a:ext>
            </a:extLst>
          </p:cNvPr>
          <p:cNvSpPr/>
          <p:nvPr/>
        </p:nvSpPr>
        <p:spPr>
          <a:xfrm>
            <a:off x="4491062" y="22750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99" name="그룹 398">
            <a:extLst>
              <a:ext uri="{FF2B5EF4-FFF2-40B4-BE49-F238E27FC236}">
                <a16:creationId xmlns:a16="http://schemas.microsoft.com/office/drawing/2014/main" id="{9B45F642-CA84-4919-A37B-6EEE74153EF7}"/>
              </a:ext>
            </a:extLst>
          </p:cNvPr>
          <p:cNvGrpSpPr/>
          <p:nvPr/>
        </p:nvGrpSpPr>
        <p:grpSpPr>
          <a:xfrm>
            <a:off x="4693263" y="2723125"/>
            <a:ext cx="1510940" cy="383514"/>
            <a:chOff x="2640843" y="2497472"/>
            <a:chExt cx="1510940" cy="361855"/>
          </a:xfrm>
        </p:grpSpPr>
        <p:grpSp>
          <p:nvGrpSpPr>
            <p:cNvPr id="403" name="그룹 402">
              <a:extLst>
                <a:ext uri="{FF2B5EF4-FFF2-40B4-BE49-F238E27FC236}">
                  <a16:creationId xmlns:a16="http://schemas.microsoft.com/office/drawing/2014/main" id="{7E2426AF-6C1A-4F27-AADB-7A7B0E3214A3}"/>
                </a:ext>
              </a:extLst>
            </p:cNvPr>
            <p:cNvGrpSpPr/>
            <p:nvPr/>
          </p:nvGrpSpPr>
          <p:grpSpPr>
            <a:xfrm>
              <a:off x="2640843" y="2497472"/>
              <a:ext cx="1510940" cy="142271"/>
              <a:chOff x="408596" y="2267267"/>
              <a:chExt cx="1510940" cy="142271"/>
            </a:xfrm>
          </p:grpSpPr>
          <p:pic>
            <p:nvPicPr>
              <p:cNvPr id="407" name="그림 406">
                <a:extLst>
                  <a:ext uri="{FF2B5EF4-FFF2-40B4-BE49-F238E27FC236}">
                    <a16:creationId xmlns:a16="http://schemas.microsoft.com/office/drawing/2014/main" id="{799C31D7-EAD3-4D1E-A3FE-CF9E9E9A3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08" name="TextBox 407">
                <a:extLst>
                  <a:ext uri="{FF2B5EF4-FFF2-40B4-BE49-F238E27FC236}">
                    <a16:creationId xmlns:a16="http://schemas.microsoft.com/office/drawing/2014/main" id="{F68F831D-A13B-4040-B500-DADEE5E3DC49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국내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04" name="그룹 403">
              <a:extLst>
                <a:ext uri="{FF2B5EF4-FFF2-40B4-BE49-F238E27FC236}">
                  <a16:creationId xmlns:a16="http://schemas.microsoft.com/office/drawing/2014/main" id="{9019681A-72D0-44D2-AB2F-3724F545A270}"/>
                </a:ext>
              </a:extLst>
            </p:cNvPr>
            <p:cNvGrpSpPr/>
            <p:nvPr/>
          </p:nvGrpSpPr>
          <p:grpSpPr>
            <a:xfrm>
              <a:off x="2640843" y="2717056"/>
              <a:ext cx="1510940" cy="142271"/>
              <a:chOff x="408596" y="2468563"/>
              <a:chExt cx="1510940" cy="142271"/>
            </a:xfrm>
          </p:grpSpPr>
          <p:pic>
            <p:nvPicPr>
              <p:cNvPr id="405" name="그림 404">
                <a:extLst>
                  <a:ext uri="{FF2B5EF4-FFF2-40B4-BE49-F238E27FC236}">
                    <a16:creationId xmlns:a16="http://schemas.microsoft.com/office/drawing/2014/main" id="{96CF5B68-15CF-421C-B18B-1CA700F5FE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06" name="TextBox 405">
                <a:extLst>
                  <a:ext uri="{FF2B5EF4-FFF2-40B4-BE49-F238E27FC236}">
                    <a16:creationId xmlns:a16="http://schemas.microsoft.com/office/drawing/2014/main" id="{D9ACA858-F4F3-4B83-80BB-EA7D75383610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해외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418" name="직사각형 417">
            <a:extLst>
              <a:ext uri="{FF2B5EF4-FFF2-40B4-BE49-F238E27FC236}">
                <a16:creationId xmlns:a16="http://schemas.microsoft.com/office/drawing/2014/main" id="{85ED1F9A-E391-438C-A671-D7CB021045B7}"/>
              </a:ext>
            </a:extLst>
          </p:cNvPr>
          <p:cNvSpPr/>
          <p:nvPr/>
        </p:nvSpPr>
        <p:spPr>
          <a:xfrm>
            <a:off x="4562200" y="3433259"/>
            <a:ext cx="1992469" cy="915304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20" name="직사각형 419">
            <a:extLst>
              <a:ext uri="{FF2B5EF4-FFF2-40B4-BE49-F238E27FC236}">
                <a16:creationId xmlns:a16="http://schemas.microsoft.com/office/drawing/2014/main" id="{71CA538A-A08E-42EE-B3B5-845352376CDC}"/>
              </a:ext>
            </a:extLst>
          </p:cNvPr>
          <p:cNvSpPr/>
          <p:nvPr/>
        </p:nvSpPr>
        <p:spPr>
          <a:xfrm>
            <a:off x="4577175" y="3449893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78DF3DA3-B6E3-45AA-9180-38108117E0A2}"/>
              </a:ext>
            </a:extLst>
          </p:cNvPr>
          <p:cNvSpPr txBox="1"/>
          <p:nvPr/>
        </p:nvSpPr>
        <p:spPr>
          <a:xfrm>
            <a:off x="4638094" y="3525428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언어   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432" name="사각형: 둥근 모서리 431">
            <a:extLst>
              <a:ext uri="{FF2B5EF4-FFF2-40B4-BE49-F238E27FC236}">
                <a16:creationId xmlns:a16="http://schemas.microsoft.com/office/drawing/2014/main" id="{1451AB3C-F637-44A8-94B9-388F12C7F480}"/>
              </a:ext>
            </a:extLst>
          </p:cNvPr>
          <p:cNvSpPr/>
          <p:nvPr/>
        </p:nvSpPr>
        <p:spPr>
          <a:xfrm>
            <a:off x="4500749" y="34332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42" name="그룹 441">
            <a:extLst>
              <a:ext uri="{FF2B5EF4-FFF2-40B4-BE49-F238E27FC236}">
                <a16:creationId xmlns:a16="http://schemas.microsoft.com/office/drawing/2014/main" id="{454C6A3C-B1D5-4A1A-B2D5-8B3085A8ABC1}"/>
              </a:ext>
            </a:extLst>
          </p:cNvPr>
          <p:cNvGrpSpPr/>
          <p:nvPr/>
        </p:nvGrpSpPr>
        <p:grpSpPr>
          <a:xfrm>
            <a:off x="4688859" y="3887548"/>
            <a:ext cx="1510940" cy="361855"/>
            <a:chOff x="2648433" y="3378912"/>
            <a:chExt cx="1510940" cy="361855"/>
          </a:xfrm>
        </p:grpSpPr>
        <p:grpSp>
          <p:nvGrpSpPr>
            <p:cNvPr id="444" name="그룹 443">
              <a:extLst>
                <a:ext uri="{FF2B5EF4-FFF2-40B4-BE49-F238E27FC236}">
                  <a16:creationId xmlns:a16="http://schemas.microsoft.com/office/drawing/2014/main" id="{C94DE2AE-F594-45FB-843D-6510E806EEE4}"/>
                </a:ext>
              </a:extLst>
            </p:cNvPr>
            <p:cNvGrpSpPr/>
            <p:nvPr/>
          </p:nvGrpSpPr>
          <p:grpSpPr>
            <a:xfrm>
              <a:off x="2648433" y="3378912"/>
              <a:ext cx="1510940" cy="142271"/>
              <a:chOff x="408596" y="2267267"/>
              <a:chExt cx="1510940" cy="142271"/>
            </a:xfrm>
          </p:grpSpPr>
          <p:pic>
            <p:nvPicPr>
              <p:cNvPr id="448" name="그림 447">
                <a:extLst>
                  <a:ext uri="{FF2B5EF4-FFF2-40B4-BE49-F238E27FC236}">
                    <a16:creationId xmlns:a16="http://schemas.microsoft.com/office/drawing/2014/main" id="{6BF938EE-830B-437C-868B-74FC89360D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49" name="TextBox 448">
                <a:extLst>
                  <a:ext uri="{FF2B5EF4-FFF2-40B4-BE49-F238E27FC236}">
                    <a16:creationId xmlns:a16="http://schemas.microsoft.com/office/drawing/2014/main" id="{1074FA20-540E-4B66-B8BD-7AE7B384470C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국문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45" name="그룹 444">
              <a:extLst>
                <a:ext uri="{FF2B5EF4-FFF2-40B4-BE49-F238E27FC236}">
                  <a16:creationId xmlns:a16="http://schemas.microsoft.com/office/drawing/2014/main" id="{438769D8-1A24-40B9-8DFF-55917C5CDE0D}"/>
                </a:ext>
              </a:extLst>
            </p:cNvPr>
            <p:cNvGrpSpPr/>
            <p:nvPr/>
          </p:nvGrpSpPr>
          <p:grpSpPr>
            <a:xfrm>
              <a:off x="2648433" y="3598496"/>
              <a:ext cx="1510940" cy="142271"/>
              <a:chOff x="408596" y="2468563"/>
              <a:chExt cx="1510940" cy="142271"/>
            </a:xfrm>
          </p:grpSpPr>
          <p:pic>
            <p:nvPicPr>
              <p:cNvPr id="446" name="그림 445">
                <a:extLst>
                  <a:ext uri="{FF2B5EF4-FFF2-40B4-BE49-F238E27FC236}">
                    <a16:creationId xmlns:a16="http://schemas.microsoft.com/office/drawing/2014/main" id="{DAA9F6B2-C3C5-4DE3-A1BC-D119DC4DA3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47" name="TextBox 446">
                <a:extLst>
                  <a:ext uri="{FF2B5EF4-FFF2-40B4-BE49-F238E27FC236}">
                    <a16:creationId xmlns:a16="http://schemas.microsoft.com/office/drawing/2014/main" id="{B14D8718-1FE5-49AF-A91B-A8C706752505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영문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450" name="직사각형 449">
            <a:extLst>
              <a:ext uri="{FF2B5EF4-FFF2-40B4-BE49-F238E27FC236}">
                <a16:creationId xmlns:a16="http://schemas.microsoft.com/office/drawing/2014/main" id="{7D6EB36A-8F5C-4410-AD0B-D1ACAD67C3EC}"/>
              </a:ext>
            </a:extLst>
          </p:cNvPr>
          <p:cNvSpPr/>
          <p:nvPr/>
        </p:nvSpPr>
        <p:spPr>
          <a:xfrm>
            <a:off x="4562200" y="4582199"/>
            <a:ext cx="1992469" cy="1144525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51" name="직사각형 450">
            <a:extLst>
              <a:ext uri="{FF2B5EF4-FFF2-40B4-BE49-F238E27FC236}">
                <a16:creationId xmlns:a16="http://schemas.microsoft.com/office/drawing/2014/main" id="{C12ABDED-3F19-4475-A498-8C1358556927}"/>
              </a:ext>
            </a:extLst>
          </p:cNvPr>
          <p:cNvSpPr/>
          <p:nvPr/>
        </p:nvSpPr>
        <p:spPr>
          <a:xfrm>
            <a:off x="4577175" y="4598834"/>
            <a:ext cx="1967807" cy="31853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8DD3DAE7-0432-4C71-85A2-2A7CF02A3296}"/>
              </a:ext>
            </a:extLst>
          </p:cNvPr>
          <p:cNvSpPr txBox="1"/>
          <p:nvPr/>
        </p:nvSpPr>
        <p:spPr>
          <a:xfrm>
            <a:off x="4638094" y="4674369"/>
            <a:ext cx="1897572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영상분량   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453" name="사각형: 둥근 모서리 452">
            <a:extLst>
              <a:ext uri="{FF2B5EF4-FFF2-40B4-BE49-F238E27FC236}">
                <a16:creationId xmlns:a16="http://schemas.microsoft.com/office/drawing/2014/main" id="{BBFA6F3A-4BEA-4938-A23D-23F3994FDAAE}"/>
              </a:ext>
            </a:extLst>
          </p:cNvPr>
          <p:cNvSpPr/>
          <p:nvPr/>
        </p:nvSpPr>
        <p:spPr>
          <a:xfrm>
            <a:off x="4500749" y="45822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61" name="그룹 460">
            <a:extLst>
              <a:ext uri="{FF2B5EF4-FFF2-40B4-BE49-F238E27FC236}">
                <a16:creationId xmlns:a16="http://schemas.microsoft.com/office/drawing/2014/main" id="{73C4A46F-0BA2-4CB5-A77D-D5E5FD6F8ED1}"/>
              </a:ext>
            </a:extLst>
          </p:cNvPr>
          <p:cNvGrpSpPr/>
          <p:nvPr/>
        </p:nvGrpSpPr>
        <p:grpSpPr>
          <a:xfrm>
            <a:off x="4632249" y="4678460"/>
            <a:ext cx="1646896" cy="1263492"/>
            <a:chOff x="4527726" y="1856359"/>
            <a:chExt cx="1646896" cy="1263492"/>
          </a:xfrm>
        </p:grpSpPr>
        <p:grpSp>
          <p:nvGrpSpPr>
            <p:cNvPr id="463" name="그룹 462">
              <a:extLst>
                <a:ext uri="{FF2B5EF4-FFF2-40B4-BE49-F238E27FC236}">
                  <a16:creationId xmlns:a16="http://schemas.microsoft.com/office/drawing/2014/main" id="{D46ED810-AEAF-448F-9203-63759BDA0483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471" name="그림 470">
                <a:extLst>
                  <a:ext uri="{FF2B5EF4-FFF2-40B4-BE49-F238E27FC236}">
                    <a16:creationId xmlns:a16="http://schemas.microsoft.com/office/drawing/2014/main" id="{29EE9E2D-5E59-4A1F-9234-54A9F2AF5E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72" name="TextBox 471">
                <a:extLst>
                  <a:ext uri="{FF2B5EF4-FFF2-40B4-BE49-F238E27FC236}">
                    <a16:creationId xmlns:a16="http://schemas.microsoft.com/office/drawing/2014/main" id="{600CFDF5-61B4-49BF-8B66-C7463862BDF8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미만 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64" name="그룹 463">
              <a:extLst>
                <a:ext uri="{FF2B5EF4-FFF2-40B4-BE49-F238E27FC236}">
                  <a16:creationId xmlns:a16="http://schemas.microsoft.com/office/drawing/2014/main" id="{935472AB-170B-41B2-9EAA-B023A7D9DE62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469" name="그림 468">
                <a:extLst>
                  <a:ext uri="{FF2B5EF4-FFF2-40B4-BE49-F238E27FC236}">
                    <a16:creationId xmlns:a16="http://schemas.microsoft.com/office/drawing/2014/main" id="{33B279C1-8F49-4EF4-854C-FFF5C43E4B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70" name="TextBox 469">
                <a:extLst>
                  <a:ext uri="{FF2B5EF4-FFF2-40B4-BE49-F238E27FC236}">
                    <a16:creationId xmlns:a16="http://schemas.microsoft.com/office/drawing/2014/main" id="{79B23064-85F3-4430-A3D4-34245171095B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～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65" name="그룹 464">
              <a:extLst>
                <a:ext uri="{FF2B5EF4-FFF2-40B4-BE49-F238E27FC236}">
                  <a16:creationId xmlns:a16="http://schemas.microsoft.com/office/drawing/2014/main" id="{28888C13-3715-4507-BC6A-F52C31B24EE7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467" name="그림 466">
                <a:extLst>
                  <a:ext uri="{FF2B5EF4-FFF2-40B4-BE49-F238E27FC236}">
                    <a16:creationId xmlns:a16="http://schemas.microsoft.com/office/drawing/2014/main" id="{7AF59B19-3F21-4B88-A6DA-7DEE33BBCB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68" name="TextBox 467">
                <a:extLst>
                  <a:ext uri="{FF2B5EF4-FFF2-40B4-BE49-F238E27FC236}">
                    <a16:creationId xmlns:a16="http://schemas.microsoft.com/office/drawing/2014/main" id="{B0165554-D897-4773-A88E-174D88C2900F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초과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466" name="직사각형 465">
              <a:extLst>
                <a:ext uri="{FF2B5EF4-FFF2-40B4-BE49-F238E27FC236}">
                  <a16:creationId xmlns:a16="http://schemas.microsoft.com/office/drawing/2014/main" id="{C7E61EA9-FCD7-4A73-AF21-9699A7BB81E2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graphicFrame>
        <p:nvGraphicFramePr>
          <p:cNvPr id="16" name="표 16">
            <a:extLst>
              <a:ext uri="{FF2B5EF4-FFF2-40B4-BE49-F238E27FC236}">
                <a16:creationId xmlns:a16="http://schemas.microsoft.com/office/drawing/2014/main" id="{2CE93651-0603-44B5-BB6A-3C06AAC90F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658993"/>
              </p:ext>
            </p:extLst>
          </p:nvPr>
        </p:nvGraphicFramePr>
        <p:xfrm>
          <a:off x="6761636" y="788439"/>
          <a:ext cx="2142675" cy="51738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29195">
                  <a:extLst>
                    <a:ext uri="{9D8B030D-6E8A-4147-A177-3AD203B41FA5}">
                      <a16:colId xmlns:a16="http://schemas.microsoft.com/office/drawing/2014/main" val="2222560596"/>
                    </a:ext>
                  </a:extLst>
                </a:gridCol>
                <a:gridCol w="1013480">
                  <a:extLst>
                    <a:ext uri="{9D8B030D-6E8A-4147-A177-3AD203B41FA5}">
                      <a16:colId xmlns:a16="http://schemas.microsoft.com/office/drawing/2014/main" val="7999901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</a:rPr>
                        <a:t>컨텐츠 구분</a:t>
                      </a: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</a:rPr>
                        <a:t>사용필터</a:t>
                      </a:r>
                      <a:endParaRPr lang="en-US" altLang="ko-KR" sz="900" b="1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ko-KR" altLang="en-US" sz="900" b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</a:rPr>
                        <a:t>기입순으로 노출</a:t>
                      </a:r>
                      <a:r>
                        <a:rPr lang="en-US" altLang="ko-KR" sz="900" b="1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</a:rPr>
                        <a:t>)</a:t>
                      </a: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178781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</a:t>
                      </a: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790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ko-KR" altLang="en-US" sz="900" b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ㄴ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문서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, 5, 6, 4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413662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ko-KR" altLang="en-US" sz="900" b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ㄴ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미디어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, 5, 6, 4, 7 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756851196"/>
                  </a:ext>
                </a:extLst>
              </a:tr>
              <a:tr h="338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606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ko-KR" altLang="en-US" sz="900" b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ㄴ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인사이트 리포트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, 4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52566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ko-KR" altLang="en-US" sz="900" b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ㄴ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미디어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, 4, 7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317389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ESG 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자료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0340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기준</a:t>
                      </a:r>
                      <a:r>
                        <a:rPr lang="en-US" altLang="ko-KR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/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가이드라인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, 5, 6, 4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16372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연구</a:t>
                      </a:r>
                      <a:r>
                        <a:rPr lang="en-US" altLang="ko-KR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/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보고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, 2, 3, 5, 6, 4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21183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법</a:t>
                      </a:r>
                      <a:r>
                        <a:rPr lang="en-US" altLang="ko-KR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/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제도</a:t>
                      </a:r>
                      <a:endParaRPr lang="en-US" altLang="ko-KR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, 2, 3, 5, 6, 4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29649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미디어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, 2, 3, 5, 6, 4</a:t>
                      </a: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32188527"/>
                  </a:ext>
                </a:extLst>
              </a:tr>
              <a:tr h="3647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708285"/>
                  </a:ext>
                </a:extLst>
              </a:tr>
              <a:tr h="3647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- </a:t>
                      </a:r>
                      <a:r>
                        <a:rPr lang="ko-KR" altLang="en-US" sz="900" b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뉴스리스트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 2, 3</a:t>
                      </a: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140694052"/>
                  </a:ext>
                </a:extLst>
              </a:tr>
            </a:tbl>
          </a:graphicData>
        </a:graphic>
      </p:graphicFrame>
      <p:sp>
        <p:nvSpPr>
          <p:cNvPr id="473" name="직사각형 472">
            <a:extLst>
              <a:ext uri="{FF2B5EF4-FFF2-40B4-BE49-F238E27FC236}">
                <a16:creationId xmlns:a16="http://schemas.microsoft.com/office/drawing/2014/main" id="{D65A5594-5757-4268-9BE8-DC9FAFEF57D6}"/>
              </a:ext>
            </a:extLst>
          </p:cNvPr>
          <p:cNvSpPr/>
          <p:nvPr/>
        </p:nvSpPr>
        <p:spPr>
          <a:xfrm>
            <a:off x="8972055" y="-32338"/>
            <a:ext cx="3218221" cy="672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필터 영역 현행화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7705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 구독 신청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를 구독하기 위해 개인정보 마케팅 활용 및 이메일 수신 동의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7" name="표 10">
            <a:extLst>
              <a:ext uri="{FF2B5EF4-FFF2-40B4-BE49-F238E27FC236}">
                <a16:creationId xmlns:a16="http://schemas.microsoft.com/office/drawing/2014/main" id="{764E0139-E6CB-4A10-9C47-619A0AFC9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931130"/>
              </p:ext>
            </p:extLst>
          </p:nvPr>
        </p:nvGraphicFramePr>
        <p:xfrm>
          <a:off x="9273866" y="2198192"/>
          <a:ext cx="2922885" cy="20987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00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5884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851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로그인 회원 출력 팝업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3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0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39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회원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기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독중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39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회원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수신동의 체크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청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청 완료로 화면 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8103418"/>
                  </a:ext>
                </a:extLst>
              </a:tr>
            </a:tbl>
          </a:graphicData>
        </a:graphic>
      </p:graphicFrame>
      <p:sp>
        <p:nvSpPr>
          <p:cNvPr id="95" name="직사각형 94">
            <a:extLst>
              <a:ext uri="{FF2B5EF4-FFF2-40B4-BE49-F238E27FC236}">
                <a16:creationId xmlns:a16="http://schemas.microsoft.com/office/drawing/2014/main" id="{4F80F657-6B9A-47C7-A6D7-AE8D562178A2}"/>
              </a:ext>
            </a:extLst>
          </p:cNvPr>
          <p:cNvSpPr/>
          <p:nvPr/>
        </p:nvSpPr>
        <p:spPr>
          <a:xfrm>
            <a:off x="5063960" y="3986229"/>
            <a:ext cx="3384376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찾기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56444497-D2DF-465F-A1F3-80E3BD5DBBF4}"/>
              </a:ext>
            </a:extLst>
          </p:cNvPr>
          <p:cNvSpPr/>
          <p:nvPr/>
        </p:nvSpPr>
        <p:spPr>
          <a:xfrm>
            <a:off x="4852903" y="4061344"/>
            <a:ext cx="3651596" cy="183135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3"/>
              </a:rPr>
              <a:t>Samil_kim@pwc.com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구독이 신청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2E460B82-8AB5-4BEF-8AB6-EC4DB3B5847B}"/>
              </a:ext>
            </a:extLst>
          </p:cNvPr>
          <p:cNvSpPr/>
          <p:nvPr/>
        </p:nvSpPr>
        <p:spPr>
          <a:xfrm>
            <a:off x="6222233" y="5206877"/>
            <a:ext cx="796434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42" name="사각형: 둥근 모서리 141">
            <a:extLst>
              <a:ext uri="{FF2B5EF4-FFF2-40B4-BE49-F238E27FC236}">
                <a16:creationId xmlns:a16="http://schemas.microsoft.com/office/drawing/2014/main" id="{52E1A099-0426-44B5-80E2-C38C7CFD1FEA}"/>
              </a:ext>
            </a:extLst>
          </p:cNvPr>
          <p:cNvSpPr/>
          <p:nvPr/>
        </p:nvSpPr>
        <p:spPr>
          <a:xfrm>
            <a:off x="6149752" y="51760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15C1164E-1D75-47C9-95EA-CF2EC994B6E6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44E910F9-A64A-4AAA-9133-A09ECE5D6F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829A4DEA-D443-4B31-876F-EC51963D8FC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53AE6BF5-E43C-4C14-A806-0755C7F73D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9764708C-4964-4FCA-B8BE-D1DF2408A3F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1E55B574-B8B7-4FC7-AA76-7FE6C32B9805}"/>
              </a:ext>
            </a:extLst>
          </p:cNvPr>
          <p:cNvSpPr/>
          <p:nvPr/>
        </p:nvSpPr>
        <p:spPr>
          <a:xfrm>
            <a:off x="599931" y="2139624"/>
            <a:ext cx="3651596" cy="153179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회원에 한해 뉴스레터 구독 신청이 가능합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0E28047B-BE32-40ED-B00A-0E61FE9876EC}"/>
              </a:ext>
            </a:extLst>
          </p:cNvPr>
          <p:cNvSpPr/>
          <p:nvPr/>
        </p:nvSpPr>
        <p:spPr>
          <a:xfrm>
            <a:off x="2117743" y="2969169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6641686B-1D7F-4697-BF82-BFDDA9CB0913}"/>
              </a:ext>
            </a:extLst>
          </p:cNvPr>
          <p:cNvSpPr/>
          <p:nvPr/>
        </p:nvSpPr>
        <p:spPr>
          <a:xfrm>
            <a:off x="3010141" y="2971819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8899F401-BFB1-4B92-BACB-9CB5DAA9E132}"/>
              </a:ext>
            </a:extLst>
          </p:cNvPr>
          <p:cNvSpPr/>
          <p:nvPr/>
        </p:nvSpPr>
        <p:spPr>
          <a:xfrm>
            <a:off x="533402" y="1787343"/>
            <a:ext cx="2042822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.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로그인 회원</a:t>
            </a: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C9BC2758-49A6-4037-AE90-11C26BDDEF16}"/>
              </a:ext>
            </a:extLst>
          </p:cNvPr>
          <p:cNvSpPr/>
          <p:nvPr/>
        </p:nvSpPr>
        <p:spPr>
          <a:xfrm>
            <a:off x="4863021" y="2178573"/>
            <a:ext cx="3651596" cy="143942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3"/>
              </a:rPr>
              <a:t>Samil_kim@pwc.com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구독을 신청 하시겠습니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FF5B910C-0830-441B-ABDC-4EE7D2397839}"/>
              </a:ext>
            </a:extLst>
          </p:cNvPr>
          <p:cNvSpPr/>
          <p:nvPr/>
        </p:nvSpPr>
        <p:spPr>
          <a:xfrm>
            <a:off x="5863258" y="3072447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84F53435-EC70-4CD5-BE25-670ECEE9757A}"/>
              </a:ext>
            </a:extLst>
          </p:cNvPr>
          <p:cNvSpPr/>
          <p:nvPr/>
        </p:nvSpPr>
        <p:spPr>
          <a:xfrm>
            <a:off x="4658174" y="1878493"/>
            <a:ext cx="2499646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3.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수신동의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B94B60B6-C56B-4CAC-A591-B1837E96DA20}"/>
              </a:ext>
            </a:extLst>
          </p:cNvPr>
          <p:cNvSpPr/>
          <p:nvPr/>
        </p:nvSpPr>
        <p:spPr>
          <a:xfrm>
            <a:off x="1217738" y="2971819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E40EC84-ED41-4B8D-B4A0-A3B677B05B4F}"/>
              </a:ext>
            </a:extLst>
          </p:cNvPr>
          <p:cNvSpPr/>
          <p:nvPr/>
        </p:nvSpPr>
        <p:spPr>
          <a:xfrm>
            <a:off x="533401" y="4071339"/>
            <a:ext cx="2393407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.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회원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기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독중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D84AE9BF-3817-4639-8658-F13EDC3AA8FB}"/>
              </a:ext>
            </a:extLst>
          </p:cNvPr>
          <p:cNvSpPr/>
          <p:nvPr/>
        </p:nvSpPr>
        <p:spPr>
          <a:xfrm>
            <a:off x="626552" y="4437848"/>
            <a:ext cx="3651596" cy="143942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은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이미 뉴스레터를 구독중인 회원입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를 못 받고 계신 경우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스팸함을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확인해보세요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50A1577-014C-47A2-A4AD-7606D2895A22}"/>
              </a:ext>
            </a:extLst>
          </p:cNvPr>
          <p:cNvSpPr/>
          <p:nvPr/>
        </p:nvSpPr>
        <p:spPr>
          <a:xfrm>
            <a:off x="2131209" y="5408589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865AA090-9F70-4049-87AD-A2AF593A8AD2}"/>
              </a:ext>
            </a:extLst>
          </p:cNvPr>
          <p:cNvCxnSpPr>
            <a:cxnSpLocks/>
          </p:cNvCxnSpPr>
          <p:nvPr/>
        </p:nvCxnSpPr>
        <p:spPr>
          <a:xfrm>
            <a:off x="7157820" y="3405920"/>
            <a:ext cx="0" cy="580309"/>
          </a:xfrm>
          <a:prstGeom prst="straightConnector1">
            <a:avLst/>
          </a:prstGeom>
          <a:ln w="3810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BBFF9506-D13A-4D80-814B-8B873F9F1921}"/>
              </a:ext>
            </a:extLst>
          </p:cNvPr>
          <p:cNvSpPr/>
          <p:nvPr/>
        </p:nvSpPr>
        <p:spPr>
          <a:xfrm>
            <a:off x="6745975" y="3072448"/>
            <a:ext cx="795600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청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A1714-74EB-4DB4-89CC-19E07E636A7D}"/>
              </a:ext>
            </a:extLst>
          </p:cNvPr>
          <p:cNvSpPr txBox="1"/>
          <p:nvPr/>
        </p:nvSpPr>
        <p:spPr>
          <a:xfrm>
            <a:off x="9252935" y="794373"/>
            <a:ext cx="2929413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</a:t>
            </a:r>
            <a:r>
              <a:rPr lang="ko-KR" altLang="en-US" sz="9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여부</a:t>
            </a: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수신동의여부</a:t>
            </a: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기 구독여부에 따라 출력되는 팝업 내용 상이함</a:t>
            </a:r>
            <a:endParaRPr lang="en-US" altLang="ko-KR" sz="9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① 비로그인 회원</a:t>
            </a:r>
            <a:endParaRPr lang="en-US" altLang="ko-KR" sz="9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② 로그인 회원 </a:t>
            </a: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기 </a:t>
            </a:r>
            <a:r>
              <a:rPr lang="ko-KR" altLang="en-US" sz="9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독중</a:t>
            </a:r>
            <a:endParaRPr lang="en-US" altLang="ko-KR" sz="9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③ 로그인 회원 </a:t>
            </a: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수신동의 체크</a:t>
            </a:r>
            <a:endParaRPr lang="en-US" altLang="ko-KR" sz="9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④ 로그인 회원 </a:t>
            </a:r>
            <a:r>
              <a:rPr lang="en-US" altLang="ko-KR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수신동의 </a:t>
            </a:r>
            <a:r>
              <a:rPr lang="ko-KR" altLang="en-US" sz="9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체크</a:t>
            </a:r>
            <a:r>
              <a:rPr lang="ko-KR" altLang="en-US" sz="9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E09699A4-0EF2-4426-8F7C-1897A3A168C4}"/>
              </a:ext>
            </a:extLst>
          </p:cNvPr>
          <p:cNvSpPr/>
          <p:nvPr/>
        </p:nvSpPr>
        <p:spPr>
          <a:xfrm>
            <a:off x="574316" y="20944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1453FB91-8B59-4862-934D-8ED5EFA5BF3C}"/>
              </a:ext>
            </a:extLst>
          </p:cNvPr>
          <p:cNvSpPr/>
          <p:nvPr/>
        </p:nvSpPr>
        <p:spPr>
          <a:xfrm>
            <a:off x="599931" y="44190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6CDD3B05-4511-402E-9A82-A5A5371FF2B0}"/>
              </a:ext>
            </a:extLst>
          </p:cNvPr>
          <p:cNvSpPr/>
          <p:nvPr/>
        </p:nvSpPr>
        <p:spPr>
          <a:xfrm>
            <a:off x="4790540" y="21396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5681027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화면 내 필터 기능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7950C210-6D52-4504-A2D4-CA2CBB1ED0B9}"/>
              </a:ext>
            </a:extLst>
          </p:cNvPr>
          <p:cNvSpPr/>
          <p:nvPr/>
        </p:nvSpPr>
        <p:spPr>
          <a:xfrm>
            <a:off x="2541716" y="852498"/>
            <a:ext cx="1992469" cy="5824480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01C94ACB-92C6-47D1-BD83-2EC4E5C6DAFB}"/>
              </a:ext>
            </a:extLst>
          </p:cNvPr>
          <p:cNvGrpSpPr/>
          <p:nvPr/>
        </p:nvGrpSpPr>
        <p:grpSpPr>
          <a:xfrm>
            <a:off x="2630001" y="941726"/>
            <a:ext cx="2056018" cy="251598"/>
            <a:chOff x="2575197" y="1810054"/>
            <a:chExt cx="2056018" cy="251598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F90E289-B427-49EA-B51D-0D23E72659D0}"/>
                </a:ext>
              </a:extLst>
            </p:cNvPr>
            <p:cNvSpPr txBox="1"/>
            <p:nvPr/>
          </p:nvSpPr>
          <p:spPr>
            <a:xfrm>
              <a:off x="2584729" y="1810054"/>
              <a:ext cx="472583" cy="170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필터</a:t>
              </a:r>
            </a:p>
          </p:txBody>
        </p:sp>
        <p:pic>
          <p:nvPicPr>
            <p:cNvPr id="104" name="그림 103">
              <a:extLst>
                <a:ext uri="{FF2B5EF4-FFF2-40B4-BE49-F238E27FC236}">
                  <a16:creationId xmlns:a16="http://schemas.microsoft.com/office/drawing/2014/main" id="{6A704842-8B8A-4F3C-9326-E6C4943B5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4794" y="1854101"/>
              <a:ext cx="126000" cy="126000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931C658-62D2-4168-9824-DAFB1D396CFE}"/>
                </a:ext>
              </a:extLst>
            </p:cNvPr>
            <p:cNvSpPr txBox="1"/>
            <p:nvPr/>
          </p:nvSpPr>
          <p:spPr>
            <a:xfrm>
              <a:off x="4095657" y="1845833"/>
              <a:ext cx="535558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/>
                </a:rPr>
                <a:t>초기화</a:t>
              </a:r>
            </a:p>
          </p:txBody>
        </p:sp>
        <p:cxnSp>
          <p:nvCxnSpPr>
            <p:cNvPr id="119" name="직선 연결선 118">
              <a:extLst>
                <a:ext uri="{FF2B5EF4-FFF2-40B4-BE49-F238E27FC236}">
                  <a16:creationId xmlns:a16="http://schemas.microsoft.com/office/drawing/2014/main" id="{B27384DB-3994-494E-A1EF-55026E5E1FC4}"/>
                </a:ext>
              </a:extLst>
            </p:cNvPr>
            <p:cNvCxnSpPr>
              <a:cxnSpLocks/>
            </p:cNvCxnSpPr>
            <p:nvPr/>
          </p:nvCxnSpPr>
          <p:spPr>
            <a:xfrm>
              <a:off x="2575197" y="2061652"/>
              <a:ext cx="1862854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365" name="직사각형 364">
            <a:extLst>
              <a:ext uri="{FF2B5EF4-FFF2-40B4-BE49-F238E27FC236}">
                <a16:creationId xmlns:a16="http://schemas.microsoft.com/office/drawing/2014/main" id="{1A132946-8F31-418C-AF8E-C92A2D42E7A3}"/>
              </a:ext>
            </a:extLst>
          </p:cNvPr>
          <p:cNvSpPr/>
          <p:nvPr/>
        </p:nvSpPr>
        <p:spPr>
          <a:xfrm>
            <a:off x="4257177" y="1803722"/>
            <a:ext cx="46739" cy="474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90" name="직선 연결선 389">
            <a:extLst>
              <a:ext uri="{FF2B5EF4-FFF2-40B4-BE49-F238E27FC236}">
                <a16:creationId xmlns:a16="http://schemas.microsoft.com/office/drawing/2014/main" id="{24BACCDD-3AF3-4FDE-8273-76EC0A37D129}"/>
              </a:ext>
            </a:extLst>
          </p:cNvPr>
          <p:cNvCxnSpPr>
            <a:cxnSpLocks/>
          </p:cNvCxnSpPr>
          <p:nvPr/>
        </p:nvCxnSpPr>
        <p:spPr>
          <a:xfrm>
            <a:off x="2619135" y="5490180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6" name="그룹 5">
            <a:extLst>
              <a:ext uri="{FF2B5EF4-FFF2-40B4-BE49-F238E27FC236}">
                <a16:creationId xmlns:a16="http://schemas.microsoft.com/office/drawing/2014/main" id="{2A9128A8-409F-4C16-AD4C-E040A7644EDF}"/>
              </a:ext>
            </a:extLst>
          </p:cNvPr>
          <p:cNvGrpSpPr/>
          <p:nvPr/>
        </p:nvGrpSpPr>
        <p:grpSpPr>
          <a:xfrm>
            <a:off x="2610281" y="5462636"/>
            <a:ext cx="1882574" cy="1263492"/>
            <a:chOff x="4527726" y="1856359"/>
            <a:chExt cx="1882574" cy="1263492"/>
          </a:xfrm>
        </p:grpSpPr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1B029612-05BB-443A-BE0E-66590D0E3188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발간연도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305" name="그룹 304">
              <a:extLst>
                <a:ext uri="{FF2B5EF4-FFF2-40B4-BE49-F238E27FC236}">
                  <a16:creationId xmlns:a16="http://schemas.microsoft.com/office/drawing/2014/main" id="{2C918979-BE46-4B7D-895A-24EAD5DCD73B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306" name="그림 305">
                <a:extLst>
                  <a:ext uri="{FF2B5EF4-FFF2-40B4-BE49-F238E27FC236}">
                    <a16:creationId xmlns:a16="http://schemas.microsoft.com/office/drawing/2014/main" id="{00040390-51ED-459E-96AE-F9DEAD142B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07" name="TextBox 306">
                <a:extLst>
                  <a:ext uri="{FF2B5EF4-FFF2-40B4-BE49-F238E27FC236}">
                    <a16:creationId xmlns:a16="http://schemas.microsoft.com/office/drawing/2014/main" id="{8E63FBFD-D94A-4A36-82F2-0E09A36E4228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08" name="그룹 307">
              <a:extLst>
                <a:ext uri="{FF2B5EF4-FFF2-40B4-BE49-F238E27FC236}">
                  <a16:creationId xmlns:a16="http://schemas.microsoft.com/office/drawing/2014/main" id="{C1B2614C-A210-4752-AA4D-651474609E93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309" name="그림 308">
                <a:extLst>
                  <a:ext uri="{FF2B5EF4-FFF2-40B4-BE49-F238E27FC236}">
                    <a16:creationId xmlns:a16="http://schemas.microsoft.com/office/drawing/2014/main" id="{418BBF0B-2E94-44A1-9097-F83B2AE86E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10" name="TextBox 309">
                <a:extLst>
                  <a:ext uri="{FF2B5EF4-FFF2-40B4-BE49-F238E27FC236}">
                    <a16:creationId xmlns:a16="http://schemas.microsoft.com/office/drawing/2014/main" id="{2623A82E-03E2-4AC6-9441-192A4F3AF896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2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8" name="그룹 317">
              <a:extLst>
                <a:ext uri="{FF2B5EF4-FFF2-40B4-BE49-F238E27FC236}">
                  <a16:creationId xmlns:a16="http://schemas.microsoft.com/office/drawing/2014/main" id="{0E0F3C35-3D07-4313-9715-C7939DAF8EE5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319" name="그림 318">
                <a:extLst>
                  <a:ext uri="{FF2B5EF4-FFF2-40B4-BE49-F238E27FC236}">
                    <a16:creationId xmlns:a16="http://schemas.microsoft.com/office/drawing/2014/main" id="{0396D59E-E48A-4E4A-9D74-15A978399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0" name="TextBox 319">
                <a:extLst>
                  <a:ext uri="{FF2B5EF4-FFF2-40B4-BE49-F238E27FC236}">
                    <a16:creationId xmlns:a16="http://schemas.microsoft.com/office/drawing/2014/main" id="{B5795C06-10FE-432A-8F6C-1CA62DB776F3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1" name="그룹 320">
              <a:extLst>
                <a:ext uri="{FF2B5EF4-FFF2-40B4-BE49-F238E27FC236}">
                  <a16:creationId xmlns:a16="http://schemas.microsoft.com/office/drawing/2014/main" id="{31A4A4AC-FB96-4376-872C-2E7221043B7A}"/>
                </a:ext>
              </a:extLst>
            </p:cNvPr>
            <p:cNvGrpSpPr/>
            <p:nvPr/>
          </p:nvGrpSpPr>
          <p:grpSpPr>
            <a:xfrm>
              <a:off x="4592427" y="2841176"/>
              <a:ext cx="1510940" cy="142271"/>
              <a:chOff x="408596" y="2468563"/>
              <a:chExt cx="1510940" cy="142271"/>
            </a:xfrm>
          </p:grpSpPr>
          <p:pic>
            <p:nvPicPr>
              <p:cNvPr id="322" name="그림 321">
                <a:extLst>
                  <a:ext uri="{FF2B5EF4-FFF2-40B4-BE49-F238E27FC236}">
                    <a16:creationId xmlns:a16="http://schemas.microsoft.com/office/drawing/2014/main" id="{6A37CE6A-E2EB-44FB-8837-8F23D7226A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3" name="TextBox 322">
                <a:extLst>
                  <a:ext uri="{FF2B5EF4-FFF2-40B4-BE49-F238E27FC236}">
                    <a16:creationId xmlns:a16="http://schemas.microsoft.com/office/drawing/2014/main" id="{CBEF76E6-D031-45EE-BF7F-E1D29C358488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이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350" name="직사각형 349">
              <a:extLst>
                <a:ext uri="{FF2B5EF4-FFF2-40B4-BE49-F238E27FC236}">
                  <a16:creationId xmlns:a16="http://schemas.microsoft.com/office/drawing/2014/main" id="{9C4A94CD-F436-48C5-80FD-DA8335872F10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/>
            </a:p>
          </p:txBody>
        </p:sp>
      </p:grpSp>
      <p:pic>
        <p:nvPicPr>
          <p:cNvPr id="13" name="그림 12">
            <a:extLst>
              <a:ext uri="{FF2B5EF4-FFF2-40B4-BE49-F238E27FC236}">
                <a16:creationId xmlns:a16="http://schemas.microsoft.com/office/drawing/2014/main" id="{6A347BB2-DF86-45F7-BF27-15CC42CAAF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264" y="1080278"/>
            <a:ext cx="138514" cy="606001"/>
          </a:xfrm>
          <a:prstGeom prst="rect">
            <a:avLst/>
          </a:prstGeom>
        </p:spPr>
      </p:pic>
      <p:pic>
        <p:nvPicPr>
          <p:cNvPr id="496" name="그림 495">
            <a:extLst>
              <a:ext uri="{FF2B5EF4-FFF2-40B4-BE49-F238E27FC236}">
                <a16:creationId xmlns:a16="http://schemas.microsoft.com/office/drawing/2014/main" id="{AFAB964A-D1EE-4E16-8C57-BCABB4E87B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11" t="1957" r="56576" b="2876"/>
          <a:stretch/>
        </p:blipFill>
        <p:spPr>
          <a:xfrm>
            <a:off x="575016" y="1114388"/>
            <a:ext cx="859638" cy="2234910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85A46CEC-DD66-4344-AA6B-C87CD94A776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208" t="340" r="2636" b="4353"/>
          <a:stretch/>
        </p:blipFill>
        <p:spPr>
          <a:xfrm>
            <a:off x="586144" y="3277957"/>
            <a:ext cx="860550" cy="2287289"/>
          </a:xfrm>
          <a:prstGeom prst="rect">
            <a:avLst/>
          </a:prstGeom>
        </p:spPr>
      </p:pic>
      <p:sp>
        <p:nvSpPr>
          <p:cNvPr id="490" name="직사각형 489">
            <a:extLst>
              <a:ext uri="{FF2B5EF4-FFF2-40B4-BE49-F238E27FC236}">
                <a16:creationId xmlns:a16="http://schemas.microsoft.com/office/drawing/2014/main" id="{E7792F1A-070F-4B11-9D27-2B23EF54D8D4}"/>
              </a:ext>
            </a:extLst>
          </p:cNvPr>
          <p:cNvSpPr/>
          <p:nvPr/>
        </p:nvSpPr>
        <p:spPr>
          <a:xfrm>
            <a:off x="548259" y="1081964"/>
            <a:ext cx="913199" cy="4568020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494" name="직선 연결선 493">
            <a:extLst>
              <a:ext uri="{FF2B5EF4-FFF2-40B4-BE49-F238E27FC236}">
                <a16:creationId xmlns:a16="http://schemas.microsoft.com/office/drawing/2014/main" id="{A7B7A5C1-55BD-422B-8FB3-0E77E78DFD0A}"/>
              </a:ext>
            </a:extLst>
          </p:cNvPr>
          <p:cNvCxnSpPr>
            <a:cxnSpLocks/>
          </p:cNvCxnSpPr>
          <p:nvPr/>
        </p:nvCxnSpPr>
        <p:spPr>
          <a:xfrm>
            <a:off x="1554156" y="1100951"/>
            <a:ext cx="0" cy="4535596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직선 연결선 496">
            <a:extLst>
              <a:ext uri="{FF2B5EF4-FFF2-40B4-BE49-F238E27FC236}">
                <a16:creationId xmlns:a16="http://schemas.microsoft.com/office/drawing/2014/main" id="{6C3AA332-BAEF-4984-A0B2-8151B7BE4104}"/>
              </a:ext>
            </a:extLst>
          </p:cNvPr>
          <p:cNvCxnSpPr>
            <a:cxnSpLocks/>
          </p:cNvCxnSpPr>
          <p:nvPr/>
        </p:nvCxnSpPr>
        <p:spPr>
          <a:xfrm>
            <a:off x="554355" y="1090004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직선 연결선 497">
            <a:extLst>
              <a:ext uri="{FF2B5EF4-FFF2-40B4-BE49-F238E27FC236}">
                <a16:creationId xmlns:a16="http://schemas.microsoft.com/office/drawing/2014/main" id="{7017ABF6-216A-43C5-B3DA-3DBFFE5D41EB}"/>
              </a:ext>
            </a:extLst>
          </p:cNvPr>
          <p:cNvCxnSpPr>
            <a:cxnSpLocks/>
          </p:cNvCxnSpPr>
          <p:nvPr/>
        </p:nvCxnSpPr>
        <p:spPr>
          <a:xfrm>
            <a:off x="548259" y="5650917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직사각형 333">
            <a:extLst>
              <a:ext uri="{FF2B5EF4-FFF2-40B4-BE49-F238E27FC236}">
                <a16:creationId xmlns:a16="http://schemas.microsoft.com/office/drawing/2014/main" id="{FD4BE077-E164-4819-9D7E-BF48644C2A6C}"/>
              </a:ext>
            </a:extLst>
          </p:cNvPr>
          <p:cNvSpPr/>
          <p:nvPr/>
        </p:nvSpPr>
        <p:spPr>
          <a:xfrm>
            <a:off x="4697467" y="866482"/>
            <a:ext cx="1992469" cy="5810497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335" name="그룹 334">
            <a:extLst>
              <a:ext uri="{FF2B5EF4-FFF2-40B4-BE49-F238E27FC236}">
                <a16:creationId xmlns:a16="http://schemas.microsoft.com/office/drawing/2014/main" id="{29E16E4E-C24D-4A6C-9287-D303FF607AF7}"/>
              </a:ext>
            </a:extLst>
          </p:cNvPr>
          <p:cNvGrpSpPr/>
          <p:nvPr/>
        </p:nvGrpSpPr>
        <p:grpSpPr>
          <a:xfrm>
            <a:off x="4785752" y="955711"/>
            <a:ext cx="2079956" cy="241041"/>
            <a:chOff x="2575197" y="1810054"/>
            <a:chExt cx="2079956" cy="241041"/>
          </a:xfrm>
        </p:grpSpPr>
        <p:sp>
          <p:nvSpPr>
            <p:cNvPr id="409" name="TextBox 408">
              <a:extLst>
                <a:ext uri="{FF2B5EF4-FFF2-40B4-BE49-F238E27FC236}">
                  <a16:creationId xmlns:a16="http://schemas.microsoft.com/office/drawing/2014/main" id="{1F3DCBC2-D3D0-4B0A-9133-B96F8B9E5612}"/>
                </a:ext>
              </a:extLst>
            </p:cNvPr>
            <p:cNvSpPr txBox="1"/>
            <p:nvPr/>
          </p:nvSpPr>
          <p:spPr>
            <a:xfrm>
              <a:off x="2584729" y="1810054"/>
              <a:ext cx="472583" cy="170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필터</a:t>
              </a:r>
            </a:p>
          </p:txBody>
        </p:sp>
        <p:pic>
          <p:nvPicPr>
            <p:cNvPr id="410" name="그림 409">
              <a:extLst>
                <a:ext uri="{FF2B5EF4-FFF2-40B4-BE49-F238E27FC236}">
                  <a16:creationId xmlns:a16="http://schemas.microsoft.com/office/drawing/2014/main" id="{6664F08C-6B63-4D4D-8CA2-5EA639C23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78732" y="1854101"/>
              <a:ext cx="126000" cy="126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4860E768-6551-4AF5-978E-BE6430F386AA}"/>
                </a:ext>
              </a:extLst>
            </p:cNvPr>
            <p:cNvSpPr txBox="1"/>
            <p:nvPr/>
          </p:nvSpPr>
          <p:spPr>
            <a:xfrm>
              <a:off x="4119595" y="1845833"/>
              <a:ext cx="535558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/>
                </a:rPr>
                <a:t>초기화</a:t>
              </a:r>
            </a:p>
          </p:txBody>
        </p:sp>
        <p:cxnSp>
          <p:nvCxnSpPr>
            <p:cNvPr id="412" name="직선 연결선 411">
              <a:extLst>
                <a:ext uri="{FF2B5EF4-FFF2-40B4-BE49-F238E27FC236}">
                  <a16:creationId xmlns:a16="http://schemas.microsoft.com/office/drawing/2014/main" id="{ECDAD1DB-0A2B-4DA6-B657-6941D6794302}"/>
                </a:ext>
              </a:extLst>
            </p:cNvPr>
            <p:cNvCxnSpPr>
              <a:cxnSpLocks/>
            </p:cNvCxnSpPr>
            <p:nvPr/>
          </p:nvCxnSpPr>
          <p:spPr>
            <a:xfrm>
              <a:off x="2575197" y="2051095"/>
              <a:ext cx="186137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cxnSp>
        <p:nvCxnSpPr>
          <p:cNvPr id="337" name="직선 연결선 336">
            <a:extLst>
              <a:ext uri="{FF2B5EF4-FFF2-40B4-BE49-F238E27FC236}">
                <a16:creationId xmlns:a16="http://schemas.microsoft.com/office/drawing/2014/main" id="{516E62D9-D87F-4A86-8A91-9A898EEF8E59}"/>
              </a:ext>
            </a:extLst>
          </p:cNvPr>
          <p:cNvCxnSpPr>
            <a:cxnSpLocks/>
          </p:cNvCxnSpPr>
          <p:nvPr/>
        </p:nvCxnSpPr>
        <p:spPr>
          <a:xfrm>
            <a:off x="4774886" y="4343898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D831479A-33AC-45BD-862B-8A71256938C7}"/>
              </a:ext>
            </a:extLst>
          </p:cNvPr>
          <p:cNvGrpSpPr/>
          <p:nvPr/>
        </p:nvGrpSpPr>
        <p:grpSpPr>
          <a:xfrm>
            <a:off x="4766032" y="4353636"/>
            <a:ext cx="1882574" cy="1263492"/>
            <a:chOff x="4527726" y="1856359"/>
            <a:chExt cx="1882574" cy="1263492"/>
          </a:xfrm>
        </p:grpSpPr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D273737F-CDBC-461D-B884-985F3D2E6614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발간연도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315" name="그룹 314">
              <a:extLst>
                <a:ext uri="{FF2B5EF4-FFF2-40B4-BE49-F238E27FC236}">
                  <a16:creationId xmlns:a16="http://schemas.microsoft.com/office/drawing/2014/main" id="{E91E0C28-49CF-4158-8DC9-61CCCCDF1FFF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332" name="그림 331">
                <a:extLst>
                  <a:ext uri="{FF2B5EF4-FFF2-40B4-BE49-F238E27FC236}">
                    <a16:creationId xmlns:a16="http://schemas.microsoft.com/office/drawing/2014/main" id="{321FB840-F48C-4CE0-A34E-6A2224BAE2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33" name="TextBox 332">
                <a:extLst>
                  <a:ext uri="{FF2B5EF4-FFF2-40B4-BE49-F238E27FC236}">
                    <a16:creationId xmlns:a16="http://schemas.microsoft.com/office/drawing/2014/main" id="{C70630C6-3D60-4813-901E-DA162E8DE863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6" name="그룹 315">
              <a:extLst>
                <a:ext uri="{FF2B5EF4-FFF2-40B4-BE49-F238E27FC236}">
                  <a16:creationId xmlns:a16="http://schemas.microsoft.com/office/drawing/2014/main" id="{6505B424-022A-465A-AF84-FC6815717309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330" name="그림 329">
                <a:extLst>
                  <a:ext uri="{FF2B5EF4-FFF2-40B4-BE49-F238E27FC236}">
                    <a16:creationId xmlns:a16="http://schemas.microsoft.com/office/drawing/2014/main" id="{C026DD60-94A3-4D31-B641-F734C43579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31" name="TextBox 330">
                <a:extLst>
                  <a:ext uri="{FF2B5EF4-FFF2-40B4-BE49-F238E27FC236}">
                    <a16:creationId xmlns:a16="http://schemas.microsoft.com/office/drawing/2014/main" id="{2684A7EB-35CE-4E86-974B-B27718C13D55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2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7" name="그룹 316">
              <a:extLst>
                <a:ext uri="{FF2B5EF4-FFF2-40B4-BE49-F238E27FC236}">
                  <a16:creationId xmlns:a16="http://schemas.microsoft.com/office/drawing/2014/main" id="{11B8495B-58BF-4089-9E30-C3FD68FAEF06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328" name="그림 327">
                <a:extLst>
                  <a:ext uri="{FF2B5EF4-FFF2-40B4-BE49-F238E27FC236}">
                    <a16:creationId xmlns:a16="http://schemas.microsoft.com/office/drawing/2014/main" id="{D3E618C2-C44C-4757-A4D3-84F4E4A78B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F828F29B-064A-456B-AC5B-B80981874EBB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4" name="그룹 323">
              <a:extLst>
                <a:ext uri="{FF2B5EF4-FFF2-40B4-BE49-F238E27FC236}">
                  <a16:creationId xmlns:a16="http://schemas.microsoft.com/office/drawing/2014/main" id="{6B797CAA-B1F4-4F3B-AF4F-BC89F269A7C4}"/>
                </a:ext>
              </a:extLst>
            </p:cNvPr>
            <p:cNvGrpSpPr/>
            <p:nvPr/>
          </p:nvGrpSpPr>
          <p:grpSpPr>
            <a:xfrm>
              <a:off x="4592427" y="2841176"/>
              <a:ext cx="1510940" cy="142271"/>
              <a:chOff x="408596" y="2468563"/>
              <a:chExt cx="1510940" cy="142271"/>
            </a:xfrm>
          </p:grpSpPr>
          <p:pic>
            <p:nvPicPr>
              <p:cNvPr id="326" name="그림 325">
                <a:extLst>
                  <a:ext uri="{FF2B5EF4-FFF2-40B4-BE49-F238E27FC236}">
                    <a16:creationId xmlns:a16="http://schemas.microsoft.com/office/drawing/2014/main" id="{27D9F491-DAB0-45C8-9E6D-AACF7A8B04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27" name="TextBox 326">
                <a:extLst>
                  <a:ext uri="{FF2B5EF4-FFF2-40B4-BE49-F238E27FC236}">
                    <a16:creationId xmlns:a16="http://schemas.microsoft.com/office/drawing/2014/main" id="{73293B22-2BEA-447C-A142-173EFF82D54F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이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115E7138-18CF-4E64-AE22-9ACC021C3752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grpSp>
        <p:nvGrpSpPr>
          <p:cNvPr id="413" name="그룹 412">
            <a:extLst>
              <a:ext uri="{FF2B5EF4-FFF2-40B4-BE49-F238E27FC236}">
                <a16:creationId xmlns:a16="http://schemas.microsoft.com/office/drawing/2014/main" id="{FE2AD8DC-7E1B-4A49-95A9-C8920BA9B24B}"/>
              </a:ext>
            </a:extLst>
          </p:cNvPr>
          <p:cNvGrpSpPr/>
          <p:nvPr/>
        </p:nvGrpSpPr>
        <p:grpSpPr>
          <a:xfrm>
            <a:off x="4847666" y="5621892"/>
            <a:ext cx="1882574" cy="1263492"/>
            <a:chOff x="4527726" y="1856359"/>
            <a:chExt cx="1882574" cy="1263492"/>
          </a:xfrm>
        </p:grpSpPr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29816310-B0DA-4EE0-BA87-AD762D880E9E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영상분량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415" name="그룹 414">
              <a:extLst>
                <a:ext uri="{FF2B5EF4-FFF2-40B4-BE49-F238E27FC236}">
                  <a16:creationId xmlns:a16="http://schemas.microsoft.com/office/drawing/2014/main" id="{2258D1FC-C702-4556-AE60-98D4F5E69BCF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426" name="그림 425">
                <a:extLst>
                  <a:ext uri="{FF2B5EF4-FFF2-40B4-BE49-F238E27FC236}">
                    <a16:creationId xmlns:a16="http://schemas.microsoft.com/office/drawing/2014/main" id="{01D22575-3D2F-4E5B-8309-3256360D1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7" name="TextBox 426">
                <a:extLst>
                  <a:ext uri="{FF2B5EF4-FFF2-40B4-BE49-F238E27FC236}">
                    <a16:creationId xmlns:a16="http://schemas.microsoft.com/office/drawing/2014/main" id="{B2C05099-B1FA-41A9-A65D-6E14C3A37D24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미만 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16" name="그룹 415">
              <a:extLst>
                <a:ext uri="{FF2B5EF4-FFF2-40B4-BE49-F238E27FC236}">
                  <a16:creationId xmlns:a16="http://schemas.microsoft.com/office/drawing/2014/main" id="{6EC914E4-3A64-48A8-B556-690CF0F178E5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424" name="그림 423">
                <a:extLst>
                  <a:ext uri="{FF2B5EF4-FFF2-40B4-BE49-F238E27FC236}">
                    <a16:creationId xmlns:a16="http://schemas.microsoft.com/office/drawing/2014/main" id="{734F44A7-C1C4-483B-B000-A84DEA4A61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5" name="TextBox 424">
                <a:extLst>
                  <a:ext uri="{FF2B5EF4-FFF2-40B4-BE49-F238E27FC236}">
                    <a16:creationId xmlns:a16="http://schemas.microsoft.com/office/drawing/2014/main" id="{2CBF73BB-1085-4B7F-B865-A2522FA5A88D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～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17" name="그룹 416">
              <a:extLst>
                <a:ext uri="{FF2B5EF4-FFF2-40B4-BE49-F238E27FC236}">
                  <a16:creationId xmlns:a16="http://schemas.microsoft.com/office/drawing/2014/main" id="{13114774-E340-467D-873F-6AAE547A9EC2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422" name="그림 421">
                <a:extLst>
                  <a:ext uri="{FF2B5EF4-FFF2-40B4-BE49-F238E27FC236}">
                    <a16:creationId xmlns:a16="http://schemas.microsoft.com/office/drawing/2014/main" id="{C8E89DBE-E4BB-4E9F-9734-1AF5AC219F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23" name="TextBox 422">
                <a:extLst>
                  <a:ext uri="{FF2B5EF4-FFF2-40B4-BE49-F238E27FC236}">
                    <a16:creationId xmlns:a16="http://schemas.microsoft.com/office/drawing/2014/main" id="{E2EB2704-2AC4-4103-B826-06329160E894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초과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419" name="직사각형 418">
              <a:extLst>
                <a:ext uri="{FF2B5EF4-FFF2-40B4-BE49-F238E27FC236}">
                  <a16:creationId xmlns:a16="http://schemas.microsoft.com/office/drawing/2014/main" id="{CF844F9E-BA29-49F2-B01D-4D92E97107E1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861772F5-9AEF-4697-99EC-04222E2AA49B}"/>
              </a:ext>
            </a:extLst>
          </p:cNvPr>
          <p:cNvGrpSpPr/>
          <p:nvPr/>
        </p:nvGrpSpPr>
        <p:grpSpPr>
          <a:xfrm>
            <a:off x="2487024" y="635928"/>
            <a:ext cx="2047161" cy="160953"/>
            <a:chOff x="2938041" y="763039"/>
            <a:chExt cx="2047161" cy="160953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9FBD1870-D24F-487D-88D4-1FAF736E2225}"/>
                </a:ext>
              </a:extLst>
            </p:cNvPr>
            <p:cNvSpPr/>
            <p:nvPr/>
          </p:nvSpPr>
          <p:spPr>
            <a:xfrm>
              <a:off x="2992733" y="771438"/>
              <a:ext cx="1992469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428" name="직사각형 427">
              <a:extLst>
                <a:ext uri="{FF2B5EF4-FFF2-40B4-BE49-F238E27FC236}">
                  <a16:creationId xmlns:a16="http://schemas.microsoft.com/office/drawing/2014/main" id="{94427455-556D-4B45-9399-0F761D074488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삼일인사이트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– </a:t>
              </a:r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인사이트레포트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29" name="그룹 428">
            <a:extLst>
              <a:ext uri="{FF2B5EF4-FFF2-40B4-BE49-F238E27FC236}">
                <a16:creationId xmlns:a16="http://schemas.microsoft.com/office/drawing/2014/main" id="{D7C1669D-5F78-488D-A7A5-A012FD6E2C1A}"/>
              </a:ext>
            </a:extLst>
          </p:cNvPr>
          <p:cNvGrpSpPr/>
          <p:nvPr/>
        </p:nvGrpSpPr>
        <p:grpSpPr>
          <a:xfrm>
            <a:off x="4641291" y="648957"/>
            <a:ext cx="2047161" cy="160953"/>
            <a:chOff x="2938041" y="763039"/>
            <a:chExt cx="2047161" cy="160953"/>
          </a:xfrm>
        </p:grpSpPr>
        <p:sp>
          <p:nvSpPr>
            <p:cNvPr id="430" name="직사각형 429">
              <a:extLst>
                <a:ext uri="{FF2B5EF4-FFF2-40B4-BE49-F238E27FC236}">
                  <a16:creationId xmlns:a16="http://schemas.microsoft.com/office/drawing/2014/main" id="{6A708028-26E0-4D50-A905-0DB3746A9316}"/>
                </a:ext>
              </a:extLst>
            </p:cNvPr>
            <p:cNvSpPr/>
            <p:nvPr/>
          </p:nvSpPr>
          <p:spPr>
            <a:xfrm>
              <a:off x="2992733" y="771438"/>
              <a:ext cx="1992469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431" name="직사각형 430">
              <a:extLst>
                <a:ext uri="{FF2B5EF4-FFF2-40B4-BE49-F238E27FC236}">
                  <a16:creationId xmlns:a16="http://schemas.microsoft.com/office/drawing/2014/main" id="{2C9A91D1-A258-4AD7-A51D-DF223BC0CC16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삼일인사이트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–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미디어영상</a:t>
              </a:r>
            </a:p>
          </p:txBody>
        </p:sp>
      </p:grpSp>
      <p:graphicFrame>
        <p:nvGraphicFramePr>
          <p:cNvPr id="437" name="표 10">
            <a:extLst>
              <a:ext uri="{FF2B5EF4-FFF2-40B4-BE49-F238E27FC236}">
                <a16:creationId xmlns:a16="http://schemas.microsoft.com/office/drawing/2014/main" id="{46DB2E08-C112-4765-A3C7-3A4F6A2E903A}"/>
              </a:ext>
            </a:extLst>
          </p:cNvPr>
          <p:cNvGraphicFramePr>
            <a:graphicFrameLocks noGrp="1"/>
          </p:cNvGraphicFramePr>
          <p:nvPr/>
        </p:nvGraphicFramePr>
        <p:xfrm>
          <a:off x="9270032" y="755371"/>
          <a:ext cx="2915205" cy="191267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205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</a:tblGrid>
              <a:tr h="1562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16993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메뉴 및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필터는 아래와 같이 사용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든 분류정보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에 기반함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cxnSp>
        <p:nvCxnSpPr>
          <p:cNvPr id="438" name="직선 연결선 437">
            <a:extLst>
              <a:ext uri="{FF2B5EF4-FFF2-40B4-BE49-F238E27FC236}">
                <a16:creationId xmlns:a16="http://schemas.microsoft.com/office/drawing/2014/main" id="{26DFF55B-9FD7-40A5-ADFE-9DB11877F8F4}"/>
              </a:ext>
            </a:extLst>
          </p:cNvPr>
          <p:cNvCxnSpPr>
            <a:cxnSpLocks/>
          </p:cNvCxnSpPr>
          <p:nvPr/>
        </p:nvCxnSpPr>
        <p:spPr>
          <a:xfrm>
            <a:off x="4790880" y="5601388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22" name="그림 21">
            <a:extLst>
              <a:ext uri="{FF2B5EF4-FFF2-40B4-BE49-F238E27FC236}">
                <a16:creationId xmlns:a16="http://schemas.microsoft.com/office/drawing/2014/main" id="{B5431B6A-2804-4F3D-AB9E-3700FFF30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1175" y="1394627"/>
            <a:ext cx="2822744" cy="1167211"/>
          </a:xfrm>
          <a:prstGeom prst="rect">
            <a:avLst/>
          </a:prstGeom>
        </p:spPr>
      </p:pic>
      <p:sp>
        <p:nvSpPr>
          <p:cNvPr id="495" name="직사각형 494">
            <a:extLst>
              <a:ext uri="{FF2B5EF4-FFF2-40B4-BE49-F238E27FC236}">
                <a16:creationId xmlns:a16="http://schemas.microsoft.com/office/drawing/2014/main" id="{DACB210B-C1A3-49F1-AA4F-FD3924796DCE}"/>
              </a:ext>
            </a:extLst>
          </p:cNvPr>
          <p:cNvSpPr/>
          <p:nvPr/>
        </p:nvSpPr>
        <p:spPr>
          <a:xfrm>
            <a:off x="1569020" y="1037527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Area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리스트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영역과 별개로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스크롤됨</a:t>
            </a:r>
          </a:p>
        </p:txBody>
      </p:sp>
      <p:sp>
        <p:nvSpPr>
          <p:cNvPr id="604" name="직사각형 603">
            <a:extLst>
              <a:ext uri="{FF2B5EF4-FFF2-40B4-BE49-F238E27FC236}">
                <a16:creationId xmlns:a16="http://schemas.microsoft.com/office/drawing/2014/main" id="{9B0748E6-5E0F-4583-8294-B01AD4C51EE0}"/>
              </a:ext>
            </a:extLst>
          </p:cNvPr>
          <p:cNvSpPr/>
          <p:nvPr/>
        </p:nvSpPr>
        <p:spPr>
          <a:xfrm>
            <a:off x="6874567" y="873426"/>
            <a:ext cx="1992469" cy="4629449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605" name="그룹 604">
            <a:extLst>
              <a:ext uri="{FF2B5EF4-FFF2-40B4-BE49-F238E27FC236}">
                <a16:creationId xmlns:a16="http://schemas.microsoft.com/office/drawing/2014/main" id="{735912E6-41B2-48DB-B2C1-9844D5423100}"/>
              </a:ext>
            </a:extLst>
          </p:cNvPr>
          <p:cNvGrpSpPr/>
          <p:nvPr/>
        </p:nvGrpSpPr>
        <p:grpSpPr>
          <a:xfrm>
            <a:off x="6962852" y="962653"/>
            <a:ext cx="2056018" cy="241719"/>
            <a:chOff x="2575197" y="1810054"/>
            <a:chExt cx="2056018" cy="241719"/>
          </a:xfrm>
        </p:grpSpPr>
        <p:sp>
          <p:nvSpPr>
            <p:cNvPr id="635" name="TextBox 634">
              <a:extLst>
                <a:ext uri="{FF2B5EF4-FFF2-40B4-BE49-F238E27FC236}">
                  <a16:creationId xmlns:a16="http://schemas.microsoft.com/office/drawing/2014/main" id="{F786F6C6-5333-4EA9-BFDC-501698BA2D6E}"/>
                </a:ext>
              </a:extLst>
            </p:cNvPr>
            <p:cNvSpPr txBox="1"/>
            <p:nvPr/>
          </p:nvSpPr>
          <p:spPr>
            <a:xfrm>
              <a:off x="2584729" y="1810054"/>
              <a:ext cx="472583" cy="170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필터</a:t>
              </a:r>
            </a:p>
          </p:txBody>
        </p:sp>
        <p:pic>
          <p:nvPicPr>
            <p:cNvPr id="636" name="그림 635">
              <a:extLst>
                <a:ext uri="{FF2B5EF4-FFF2-40B4-BE49-F238E27FC236}">
                  <a16:creationId xmlns:a16="http://schemas.microsoft.com/office/drawing/2014/main" id="{298DCDBE-F369-4E29-9B9D-816CD451BD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4794" y="1854101"/>
              <a:ext cx="126000" cy="126000"/>
            </a:xfrm>
            <a:prstGeom prst="rect">
              <a:avLst/>
            </a:prstGeom>
          </p:spPr>
        </p:pic>
        <p:sp>
          <p:nvSpPr>
            <p:cNvPr id="637" name="TextBox 636">
              <a:extLst>
                <a:ext uri="{FF2B5EF4-FFF2-40B4-BE49-F238E27FC236}">
                  <a16:creationId xmlns:a16="http://schemas.microsoft.com/office/drawing/2014/main" id="{3EAF84C1-DA70-45FC-83A7-A72EF3ADC427}"/>
                </a:ext>
              </a:extLst>
            </p:cNvPr>
            <p:cNvSpPr txBox="1"/>
            <p:nvPr/>
          </p:nvSpPr>
          <p:spPr>
            <a:xfrm>
              <a:off x="4095657" y="1845833"/>
              <a:ext cx="535558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/>
                </a:rPr>
                <a:t>초기화</a:t>
              </a:r>
            </a:p>
          </p:txBody>
        </p:sp>
        <p:cxnSp>
          <p:nvCxnSpPr>
            <p:cNvPr id="638" name="직선 연결선 637">
              <a:extLst>
                <a:ext uri="{FF2B5EF4-FFF2-40B4-BE49-F238E27FC236}">
                  <a16:creationId xmlns:a16="http://schemas.microsoft.com/office/drawing/2014/main" id="{4D195CE4-9BBB-42D4-B490-FD175E44E63F}"/>
                </a:ext>
              </a:extLst>
            </p:cNvPr>
            <p:cNvCxnSpPr>
              <a:cxnSpLocks/>
            </p:cNvCxnSpPr>
            <p:nvPr/>
          </p:nvCxnSpPr>
          <p:spPr>
            <a:xfrm>
              <a:off x="2575197" y="2051773"/>
              <a:ext cx="1862854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654" name="그룹 653">
            <a:extLst>
              <a:ext uri="{FF2B5EF4-FFF2-40B4-BE49-F238E27FC236}">
                <a16:creationId xmlns:a16="http://schemas.microsoft.com/office/drawing/2014/main" id="{F5379421-BB4C-447B-AFC3-DA671F5D218C}"/>
              </a:ext>
            </a:extLst>
          </p:cNvPr>
          <p:cNvGrpSpPr/>
          <p:nvPr/>
        </p:nvGrpSpPr>
        <p:grpSpPr>
          <a:xfrm>
            <a:off x="6819875" y="656855"/>
            <a:ext cx="2047161" cy="160953"/>
            <a:chOff x="2938041" y="763039"/>
            <a:chExt cx="2047161" cy="160953"/>
          </a:xfrm>
        </p:grpSpPr>
        <p:sp>
          <p:nvSpPr>
            <p:cNvPr id="655" name="직사각형 654">
              <a:extLst>
                <a:ext uri="{FF2B5EF4-FFF2-40B4-BE49-F238E27FC236}">
                  <a16:creationId xmlns:a16="http://schemas.microsoft.com/office/drawing/2014/main" id="{2E58D307-B6A6-4781-B8FB-EB35DFE3C337}"/>
                </a:ext>
              </a:extLst>
            </p:cNvPr>
            <p:cNvSpPr/>
            <p:nvPr/>
          </p:nvSpPr>
          <p:spPr>
            <a:xfrm>
              <a:off x="2992733" y="771438"/>
              <a:ext cx="1992469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656" name="직사각형 655">
              <a:extLst>
                <a:ext uri="{FF2B5EF4-FFF2-40B4-BE49-F238E27FC236}">
                  <a16:creationId xmlns:a16="http://schemas.microsoft.com/office/drawing/2014/main" id="{E6EA2576-AF55-42F8-9739-4AC0BF66F35A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뉴스</a:t>
              </a:r>
            </a:p>
          </p:txBody>
        </p:sp>
      </p:grpSp>
      <p:graphicFrame>
        <p:nvGraphicFramePr>
          <p:cNvPr id="176" name="표 10">
            <a:extLst>
              <a:ext uri="{FF2B5EF4-FFF2-40B4-BE49-F238E27FC236}">
                <a16:creationId xmlns:a16="http://schemas.microsoft.com/office/drawing/2014/main" id="{A5C21D41-B808-4A66-AE33-482B1ADF5537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2675501"/>
          <a:ext cx="2922885" cy="3347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0430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02455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체크한 토픽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연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기입한 발간연도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37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분량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에서 나오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값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자동 기입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영상 분량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 체계 필터 반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선택한 주제분류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64798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체계 필터 반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시 선택한 업무분류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→ 공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→  평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706429"/>
                  </a:ext>
                </a:extLst>
              </a:tr>
            </a:tbl>
          </a:graphicData>
        </a:graphic>
      </p:graphicFrame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2FCD97A3-684D-4975-BD91-C0B73D03C036}"/>
              </a:ext>
            </a:extLst>
          </p:cNvPr>
          <p:cNvSpPr/>
          <p:nvPr/>
        </p:nvSpPr>
        <p:spPr>
          <a:xfrm>
            <a:off x="2460621" y="54950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1C59B49E-C8BA-4B84-B78B-260B3DEAD626}"/>
              </a:ext>
            </a:extLst>
          </p:cNvPr>
          <p:cNvSpPr/>
          <p:nvPr/>
        </p:nvSpPr>
        <p:spPr>
          <a:xfrm>
            <a:off x="4635738" y="56413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A8425256-75BF-4441-9CBE-BBC7FE466AA0}"/>
              </a:ext>
            </a:extLst>
          </p:cNvPr>
          <p:cNvGrpSpPr/>
          <p:nvPr/>
        </p:nvGrpSpPr>
        <p:grpSpPr>
          <a:xfrm>
            <a:off x="2635129" y="1268760"/>
            <a:ext cx="1899056" cy="1409508"/>
            <a:chOff x="2635129" y="1268760"/>
            <a:chExt cx="1899056" cy="1409508"/>
          </a:xfrm>
        </p:grpSpPr>
        <p:sp>
          <p:nvSpPr>
            <p:cNvPr id="355" name="TextBox 354">
              <a:extLst>
                <a:ext uri="{FF2B5EF4-FFF2-40B4-BE49-F238E27FC236}">
                  <a16:creationId xmlns:a16="http://schemas.microsoft.com/office/drawing/2014/main" id="{DFE225F2-52E2-4E96-A27C-A97560EAB79C}"/>
                </a:ext>
              </a:extLst>
            </p:cNvPr>
            <p:cNvSpPr txBox="1"/>
            <p:nvPr/>
          </p:nvSpPr>
          <p:spPr>
            <a:xfrm>
              <a:off x="2635129" y="1268760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키워드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FD2A25FB-03B4-46F5-95F9-0BB592F6AB68}"/>
                </a:ext>
              </a:extLst>
            </p:cNvPr>
            <p:cNvSpPr txBox="1"/>
            <p:nvPr/>
          </p:nvSpPr>
          <p:spPr>
            <a:xfrm>
              <a:off x="2636613" y="1458114"/>
              <a:ext cx="1897572" cy="1431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cs typeface="Arial"/>
                </a:rPr>
                <a:t>E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G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금융        공시</a:t>
              </a:r>
            </a:p>
          </p:txBody>
        </p:sp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ABAB1442-C6A2-40B1-86DC-13986ABD9A4E}"/>
                </a:ext>
              </a:extLst>
            </p:cNvPr>
            <p:cNvSpPr/>
            <p:nvPr/>
          </p:nvSpPr>
          <p:spPr>
            <a:xfrm>
              <a:off x="2635436" y="1674519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탄소중립</a:t>
              </a:r>
              <a:r>
                <a:rPr lang="en-US" altLang="ko-KR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Net Zero)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81" name="사각형: 둥근 모서리 180">
              <a:extLst>
                <a:ext uri="{FF2B5EF4-FFF2-40B4-BE49-F238E27FC236}">
                  <a16:creationId xmlns:a16="http://schemas.microsoft.com/office/drawing/2014/main" id="{31F90ECB-B47B-436A-803C-E11D3849E47E}"/>
                </a:ext>
              </a:extLst>
            </p:cNvPr>
            <p:cNvSpPr/>
            <p:nvPr/>
          </p:nvSpPr>
          <p:spPr>
            <a:xfrm>
              <a:off x="3562511" y="1677209"/>
              <a:ext cx="851854" cy="210195"/>
            </a:xfrm>
            <a:prstGeom prst="roundRect">
              <a:avLst>
                <a:gd name="adj" fmla="val 30131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Scope 3</a:t>
              </a:r>
              <a:endPara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82" name="사각형: 둥근 모서리 181">
              <a:extLst>
                <a:ext uri="{FF2B5EF4-FFF2-40B4-BE49-F238E27FC236}">
                  <a16:creationId xmlns:a16="http://schemas.microsoft.com/office/drawing/2014/main" id="{DAE087AF-0936-45C0-B43B-0D6D7E8447F2}"/>
                </a:ext>
              </a:extLst>
            </p:cNvPr>
            <p:cNvSpPr/>
            <p:nvPr/>
          </p:nvSpPr>
          <p:spPr>
            <a:xfrm>
              <a:off x="2635436" y="1931841"/>
              <a:ext cx="851854" cy="210195"/>
            </a:xfrm>
            <a:prstGeom prst="roundRect">
              <a:avLst>
                <a:gd name="adj" fmla="val 28335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탄소국경세</a:t>
              </a:r>
            </a:p>
          </p:txBody>
        </p:sp>
        <p:sp>
          <p:nvSpPr>
            <p:cNvPr id="183" name="사각형: 둥근 모서리 182">
              <a:extLst>
                <a:ext uri="{FF2B5EF4-FFF2-40B4-BE49-F238E27FC236}">
                  <a16:creationId xmlns:a16="http://schemas.microsoft.com/office/drawing/2014/main" id="{D2166419-D0AD-49D3-BF14-03C92E143837}"/>
                </a:ext>
              </a:extLst>
            </p:cNvPr>
            <p:cNvSpPr/>
            <p:nvPr/>
          </p:nvSpPr>
          <p:spPr>
            <a:xfrm>
              <a:off x="3562511" y="1934531"/>
              <a:ext cx="851854" cy="210195"/>
            </a:xfrm>
            <a:prstGeom prst="roundRect">
              <a:avLst>
                <a:gd name="adj" fmla="val 2384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친환경제품∙서비스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84" name="사각형: 둥근 모서리 183">
              <a:extLst>
                <a:ext uri="{FF2B5EF4-FFF2-40B4-BE49-F238E27FC236}">
                  <a16:creationId xmlns:a16="http://schemas.microsoft.com/office/drawing/2014/main" id="{3E426015-AAA7-4799-A918-55C355B1B4D0}"/>
                </a:ext>
              </a:extLst>
            </p:cNvPr>
            <p:cNvSpPr/>
            <p:nvPr/>
          </p:nvSpPr>
          <p:spPr>
            <a:xfrm>
              <a:off x="2635436" y="2196631"/>
              <a:ext cx="851854" cy="210195"/>
            </a:xfrm>
            <a:prstGeom prst="roundRect">
              <a:avLst>
                <a:gd name="adj" fmla="val 29233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생물다양성</a:t>
              </a:r>
            </a:p>
          </p:txBody>
        </p:sp>
        <p:sp>
          <p:nvSpPr>
            <p:cNvPr id="185" name="사각형: 둥근 모서리 184">
              <a:extLst>
                <a:ext uri="{FF2B5EF4-FFF2-40B4-BE49-F238E27FC236}">
                  <a16:creationId xmlns:a16="http://schemas.microsoft.com/office/drawing/2014/main" id="{9C9B2893-4C4D-4995-B921-1D878D3DFC6D}"/>
                </a:ext>
              </a:extLst>
            </p:cNvPr>
            <p:cNvSpPr/>
            <p:nvPr/>
          </p:nvSpPr>
          <p:spPr>
            <a:xfrm>
              <a:off x="3562511" y="2199321"/>
              <a:ext cx="851854" cy="210195"/>
            </a:xfrm>
            <a:prstGeom prst="roundRect">
              <a:avLst>
                <a:gd name="adj" fmla="val 26989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에너지 전환</a:t>
              </a:r>
            </a:p>
          </p:txBody>
        </p:sp>
        <p:sp>
          <p:nvSpPr>
            <p:cNvPr id="186" name="사각형: 둥근 모서리 185">
              <a:extLst>
                <a:ext uri="{FF2B5EF4-FFF2-40B4-BE49-F238E27FC236}">
                  <a16:creationId xmlns:a16="http://schemas.microsoft.com/office/drawing/2014/main" id="{0D48F50C-6C8B-471D-B396-781F9EEEAF74}"/>
                </a:ext>
              </a:extLst>
            </p:cNvPr>
            <p:cNvSpPr/>
            <p:nvPr/>
          </p:nvSpPr>
          <p:spPr>
            <a:xfrm>
              <a:off x="2635436" y="2465383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순환경제</a:t>
              </a:r>
            </a:p>
          </p:txBody>
        </p:sp>
        <p:sp>
          <p:nvSpPr>
            <p:cNvPr id="187" name="사각형: 둥근 모서리 186">
              <a:extLst>
                <a:ext uri="{FF2B5EF4-FFF2-40B4-BE49-F238E27FC236}">
                  <a16:creationId xmlns:a16="http://schemas.microsoft.com/office/drawing/2014/main" id="{A53414F0-154A-421B-9F42-FA12ACE504E0}"/>
                </a:ext>
              </a:extLst>
            </p:cNvPr>
            <p:cNvSpPr/>
            <p:nvPr/>
          </p:nvSpPr>
          <p:spPr>
            <a:xfrm>
              <a:off x="3562511" y="2468073"/>
              <a:ext cx="851854" cy="210195"/>
            </a:xfrm>
            <a:prstGeom prst="roundRect">
              <a:avLst>
                <a:gd name="adj" fmla="val 2788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자연자본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02AA3675-AC08-4E00-BA48-50E7DA9D84EA}"/>
              </a:ext>
            </a:extLst>
          </p:cNvPr>
          <p:cNvGrpSpPr/>
          <p:nvPr/>
        </p:nvGrpSpPr>
        <p:grpSpPr>
          <a:xfrm>
            <a:off x="2605583" y="4343386"/>
            <a:ext cx="1933190" cy="984135"/>
            <a:chOff x="2604319" y="2948921"/>
            <a:chExt cx="1933190" cy="984135"/>
          </a:xfrm>
        </p:grpSpPr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1D451D99-6911-44DC-90EA-46946655AEAB}"/>
                </a:ext>
              </a:extLst>
            </p:cNvPr>
            <p:cNvSpPr txBox="1"/>
            <p:nvPr/>
          </p:nvSpPr>
          <p:spPr>
            <a:xfrm>
              <a:off x="2639937" y="3042647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업무 분류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pic>
          <p:nvPicPr>
            <p:cNvPr id="189" name="그림 188">
              <a:extLst>
                <a:ext uri="{FF2B5EF4-FFF2-40B4-BE49-F238E27FC236}">
                  <a16:creationId xmlns:a16="http://schemas.microsoft.com/office/drawing/2014/main" id="{87A16A81-FCB8-4E19-95CB-105A2CD63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7950" y="3330388"/>
              <a:ext cx="134484" cy="134484"/>
            </a:xfrm>
            <a:prstGeom prst="rect">
              <a:avLst/>
            </a:prstGeom>
          </p:spPr>
        </p:pic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70F0D4A0-F5A5-4D20-9DC6-FD1ACCB7537B}"/>
                </a:ext>
              </a:extLst>
            </p:cNvPr>
            <p:cNvSpPr txBox="1"/>
            <p:nvPr/>
          </p:nvSpPr>
          <p:spPr>
            <a:xfrm>
              <a:off x="2834170" y="3322601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경영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cxnSp>
          <p:nvCxnSpPr>
            <p:cNvPr id="208" name="직선 연결선 207">
              <a:extLst>
                <a:ext uri="{FF2B5EF4-FFF2-40B4-BE49-F238E27FC236}">
                  <a16:creationId xmlns:a16="http://schemas.microsoft.com/office/drawing/2014/main" id="{BD4B581B-DC6D-4697-9CC5-9D57173AE823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294892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pic>
          <p:nvPicPr>
            <p:cNvPr id="211" name="그림 210">
              <a:extLst>
                <a:ext uri="{FF2B5EF4-FFF2-40B4-BE49-F238E27FC236}">
                  <a16:creationId xmlns:a16="http://schemas.microsoft.com/office/drawing/2014/main" id="{43D51015-BDB7-43A4-BCAD-38C9F94DF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1074" y="3564003"/>
              <a:ext cx="141516" cy="141516"/>
            </a:xfrm>
            <a:prstGeom prst="rect">
              <a:avLst/>
            </a:prstGeom>
          </p:spPr>
        </p:pic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66E04751-7085-4480-A786-DF879223D2E5}"/>
                </a:ext>
              </a:extLst>
            </p:cNvPr>
            <p:cNvSpPr txBox="1"/>
            <p:nvPr/>
          </p:nvSpPr>
          <p:spPr>
            <a:xfrm>
              <a:off x="2827294" y="3563248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공시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13" name="그림 212">
              <a:extLst>
                <a:ext uri="{FF2B5EF4-FFF2-40B4-BE49-F238E27FC236}">
                  <a16:creationId xmlns:a16="http://schemas.microsoft.com/office/drawing/2014/main" id="{D960EF2A-5518-412A-8140-C18D924A6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4042" y="3791540"/>
              <a:ext cx="141516" cy="141516"/>
            </a:xfrm>
            <a:prstGeom prst="rect">
              <a:avLst/>
            </a:prstGeom>
          </p:spPr>
        </p:pic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358C2EE3-F35B-4B8D-A772-59E09AF8DBF9}"/>
                </a:ext>
              </a:extLst>
            </p:cNvPr>
            <p:cNvSpPr txBox="1"/>
            <p:nvPr/>
          </p:nvSpPr>
          <p:spPr>
            <a:xfrm>
              <a:off x="2820262" y="379078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평가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391CCE82-3E47-4753-8C70-EB19DD857276}"/>
              </a:ext>
            </a:extLst>
          </p:cNvPr>
          <p:cNvGrpSpPr/>
          <p:nvPr/>
        </p:nvGrpSpPr>
        <p:grpSpPr>
          <a:xfrm>
            <a:off x="2604319" y="2908772"/>
            <a:ext cx="1933190" cy="1312316"/>
            <a:chOff x="2604319" y="4090241"/>
            <a:chExt cx="1933190" cy="1312316"/>
          </a:xfrm>
        </p:grpSpPr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A2DC2ECD-ADAF-474E-9565-FA44A356E915}"/>
                </a:ext>
              </a:extLst>
            </p:cNvPr>
            <p:cNvSpPr txBox="1"/>
            <p:nvPr/>
          </p:nvSpPr>
          <p:spPr>
            <a:xfrm>
              <a:off x="2639937" y="4160128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제 분류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cxnSp>
          <p:nvCxnSpPr>
            <p:cNvPr id="216" name="직선 연결선 215">
              <a:extLst>
                <a:ext uri="{FF2B5EF4-FFF2-40B4-BE49-F238E27FC236}">
                  <a16:creationId xmlns:a16="http://schemas.microsoft.com/office/drawing/2014/main" id="{EF5ED612-D18B-4C48-940E-2DB5173561E7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409024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E7137ECF-0EFE-43EB-B693-1F1A842F7280}"/>
                </a:ext>
              </a:extLst>
            </p:cNvPr>
            <p:cNvGrpSpPr/>
            <p:nvPr/>
          </p:nvGrpSpPr>
          <p:grpSpPr>
            <a:xfrm>
              <a:off x="2655465" y="4377040"/>
              <a:ext cx="1529084" cy="1025517"/>
              <a:chOff x="7239398" y="4638599"/>
              <a:chExt cx="1529084" cy="1025517"/>
            </a:xfrm>
          </p:grpSpPr>
          <p:pic>
            <p:nvPicPr>
              <p:cNvPr id="217" name="그림 216">
                <a:extLst>
                  <a:ext uri="{FF2B5EF4-FFF2-40B4-BE49-F238E27FC236}">
                    <a16:creationId xmlns:a16="http://schemas.microsoft.com/office/drawing/2014/main" id="{AFF6E9A9-60E8-4CDF-A288-921C7D768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46271" y="5529632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44A1F16E-F625-4263-8CAE-36722BFD3BD8}"/>
                  </a:ext>
                </a:extLst>
              </p:cNvPr>
              <p:cNvSpPr txBox="1"/>
              <p:nvPr/>
            </p:nvSpPr>
            <p:spPr>
              <a:xfrm>
                <a:off x="7412491" y="552184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일반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19" name="그림 218">
                <a:extLst>
                  <a:ext uri="{FF2B5EF4-FFF2-40B4-BE49-F238E27FC236}">
                    <a16:creationId xmlns:a16="http://schemas.microsoft.com/office/drawing/2014/main" id="{AD6ADCD6-37CD-4D17-B34B-22CB848BA1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0510" y="4871785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A8758087-FEBE-4CE0-9F0F-CA9DAD999AB2}"/>
                  </a:ext>
                </a:extLst>
              </p:cNvPr>
              <p:cNvSpPr txBox="1"/>
              <p:nvPr/>
            </p:nvSpPr>
            <p:spPr>
              <a:xfrm>
                <a:off x="7416730" y="4638599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환경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21" name="그림 220">
                <a:extLst>
                  <a:ext uri="{FF2B5EF4-FFF2-40B4-BE49-F238E27FC236}">
                    <a16:creationId xmlns:a16="http://schemas.microsoft.com/office/drawing/2014/main" id="{5DA91A08-010F-479B-9868-2BD55044E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0510" y="5100353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22" name="TextBox 221">
                <a:extLst>
                  <a:ext uri="{FF2B5EF4-FFF2-40B4-BE49-F238E27FC236}">
                    <a16:creationId xmlns:a16="http://schemas.microsoft.com/office/drawing/2014/main" id="{3AD7FB2B-2D2A-4967-986B-F18B60ABBE16}"/>
                  </a:ext>
                </a:extLst>
              </p:cNvPr>
              <p:cNvSpPr txBox="1"/>
              <p:nvPr/>
            </p:nvSpPr>
            <p:spPr>
              <a:xfrm>
                <a:off x="7416730" y="48671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23" name="그림 222">
                <a:extLst>
                  <a:ext uri="{FF2B5EF4-FFF2-40B4-BE49-F238E27FC236}">
                    <a16:creationId xmlns:a16="http://schemas.microsoft.com/office/drawing/2014/main" id="{AA57FFC6-8B57-499F-80FF-6A5C9A2A1A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7542" y="532135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03CF0995-3077-41A4-A2DD-E54268C8A8F6}"/>
                  </a:ext>
                </a:extLst>
              </p:cNvPr>
              <p:cNvSpPr txBox="1"/>
              <p:nvPr/>
            </p:nvSpPr>
            <p:spPr>
              <a:xfrm>
                <a:off x="7423762" y="508816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거버넌스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25" name="그림 224">
                <a:extLst>
                  <a:ext uri="{FF2B5EF4-FFF2-40B4-BE49-F238E27FC236}">
                    <a16:creationId xmlns:a16="http://schemas.microsoft.com/office/drawing/2014/main" id="{CBF9BC52-F9AF-4961-95D6-D9F98DFDAF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39398" y="464373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A5F6C617-F7B7-438A-97DD-364D3A127A0D}"/>
                  </a:ext>
                </a:extLst>
              </p:cNvPr>
              <p:cNvSpPr txBox="1"/>
              <p:nvPr/>
            </p:nvSpPr>
            <p:spPr>
              <a:xfrm>
                <a:off x="7416730" y="5315702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596A757-3BD0-4E6F-9079-026A87022210}"/>
              </a:ext>
            </a:extLst>
          </p:cNvPr>
          <p:cNvSpPr/>
          <p:nvPr/>
        </p:nvSpPr>
        <p:spPr>
          <a:xfrm>
            <a:off x="2541716" y="1254532"/>
            <a:ext cx="1995793" cy="4232650"/>
          </a:xfrm>
          <a:prstGeom prst="rect">
            <a:avLst/>
          </a:prstGeom>
          <a:solidFill>
            <a:srgbClr val="DB536A">
              <a:alpha val="10196"/>
            </a:srgbClr>
          </a:solidFill>
          <a:ln w="28575">
            <a:solidFill>
              <a:srgbClr val="DB536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77" name="사각형: 둥근 모서리 176">
            <a:extLst>
              <a:ext uri="{FF2B5EF4-FFF2-40B4-BE49-F238E27FC236}">
                <a16:creationId xmlns:a16="http://schemas.microsoft.com/office/drawing/2014/main" id="{D54CB284-E059-44EA-9807-56E08B6C61CD}"/>
              </a:ext>
            </a:extLst>
          </p:cNvPr>
          <p:cNvSpPr/>
          <p:nvPr/>
        </p:nvSpPr>
        <p:spPr>
          <a:xfrm>
            <a:off x="2459357" y="119675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B12A0D81-096E-4A27-A077-B8952C043785}"/>
              </a:ext>
            </a:extLst>
          </p:cNvPr>
          <p:cNvGrpSpPr/>
          <p:nvPr/>
        </p:nvGrpSpPr>
        <p:grpSpPr>
          <a:xfrm>
            <a:off x="4811216" y="1279379"/>
            <a:ext cx="1899056" cy="1409508"/>
            <a:chOff x="2635129" y="1268760"/>
            <a:chExt cx="1899056" cy="1409508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E0B62DD-74CB-40D6-A44A-DA95B1DDDDF0}"/>
                </a:ext>
              </a:extLst>
            </p:cNvPr>
            <p:cNvSpPr txBox="1"/>
            <p:nvPr/>
          </p:nvSpPr>
          <p:spPr>
            <a:xfrm>
              <a:off x="2635129" y="1268760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키워드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1346F005-9A04-4BC3-A59D-BD444824A82A}"/>
                </a:ext>
              </a:extLst>
            </p:cNvPr>
            <p:cNvSpPr txBox="1"/>
            <p:nvPr/>
          </p:nvSpPr>
          <p:spPr>
            <a:xfrm>
              <a:off x="2636613" y="1458114"/>
              <a:ext cx="1897572" cy="1431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cs typeface="Arial"/>
                </a:rPr>
                <a:t>E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G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금융        공시</a:t>
              </a:r>
            </a:p>
          </p:txBody>
        </p:sp>
        <p:sp>
          <p:nvSpPr>
            <p:cNvPr id="198" name="사각형: 둥근 모서리 197">
              <a:extLst>
                <a:ext uri="{FF2B5EF4-FFF2-40B4-BE49-F238E27FC236}">
                  <a16:creationId xmlns:a16="http://schemas.microsoft.com/office/drawing/2014/main" id="{B6B00085-8D3E-4FC3-9506-BA74512A03A4}"/>
                </a:ext>
              </a:extLst>
            </p:cNvPr>
            <p:cNvSpPr/>
            <p:nvPr/>
          </p:nvSpPr>
          <p:spPr>
            <a:xfrm>
              <a:off x="2635436" y="1674519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탄소중립</a:t>
              </a:r>
              <a:r>
                <a:rPr lang="en-US" altLang="ko-KR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Net Zero)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99" name="사각형: 둥근 모서리 198">
              <a:extLst>
                <a:ext uri="{FF2B5EF4-FFF2-40B4-BE49-F238E27FC236}">
                  <a16:creationId xmlns:a16="http://schemas.microsoft.com/office/drawing/2014/main" id="{B46FEA50-9BDF-4CB3-9B6F-6BE11ADF5FAC}"/>
                </a:ext>
              </a:extLst>
            </p:cNvPr>
            <p:cNvSpPr/>
            <p:nvPr/>
          </p:nvSpPr>
          <p:spPr>
            <a:xfrm>
              <a:off x="3562511" y="1677209"/>
              <a:ext cx="851854" cy="210195"/>
            </a:xfrm>
            <a:prstGeom prst="roundRect">
              <a:avLst>
                <a:gd name="adj" fmla="val 30131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Scope 3</a:t>
              </a:r>
              <a:endPara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00" name="사각형: 둥근 모서리 199">
              <a:extLst>
                <a:ext uri="{FF2B5EF4-FFF2-40B4-BE49-F238E27FC236}">
                  <a16:creationId xmlns:a16="http://schemas.microsoft.com/office/drawing/2014/main" id="{3460B749-EAE4-4B8F-AE8D-3B84A34AA4A3}"/>
                </a:ext>
              </a:extLst>
            </p:cNvPr>
            <p:cNvSpPr/>
            <p:nvPr/>
          </p:nvSpPr>
          <p:spPr>
            <a:xfrm>
              <a:off x="2635436" y="1931841"/>
              <a:ext cx="851854" cy="210195"/>
            </a:xfrm>
            <a:prstGeom prst="roundRect">
              <a:avLst>
                <a:gd name="adj" fmla="val 28335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탄소국경세</a:t>
              </a:r>
            </a:p>
          </p:txBody>
        </p:sp>
        <p:sp>
          <p:nvSpPr>
            <p:cNvPr id="201" name="사각형: 둥근 모서리 200">
              <a:extLst>
                <a:ext uri="{FF2B5EF4-FFF2-40B4-BE49-F238E27FC236}">
                  <a16:creationId xmlns:a16="http://schemas.microsoft.com/office/drawing/2014/main" id="{15B0D94B-9B67-44EA-95AA-975A83493674}"/>
                </a:ext>
              </a:extLst>
            </p:cNvPr>
            <p:cNvSpPr/>
            <p:nvPr/>
          </p:nvSpPr>
          <p:spPr>
            <a:xfrm>
              <a:off x="3562511" y="1934531"/>
              <a:ext cx="851854" cy="210195"/>
            </a:xfrm>
            <a:prstGeom prst="roundRect">
              <a:avLst>
                <a:gd name="adj" fmla="val 2384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친환경제품∙서비스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02" name="사각형: 둥근 모서리 201">
              <a:extLst>
                <a:ext uri="{FF2B5EF4-FFF2-40B4-BE49-F238E27FC236}">
                  <a16:creationId xmlns:a16="http://schemas.microsoft.com/office/drawing/2014/main" id="{292DB0C8-326B-424B-AFED-12BB12571A53}"/>
                </a:ext>
              </a:extLst>
            </p:cNvPr>
            <p:cNvSpPr/>
            <p:nvPr/>
          </p:nvSpPr>
          <p:spPr>
            <a:xfrm>
              <a:off x="2635436" y="2196631"/>
              <a:ext cx="851854" cy="210195"/>
            </a:xfrm>
            <a:prstGeom prst="roundRect">
              <a:avLst>
                <a:gd name="adj" fmla="val 29233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생물다양성</a:t>
              </a:r>
            </a:p>
          </p:txBody>
        </p:sp>
        <p:sp>
          <p:nvSpPr>
            <p:cNvPr id="203" name="사각형: 둥근 모서리 202">
              <a:extLst>
                <a:ext uri="{FF2B5EF4-FFF2-40B4-BE49-F238E27FC236}">
                  <a16:creationId xmlns:a16="http://schemas.microsoft.com/office/drawing/2014/main" id="{24164C7B-F80D-4013-87DD-63CE09954CCC}"/>
                </a:ext>
              </a:extLst>
            </p:cNvPr>
            <p:cNvSpPr/>
            <p:nvPr/>
          </p:nvSpPr>
          <p:spPr>
            <a:xfrm>
              <a:off x="3562511" y="2199321"/>
              <a:ext cx="851854" cy="210195"/>
            </a:xfrm>
            <a:prstGeom prst="roundRect">
              <a:avLst>
                <a:gd name="adj" fmla="val 26989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에너지 전환</a:t>
              </a:r>
            </a:p>
          </p:txBody>
        </p:sp>
        <p:sp>
          <p:nvSpPr>
            <p:cNvPr id="204" name="사각형: 둥근 모서리 203">
              <a:extLst>
                <a:ext uri="{FF2B5EF4-FFF2-40B4-BE49-F238E27FC236}">
                  <a16:creationId xmlns:a16="http://schemas.microsoft.com/office/drawing/2014/main" id="{0C9EBFF9-AC02-449F-A62F-C68C209BA07F}"/>
                </a:ext>
              </a:extLst>
            </p:cNvPr>
            <p:cNvSpPr/>
            <p:nvPr/>
          </p:nvSpPr>
          <p:spPr>
            <a:xfrm>
              <a:off x="2635436" y="2465383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순환경제</a:t>
              </a:r>
            </a:p>
          </p:txBody>
        </p:sp>
        <p:sp>
          <p:nvSpPr>
            <p:cNvPr id="205" name="사각형: 둥근 모서리 204">
              <a:extLst>
                <a:ext uri="{FF2B5EF4-FFF2-40B4-BE49-F238E27FC236}">
                  <a16:creationId xmlns:a16="http://schemas.microsoft.com/office/drawing/2014/main" id="{615C1DEC-CED2-40BF-BE76-7C2923A16381}"/>
                </a:ext>
              </a:extLst>
            </p:cNvPr>
            <p:cNvSpPr/>
            <p:nvPr/>
          </p:nvSpPr>
          <p:spPr>
            <a:xfrm>
              <a:off x="3562511" y="2468073"/>
              <a:ext cx="851854" cy="210195"/>
            </a:xfrm>
            <a:prstGeom prst="roundRect">
              <a:avLst>
                <a:gd name="adj" fmla="val 2788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자연자본</a:t>
              </a:r>
            </a:p>
          </p:txBody>
        </p:sp>
      </p:grp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CB08B5B8-5607-46C2-9B73-10E001AE9A95}"/>
              </a:ext>
            </a:extLst>
          </p:cNvPr>
          <p:cNvSpPr/>
          <p:nvPr/>
        </p:nvSpPr>
        <p:spPr>
          <a:xfrm>
            <a:off x="4847666" y="2939317"/>
            <a:ext cx="1705524" cy="117247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) 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제분류</a:t>
            </a:r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) ESG 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업무분류</a:t>
            </a:r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endParaRPr lang="en-US" altLang="ko-KR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필터 추가 </a:t>
            </a:r>
          </a:p>
        </p:txBody>
      </p:sp>
      <p:sp>
        <p:nvSpPr>
          <p:cNvPr id="206" name="직사각형 205">
            <a:extLst>
              <a:ext uri="{FF2B5EF4-FFF2-40B4-BE49-F238E27FC236}">
                <a16:creationId xmlns:a16="http://schemas.microsoft.com/office/drawing/2014/main" id="{01B562AD-DEFA-400E-944E-8A84F24DB300}"/>
              </a:ext>
            </a:extLst>
          </p:cNvPr>
          <p:cNvSpPr/>
          <p:nvPr/>
        </p:nvSpPr>
        <p:spPr>
          <a:xfrm>
            <a:off x="4701299" y="1259034"/>
            <a:ext cx="1988637" cy="3094602"/>
          </a:xfrm>
          <a:prstGeom prst="rect">
            <a:avLst/>
          </a:prstGeom>
          <a:solidFill>
            <a:srgbClr val="DB536A">
              <a:alpha val="10196"/>
            </a:srgbClr>
          </a:solidFill>
          <a:ln w="28575">
            <a:solidFill>
              <a:srgbClr val="DB536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207" name="그룹 206">
            <a:extLst>
              <a:ext uri="{FF2B5EF4-FFF2-40B4-BE49-F238E27FC236}">
                <a16:creationId xmlns:a16="http://schemas.microsoft.com/office/drawing/2014/main" id="{7E86AD1C-3983-4F05-93D8-0EBE15AE5DBE}"/>
              </a:ext>
            </a:extLst>
          </p:cNvPr>
          <p:cNvGrpSpPr/>
          <p:nvPr/>
        </p:nvGrpSpPr>
        <p:grpSpPr>
          <a:xfrm>
            <a:off x="6962852" y="1340768"/>
            <a:ext cx="1899056" cy="1409508"/>
            <a:chOff x="2635129" y="1268760"/>
            <a:chExt cx="1899056" cy="1409508"/>
          </a:xfrm>
        </p:grpSpPr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62F204A2-E790-47FA-8041-2F20035D0FFC}"/>
                </a:ext>
              </a:extLst>
            </p:cNvPr>
            <p:cNvSpPr txBox="1"/>
            <p:nvPr/>
          </p:nvSpPr>
          <p:spPr>
            <a:xfrm>
              <a:off x="2635129" y="1268760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키워드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0018003F-DC4A-4A4F-9841-ABAEF82F5EDB}"/>
                </a:ext>
              </a:extLst>
            </p:cNvPr>
            <p:cNvSpPr txBox="1"/>
            <p:nvPr/>
          </p:nvSpPr>
          <p:spPr>
            <a:xfrm>
              <a:off x="2636613" y="1458114"/>
              <a:ext cx="1897572" cy="1431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cs typeface="Arial"/>
                </a:rPr>
                <a:t>E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G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금융        공시</a:t>
              </a:r>
            </a:p>
          </p:txBody>
        </p:sp>
        <p:sp>
          <p:nvSpPr>
            <p:cNvPr id="227" name="사각형: 둥근 모서리 226">
              <a:extLst>
                <a:ext uri="{FF2B5EF4-FFF2-40B4-BE49-F238E27FC236}">
                  <a16:creationId xmlns:a16="http://schemas.microsoft.com/office/drawing/2014/main" id="{0C4E5A53-F665-468A-A137-7C3FF4C9B784}"/>
                </a:ext>
              </a:extLst>
            </p:cNvPr>
            <p:cNvSpPr/>
            <p:nvPr/>
          </p:nvSpPr>
          <p:spPr>
            <a:xfrm>
              <a:off x="2635436" y="1674519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탄소중립</a:t>
              </a:r>
              <a:r>
                <a:rPr lang="en-US" altLang="ko-KR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Net Zero)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28" name="사각형: 둥근 모서리 227">
              <a:extLst>
                <a:ext uri="{FF2B5EF4-FFF2-40B4-BE49-F238E27FC236}">
                  <a16:creationId xmlns:a16="http://schemas.microsoft.com/office/drawing/2014/main" id="{2630D939-2971-400B-A3E0-A6A805064CFA}"/>
                </a:ext>
              </a:extLst>
            </p:cNvPr>
            <p:cNvSpPr/>
            <p:nvPr/>
          </p:nvSpPr>
          <p:spPr>
            <a:xfrm>
              <a:off x="3562511" y="1677209"/>
              <a:ext cx="851854" cy="210195"/>
            </a:xfrm>
            <a:prstGeom prst="roundRect">
              <a:avLst>
                <a:gd name="adj" fmla="val 30131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Scope 3</a:t>
              </a:r>
              <a:endPara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CA531E9F-E101-4C12-91BD-1E064EF94064}"/>
                </a:ext>
              </a:extLst>
            </p:cNvPr>
            <p:cNvSpPr/>
            <p:nvPr/>
          </p:nvSpPr>
          <p:spPr>
            <a:xfrm>
              <a:off x="2635436" y="1931841"/>
              <a:ext cx="851854" cy="210195"/>
            </a:xfrm>
            <a:prstGeom prst="roundRect">
              <a:avLst>
                <a:gd name="adj" fmla="val 28335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탄소국경세</a:t>
              </a:r>
            </a:p>
          </p:txBody>
        </p:sp>
        <p:sp>
          <p:nvSpPr>
            <p:cNvPr id="230" name="사각형: 둥근 모서리 229">
              <a:extLst>
                <a:ext uri="{FF2B5EF4-FFF2-40B4-BE49-F238E27FC236}">
                  <a16:creationId xmlns:a16="http://schemas.microsoft.com/office/drawing/2014/main" id="{A013904F-D0B6-43A9-9FA8-AD94617C7827}"/>
                </a:ext>
              </a:extLst>
            </p:cNvPr>
            <p:cNvSpPr/>
            <p:nvPr/>
          </p:nvSpPr>
          <p:spPr>
            <a:xfrm>
              <a:off x="3562511" y="1934531"/>
              <a:ext cx="851854" cy="210195"/>
            </a:xfrm>
            <a:prstGeom prst="roundRect">
              <a:avLst>
                <a:gd name="adj" fmla="val 2384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친환경제품∙서비스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31" name="사각형: 둥근 모서리 230">
              <a:extLst>
                <a:ext uri="{FF2B5EF4-FFF2-40B4-BE49-F238E27FC236}">
                  <a16:creationId xmlns:a16="http://schemas.microsoft.com/office/drawing/2014/main" id="{0FF9601F-0F9D-4173-8996-9EA180955A1A}"/>
                </a:ext>
              </a:extLst>
            </p:cNvPr>
            <p:cNvSpPr/>
            <p:nvPr/>
          </p:nvSpPr>
          <p:spPr>
            <a:xfrm>
              <a:off x="2635436" y="2196631"/>
              <a:ext cx="851854" cy="210195"/>
            </a:xfrm>
            <a:prstGeom prst="roundRect">
              <a:avLst>
                <a:gd name="adj" fmla="val 29233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생물다양성</a:t>
              </a:r>
            </a:p>
          </p:txBody>
        </p:sp>
        <p:sp>
          <p:nvSpPr>
            <p:cNvPr id="232" name="사각형: 둥근 모서리 231">
              <a:extLst>
                <a:ext uri="{FF2B5EF4-FFF2-40B4-BE49-F238E27FC236}">
                  <a16:creationId xmlns:a16="http://schemas.microsoft.com/office/drawing/2014/main" id="{FF313EAB-332B-4E21-829A-183373FDB4DF}"/>
                </a:ext>
              </a:extLst>
            </p:cNvPr>
            <p:cNvSpPr/>
            <p:nvPr/>
          </p:nvSpPr>
          <p:spPr>
            <a:xfrm>
              <a:off x="3562511" y="2199321"/>
              <a:ext cx="851854" cy="210195"/>
            </a:xfrm>
            <a:prstGeom prst="roundRect">
              <a:avLst>
                <a:gd name="adj" fmla="val 26989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에너지 전환</a:t>
              </a:r>
            </a:p>
          </p:txBody>
        </p:sp>
        <p:sp>
          <p:nvSpPr>
            <p:cNvPr id="233" name="사각형: 둥근 모서리 232">
              <a:extLst>
                <a:ext uri="{FF2B5EF4-FFF2-40B4-BE49-F238E27FC236}">
                  <a16:creationId xmlns:a16="http://schemas.microsoft.com/office/drawing/2014/main" id="{AACFE9F8-0DBF-4460-A4EF-50B3860160EF}"/>
                </a:ext>
              </a:extLst>
            </p:cNvPr>
            <p:cNvSpPr/>
            <p:nvPr/>
          </p:nvSpPr>
          <p:spPr>
            <a:xfrm>
              <a:off x="2635436" y="2465383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순환경제</a:t>
              </a:r>
            </a:p>
          </p:txBody>
        </p:sp>
        <p:sp>
          <p:nvSpPr>
            <p:cNvPr id="234" name="사각형: 둥근 모서리 233">
              <a:extLst>
                <a:ext uri="{FF2B5EF4-FFF2-40B4-BE49-F238E27FC236}">
                  <a16:creationId xmlns:a16="http://schemas.microsoft.com/office/drawing/2014/main" id="{C6CA73DD-4ADC-457F-AF74-CA4DB7CFF738}"/>
                </a:ext>
              </a:extLst>
            </p:cNvPr>
            <p:cNvSpPr/>
            <p:nvPr/>
          </p:nvSpPr>
          <p:spPr>
            <a:xfrm>
              <a:off x="3562511" y="2468073"/>
              <a:ext cx="851854" cy="210195"/>
            </a:xfrm>
            <a:prstGeom prst="roundRect">
              <a:avLst>
                <a:gd name="adj" fmla="val 2788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자연자본</a:t>
              </a:r>
            </a:p>
          </p:txBody>
        </p:sp>
      </p:grpSp>
      <p:grpSp>
        <p:nvGrpSpPr>
          <p:cNvPr id="235" name="그룹 234">
            <a:extLst>
              <a:ext uri="{FF2B5EF4-FFF2-40B4-BE49-F238E27FC236}">
                <a16:creationId xmlns:a16="http://schemas.microsoft.com/office/drawing/2014/main" id="{1147168E-A770-4308-ABBE-7F734A2F95E1}"/>
              </a:ext>
            </a:extLst>
          </p:cNvPr>
          <p:cNvGrpSpPr/>
          <p:nvPr/>
        </p:nvGrpSpPr>
        <p:grpSpPr>
          <a:xfrm>
            <a:off x="6933306" y="4343386"/>
            <a:ext cx="1933190" cy="984135"/>
            <a:chOff x="2604319" y="2948921"/>
            <a:chExt cx="1933190" cy="984135"/>
          </a:xfrm>
        </p:grpSpPr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8131A42A-47B7-490B-88FB-6CBDC622AF47}"/>
                </a:ext>
              </a:extLst>
            </p:cNvPr>
            <p:cNvSpPr txBox="1"/>
            <p:nvPr/>
          </p:nvSpPr>
          <p:spPr>
            <a:xfrm>
              <a:off x="2639937" y="3042647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업무 분류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pic>
          <p:nvPicPr>
            <p:cNvPr id="237" name="그림 236">
              <a:extLst>
                <a:ext uri="{FF2B5EF4-FFF2-40B4-BE49-F238E27FC236}">
                  <a16:creationId xmlns:a16="http://schemas.microsoft.com/office/drawing/2014/main" id="{A9383020-EAE9-4D69-A09C-04F8FC68B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7950" y="3330388"/>
              <a:ext cx="134484" cy="134484"/>
            </a:xfrm>
            <a:prstGeom prst="rect">
              <a:avLst/>
            </a:prstGeom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AC091EC2-3218-455F-9534-1648F3F889E0}"/>
                </a:ext>
              </a:extLst>
            </p:cNvPr>
            <p:cNvSpPr txBox="1"/>
            <p:nvPr/>
          </p:nvSpPr>
          <p:spPr>
            <a:xfrm>
              <a:off x="2834170" y="3322601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경영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cxnSp>
          <p:nvCxnSpPr>
            <p:cNvPr id="239" name="직선 연결선 238">
              <a:extLst>
                <a:ext uri="{FF2B5EF4-FFF2-40B4-BE49-F238E27FC236}">
                  <a16:creationId xmlns:a16="http://schemas.microsoft.com/office/drawing/2014/main" id="{238AC645-1A54-47B3-977D-754965240F57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294892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pic>
          <p:nvPicPr>
            <p:cNvPr id="240" name="그림 239">
              <a:extLst>
                <a:ext uri="{FF2B5EF4-FFF2-40B4-BE49-F238E27FC236}">
                  <a16:creationId xmlns:a16="http://schemas.microsoft.com/office/drawing/2014/main" id="{03978F6B-72CB-4C21-AA04-50CEA9A286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1074" y="3564003"/>
              <a:ext cx="141516" cy="141516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219055AF-A014-43E7-B639-D114984775D1}"/>
                </a:ext>
              </a:extLst>
            </p:cNvPr>
            <p:cNvSpPr txBox="1"/>
            <p:nvPr/>
          </p:nvSpPr>
          <p:spPr>
            <a:xfrm>
              <a:off x="2827294" y="3563248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공시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242" name="그림 241">
              <a:extLst>
                <a:ext uri="{FF2B5EF4-FFF2-40B4-BE49-F238E27FC236}">
                  <a16:creationId xmlns:a16="http://schemas.microsoft.com/office/drawing/2014/main" id="{7396AE76-91DD-4FCF-B770-62B409769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4042" y="3791540"/>
              <a:ext cx="141516" cy="141516"/>
            </a:xfrm>
            <a:prstGeom prst="rect">
              <a:avLst/>
            </a:prstGeom>
          </p:spPr>
        </p:pic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C75AA622-1BD7-4A4B-A378-EAE6D8BA0989}"/>
                </a:ext>
              </a:extLst>
            </p:cNvPr>
            <p:cNvSpPr txBox="1"/>
            <p:nvPr/>
          </p:nvSpPr>
          <p:spPr>
            <a:xfrm>
              <a:off x="2820262" y="379078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평가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44" name="그룹 243">
            <a:extLst>
              <a:ext uri="{FF2B5EF4-FFF2-40B4-BE49-F238E27FC236}">
                <a16:creationId xmlns:a16="http://schemas.microsoft.com/office/drawing/2014/main" id="{424B7892-BDA5-4DFD-9E64-A727C9A8A261}"/>
              </a:ext>
            </a:extLst>
          </p:cNvPr>
          <p:cNvGrpSpPr/>
          <p:nvPr/>
        </p:nvGrpSpPr>
        <p:grpSpPr>
          <a:xfrm>
            <a:off x="6932042" y="2908772"/>
            <a:ext cx="1933190" cy="1312316"/>
            <a:chOff x="2604319" y="4090241"/>
            <a:chExt cx="1933190" cy="1312316"/>
          </a:xfrm>
        </p:grpSpPr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9ADF753B-64CB-42FE-8A98-9654899AD768}"/>
                </a:ext>
              </a:extLst>
            </p:cNvPr>
            <p:cNvSpPr txBox="1"/>
            <p:nvPr/>
          </p:nvSpPr>
          <p:spPr>
            <a:xfrm>
              <a:off x="2639937" y="4160128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제 분류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cxnSp>
          <p:nvCxnSpPr>
            <p:cNvPr id="246" name="직선 연결선 245">
              <a:extLst>
                <a:ext uri="{FF2B5EF4-FFF2-40B4-BE49-F238E27FC236}">
                  <a16:creationId xmlns:a16="http://schemas.microsoft.com/office/drawing/2014/main" id="{FF4E940B-76F8-470C-8C76-EDAF482A7AEC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409024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247" name="그룹 246">
              <a:extLst>
                <a:ext uri="{FF2B5EF4-FFF2-40B4-BE49-F238E27FC236}">
                  <a16:creationId xmlns:a16="http://schemas.microsoft.com/office/drawing/2014/main" id="{DA535B36-FA6E-45BF-9293-4352B7E52DAA}"/>
                </a:ext>
              </a:extLst>
            </p:cNvPr>
            <p:cNvGrpSpPr/>
            <p:nvPr/>
          </p:nvGrpSpPr>
          <p:grpSpPr>
            <a:xfrm>
              <a:off x="2655465" y="4377040"/>
              <a:ext cx="1529084" cy="1025517"/>
              <a:chOff x="7239398" y="4638599"/>
              <a:chExt cx="1529084" cy="1025517"/>
            </a:xfrm>
          </p:grpSpPr>
          <p:pic>
            <p:nvPicPr>
              <p:cNvPr id="248" name="그림 247">
                <a:extLst>
                  <a:ext uri="{FF2B5EF4-FFF2-40B4-BE49-F238E27FC236}">
                    <a16:creationId xmlns:a16="http://schemas.microsoft.com/office/drawing/2014/main" id="{C386FF11-00D3-4864-917C-DEAC192D09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46271" y="5529632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49" name="TextBox 248">
                <a:extLst>
                  <a:ext uri="{FF2B5EF4-FFF2-40B4-BE49-F238E27FC236}">
                    <a16:creationId xmlns:a16="http://schemas.microsoft.com/office/drawing/2014/main" id="{A78EE84C-8D87-4B5B-BD41-4FFF22D1A594}"/>
                  </a:ext>
                </a:extLst>
              </p:cNvPr>
              <p:cNvSpPr txBox="1"/>
              <p:nvPr/>
            </p:nvSpPr>
            <p:spPr>
              <a:xfrm>
                <a:off x="7412491" y="552184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일반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0" name="그림 249">
                <a:extLst>
                  <a:ext uri="{FF2B5EF4-FFF2-40B4-BE49-F238E27FC236}">
                    <a16:creationId xmlns:a16="http://schemas.microsoft.com/office/drawing/2014/main" id="{7AB419DD-0B90-4DD0-87B9-9584CA9F0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0510" y="4871785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09F2360-1973-4922-9738-58D7F8212069}"/>
                  </a:ext>
                </a:extLst>
              </p:cNvPr>
              <p:cNvSpPr txBox="1"/>
              <p:nvPr/>
            </p:nvSpPr>
            <p:spPr>
              <a:xfrm>
                <a:off x="7416730" y="4638599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환경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2" name="그림 251">
                <a:extLst>
                  <a:ext uri="{FF2B5EF4-FFF2-40B4-BE49-F238E27FC236}">
                    <a16:creationId xmlns:a16="http://schemas.microsoft.com/office/drawing/2014/main" id="{44E14CA4-FCC8-4968-9C9F-EB0CC3A85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0510" y="5100353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3" name="TextBox 252">
                <a:extLst>
                  <a:ext uri="{FF2B5EF4-FFF2-40B4-BE49-F238E27FC236}">
                    <a16:creationId xmlns:a16="http://schemas.microsoft.com/office/drawing/2014/main" id="{1194995A-3DE0-4B69-9F8D-5444263277A1}"/>
                  </a:ext>
                </a:extLst>
              </p:cNvPr>
              <p:cNvSpPr txBox="1"/>
              <p:nvPr/>
            </p:nvSpPr>
            <p:spPr>
              <a:xfrm>
                <a:off x="7416730" y="48671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4" name="그림 253">
                <a:extLst>
                  <a:ext uri="{FF2B5EF4-FFF2-40B4-BE49-F238E27FC236}">
                    <a16:creationId xmlns:a16="http://schemas.microsoft.com/office/drawing/2014/main" id="{5366EC9A-5662-4930-B294-00E00A7677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57542" y="532135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5" name="TextBox 254">
                <a:extLst>
                  <a:ext uri="{FF2B5EF4-FFF2-40B4-BE49-F238E27FC236}">
                    <a16:creationId xmlns:a16="http://schemas.microsoft.com/office/drawing/2014/main" id="{09B2C321-ACD2-49AB-8D00-A3DBAD84593B}"/>
                  </a:ext>
                </a:extLst>
              </p:cNvPr>
              <p:cNvSpPr txBox="1"/>
              <p:nvPr/>
            </p:nvSpPr>
            <p:spPr>
              <a:xfrm>
                <a:off x="7423762" y="508816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거버넌스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256" name="그림 255">
                <a:extLst>
                  <a:ext uri="{FF2B5EF4-FFF2-40B4-BE49-F238E27FC236}">
                    <a16:creationId xmlns:a16="http://schemas.microsoft.com/office/drawing/2014/main" id="{690734C5-07F5-4524-847C-2CAB16E609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39398" y="464373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05EE8E53-C981-45F7-8F2C-4C72A67FA958}"/>
                  </a:ext>
                </a:extLst>
              </p:cNvPr>
              <p:cNvSpPr txBox="1"/>
              <p:nvPr/>
            </p:nvSpPr>
            <p:spPr>
              <a:xfrm>
                <a:off x="7416730" y="5315702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258" name="직사각형 257">
            <a:extLst>
              <a:ext uri="{FF2B5EF4-FFF2-40B4-BE49-F238E27FC236}">
                <a16:creationId xmlns:a16="http://schemas.microsoft.com/office/drawing/2014/main" id="{6040CEDB-0735-44FB-860E-32A9D9DFF43D}"/>
              </a:ext>
            </a:extLst>
          </p:cNvPr>
          <p:cNvSpPr/>
          <p:nvPr/>
        </p:nvSpPr>
        <p:spPr>
          <a:xfrm>
            <a:off x="6874568" y="1270225"/>
            <a:ext cx="1992468" cy="4232650"/>
          </a:xfrm>
          <a:prstGeom prst="rect">
            <a:avLst/>
          </a:prstGeom>
          <a:solidFill>
            <a:srgbClr val="DB536A">
              <a:alpha val="10196"/>
            </a:srgbClr>
          </a:solidFill>
          <a:ln w="28575">
            <a:solidFill>
              <a:srgbClr val="DB536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93" name="그룹 192">
            <a:extLst>
              <a:ext uri="{FF2B5EF4-FFF2-40B4-BE49-F238E27FC236}">
                <a16:creationId xmlns:a16="http://schemas.microsoft.com/office/drawing/2014/main" id="{93BF5139-518C-4B6E-98EA-30FCF89926A2}"/>
              </a:ext>
            </a:extLst>
          </p:cNvPr>
          <p:cNvGrpSpPr/>
          <p:nvPr/>
        </p:nvGrpSpPr>
        <p:grpSpPr>
          <a:xfrm>
            <a:off x="8966920" y="256685"/>
            <a:ext cx="3218221" cy="3316331"/>
            <a:chOff x="8966920" y="256685"/>
            <a:chExt cx="3218221" cy="3316331"/>
          </a:xfrm>
        </p:grpSpPr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13767B54-B3F6-451C-8A2B-7F48A8E53E55}"/>
                </a:ext>
              </a:extLst>
            </p:cNvPr>
            <p:cNvSpPr/>
            <p:nvPr/>
          </p:nvSpPr>
          <p:spPr>
            <a:xfrm>
              <a:off x="8966920" y="256685"/>
              <a:ext cx="3218221" cy="3316331"/>
            </a:xfrm>
            <a:prstGeom prst="rect">
              <a:avLst/>
            </a:prstGeom>
            <a:solidFill>
              <a:srgbClr val="DB536A">
                <a:lumMod val="40000"/>
                <a:lumOff val="60000"/>
              </a:srgbClr>
            </a:solidFill>
            <a:ln w="12700" cap="sq" cmpd="sng" algn="ctr">
              <a:solidFill>
                <a:srgbClr val="D04A02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&lt;23.08.09&gt;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수정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∙ 명칭 변경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: ESG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토픽 →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ESG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키워드로 명칭 수정 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    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출력양식 변경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: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라디오버튼 → 태그형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(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복수선택 가능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)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lvl="0" defTabSz="914400">
                <a:lnSpc>
                  <a:spcPct val="110000"/>
                </a:lnSpc>
              </a:pP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∙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[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ESG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주제분류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]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필터 추가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∙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[ESG 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업무분류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]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 필터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추가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∙ 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[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출처</a:t>
              </a:r>
              <a:r>
                <a: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]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rPr>
                <a:t> 필터 삭제</a:t>
              </a:r>
              <a:endPara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  <p:pic>
          <p:nvPicPr>
            <p:cNvPr id="259" name="그림 258">
              <a:extLst>
                <a:ext uri="{FF2B5EF4-FFF2-40B4-BE49-F238E27FC236}">
                  <a16:creationId xmlns:a16="http://schemas.microsoft.com/office/drawing/2014/main" id="{9EB751E1-F651-48A1-A499-860B2DD48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712275" y="837434"/>
              <a:ext cx="1214378" cy="2569169"/>
            </a:xfrm>
            <a:prstGeom prst="rect">
              <a:avLst/>
            </a:prstGeom>
          </p:spPr>
        </p:pic>
      </p:grp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2BA7D36F-6101-43E8-A817-9D750F721909}"/>
              </a:ext>
            </a:extLst>
          </p:cNvPr>
          <p:cNvSpPr/>
          <p:nvPr/>
        </p:nvSpPr>
        <p:spPr>
          <a:xfrm>
            <a:off x="2460621" y="28851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A03F5A34-B34B-4253-9FBB-3852F03D2FA9}"/>
              </a:ext>
            </a:extLst>
          </p:cNvPr>
          <p:cNvSpPr/>
          <p:nvPr/>
        </p:nvSpPr>
        <p:spPr>
          <a:xfrm>
            <a:off x="2452941" y="428919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2AEF6C4D-628A-4B9D-B21B-01EB6D54979E}"/>
              </a:ext>
            </a:extLst>
          </p:cNvPr>
          <p:cNvGrpSpPr/>
          <p:nvPr/>
        </p:nvGrpSpPr>
        <p:grpSpPr>
          <a:xfrm>
            <a:off x="199908" y="580005"/>
            <a:ext cx="11944011" cy="6096975"/>
            <a:chOff x="199908" y="580005"/>
            <a:chExt cx="11944011" cy="6096975"/>
          </a:xfrm>
        </p:grpSpPr>
        <p:sp>
          <p:nvSpPr>
            <p:cNvPr id="260" name="직사각형 259">
              <a:extLst>
                <a:ext uri="{FF2B5EF4-FFF2-40B4-BE49-F238E27FC236}">
                  <a16:creationId xmlns:a16="http://schemas.microsoft.com/office/drawing/2014/main" id="{8C2421C1-0083-41A0-B53D-52801E74210C}"/>
                </a:ext>
              </a:extLst>
            </p:cNvPr>
            <p:cNvSpPr/>
            <p:nvPr/>
          </p:nvSpPr>
          <p:spPr>
            <a:xfrm>
              <a:off x="199908" y="580005"/>
              <a:ext cx="11944011" cy="6096975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61" name="직사각형 260">
              <a:extLst>
                <a:ext uri="{FF2B5EF4-FFF2-40B4-BE49-F238E27FC236}">
                  <a16:creationId xmlns:a16="http://schemas.microsoft.com/office/drawing/2014/main" id="{AF4CB3E6-7710-4D81-9836-58277B9AACD0}"/>
                </a:ext>
              </a:extLst>
            </p:cNvPr>
            <p:cNvSpPr/>
            <p:nvPr/>
          </p:nvSpPr>
          <p:spPr>
            <a:xfrm>
              <a:off x="5530275" y="3183210"/>
              <a:ext cx="973748" cy="45173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en-US" altLang="ko-KR" sz="1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OLD</a:t>
              </a:r>
              <a:endParaRPr lang="ko-KR" altLang="en-US" sz="1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4228351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화면 내 필터 기능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6A347BB2-DF86-45F7-BF27-15CC42CAAF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264" y="1080278"/>
            <a:ext cx="138514" cy="606001"/>
          </a:xfrm>
          <a:prstGeom prst="rect">
            <a:avLst/>
          </a:prstGeom>
        </p:spPr>
      </p:pic>
      <p:pic>
        <p:nvPicPr>
          <p:cNvPr id="496" name="그림 495">
            <a:extLst>
              <a:ext uri="{FF2B5EF4-FFF2-40B4-BE49-F238E27FC236}">
                <a16:creationId xmlns:a16="http://schemas.microsoft.com/office/drawing/2014/main" id="{AFAB964A-D1EE-4E16-8C57-BCABB4E87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11" t="1957" r="56576" b="2876"/>
          <a:stretch/>
        </p:blipFill>
        <p:spPr>
          <a:xfrm>
            <a:off x="575016" y="1114388"/>
            <a:ext cx="859638" cy="2234910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85A46CEC-DD66-4344-AA6B-C87CD94A77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08" t="340" r="2636" b="4353"/>
          <a:stretch/>
        </p:blipFill>
        <p:spPr>
          <a:xfrm>
            <a:off x="586144" y="3277957"/>
            <a:ext cx="860550" cy="2287289"/>
          </a:xfrm>
          <a:prstGeom prst="rect">
            <a:avLst/>
          </a:prstGeom>
        </p:spPr>
      </p:pic>
      <p:sp>
        <p:nvSpPr>
          <p:cNvPr id="490" name="직사각형 489">
            <a:extLst>
              <a:ext uri="{FF2B5EF4-FFF2-40B4-BE49-F238E27FC236}">
                <a16:creationId xmlns:a16="http://schemas.microsoft.com/office/drawing/2014/main" id="{E7792F1A-070F-4B11-9D27-2B23EF54D8D4}"/>
              </a:ext>
            </a:extLst>
          </p:cNvPr>
          <p:cNvSpPr/>
          <p:nvPr/>
        </p:nvSpPr>
        <p:spPr>
          <a:xfrm>
            <a:off x="548259" y="1081964"/>
            <a:ext cx="913199" cy="4568020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494" name="직선 연결선 493">
            <a:extLst>
              <a:ext uri="{FF2B5EF4-FFF2-40B4-BE49-F238E27FC236}">
                <a16:creationId xmlns:a16="http://schemas.microsoft.com/office/drawing/2014/main" id="{A7B7A5C1-55BD-422B-8FB3-0E77E78DFD0A}"/>
              </a:ext>
            </a:extLst>
          </p:cNvPr>
          <p:cNvCxnSpPr>
            <a:cxnSpLocks/>
          </p:cNvCxnSpPr>
          <p:nvPr/>
        </p:nvCxnSpPr>
        <p:spPr>
          <a:xfrm>
            <a:off x="1554156" y="1100951"/>
            <a:ext cx="0" cy="4535596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직선 연결선 496">
            <a:extLst>
              <a:ext uri="{FF2B5EF4-FFF2-40B4-BE49-F238E27FC236}">
                <a16:creationId xmlns:a16="http://schemas.microsoft.com/office/drawing/2014/main" id="{6C3AA332-BAEF-4984-A0B2-8151B7BE4104}"/>
              </a:ext>
            </a:extLst>
          </p:cNvPr>
          <p:cNvCxnSpPr>
            <a:cxnSpLocks/>
          </p:cNvCxnSpPr>
          <p:nvPr/>
        </p:nvCxnSpPr>
        <p:spPr>
          <a:xfrm>
            <a:off x="554355" y="1090004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직선 연결선 497">
            <a:extLst>
              <a:ext uri="{FF2B5EF4-FFF2-40B4-BE49-F238E27FC236}">
                <a16:creationId xmlns:a16="http://schemas.microsoft.com/office/drawing/2014/main" id="{7017ABF6-216A-43C5-B3DA-3DBFFE5D41EB}"/>
              </a:ext>
            </a:extLst>
          </p:cNvPr>
          <p:cNvCxnSpPr>
            <a:cxnSpLocks/>
          </p:cNvCxnSpPr>
          <p:nvPr/>
        </p:nvCxnSpPr>
        <p:spPr>
          <a:xfrm>
            <a:off x="548259" y="5650917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7" name="표 10">
            <a:extLst>
              <a:ext uri="{FF2B5EF4-FFF2-40B4-BE49-F238E27FC236}">
                <a16:creationId xmlns:a16="http://schemas.microsoft.com/office/drawing/2014/main" id="{46DB2E08-C112-4765-A3C7-3A4F6A2E903A}"/>
              </a:ext>
            </a:extLst>
          </p:cNvPr>
          <p:cNvGraphicFramePr>
            <a:graphicFrameLocks noGrp="1"/>
          </p:cNvGraphicFramePr>
          <p:nvPr/>
        </p:nvGraphicFramePr>
        <p:xfrm>
          <a:off x="9270032" y="755371"/>
          <a:ext cx="2915205" cy="191267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205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</a:tblGrid>
              <a:tr h="1562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16993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메뉴 및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필터는 아래와 같이 사용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든 분류정보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에 기반함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pic>
        <p:nvPicPr>
          <p:cNvPr id="22" name="그림 21">
            <a:extLst>
              <a:ext uri="{FF2B5EF4-FFF2-40B4-BE49-F238E27FC236}">
                <a16:creationId xmlns:a16="http://schemas.microsoft.com/office/drawing/2014/main" id="{B5431B6A-2804-4F3D-AB9E-3700FFF308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1175" y="1394627"/>
            <a:ext cx="2822744" cy="1167211"/>
          </a:xfrm>
          <a:prstGeom prst="rect">
            <a:avLst/>
          </a:prstGeom>
        </p:spPr>
      </p:pic>
      <p:sp>
        <p:nvSpPr>
          <p:cNvPr id="495" name="직사각형 494">
            <a:extLst>
              <a:ext uri="{FF2B5EF4-FFF2-40B4-BE49-F238E27FC236}">
                <a16:creationId xmlns:a16="http://schemas.microsoft.com/office/drawing/2014/main" id="{DACB210B-C1A3-49F1-AA4F-FD3924796DCE}"/>
              </a:ext>
            </a:extLst>
          </p:cNvPr>
          <p:cNvSpPr/>
          <p:nvPr/>
        </p:nvSpPr>
        <p:spPr>
          <a:xfrm>
            <a:off x="1569020" y="1037527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Area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리스트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영역과 별개로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스크롤됨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96524B6-65FD-4837-856E-4BB7190A658A}"/>
              </a:ext>
            </a:extLst>
          </p:cNvPr>
          <p:cNvSpPr/>
          <p:nvPr/>
        </p:nvSpPr>
        <p:spPr>
          <a:xfrm>
            <a:off x="2532392" y="1093144"/>
            <a:ext cx="1992469" cy="5583836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8B0B383-69C9-4C68-96DE-FF2CACA9386C}"/>
              </a:ext>
            </a:extLst>
          </p:cNvPr>
          <p:cNvGrpSpPr/>
          <p:nvPr/>
        </p:nvGrpSpPr>
        <p:grpSpPr>
          <a:xfrm>
            <a:off x="2620677" y="1182372"/>
            <a:ext cx="2063638" cy="346537"/>
            <a:chOff x="2575197" y="1810054"/>
            <a:chExt cx="2063638" cy="346537"/>
          </a:xfrm>
        </p:grpSpPr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34B3B499-0CC7-44A6-AAB4-466C96C7D490}"/>
                </a:ext>
              </a:extLst>
            </p:cNvPr>
            <p:cNvSpPr txBox="1"/>
            <p:nvPr/>
          </p:nvSpPr>
          <p:spPr>
            <a:xfrm>
              <a:off x="2584729" y="1810054"/>
              <a:ext cx="472583" cy="170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필터</a:t>
              </a:r>
            </a:p>
          </p:txBody>
        </p:sp>
        <p:pic>
          <p:nvPicPr>
            <p:cNvPr id="206" name="그림 205">
              <a:extLst>
                <a:ext uri="{FF2B5EF4-FFF2-40B4-BE49-F238E27FC236}">
                  <a16:creationId xmlns:a16="http://schemas.microsoft.com/office/drawing/2014/main" id="{0714CA8A-CD81-4488-A5C7-E74AAE69C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62414" y="1854101"/>
              <a:ext cx="126000" cy="126000"/>
            </a:xfrm>
            <a:prstGeom prst="rect">
              <a:avLst/>
            </a:prstGeom>
          </p:spPr>
        </p:pic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E45659FE-13E3-4ACF-8927-A3D0160FA407}"/>
                </a:ext>
              </a:extLst>
            </p:cNvPr>
            <p:cNvSpPr txBox="1"/>
            <p:nvPr/>
          </p:nvSpPr>
          <p:spPr>
            <a:xfrm>
              <a:off x="4103277" y="1845833"/>
              <a:ext cx="535558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/>
                </a:rPr>
                <a:t>초기화</a:t>
              </a:r>
            </a:p>
          </p:txBody>
        </p:sp>
        <p:cxnSp>
          <p:nvCxnSpPr>
            <p:cNvPr id="208" name="직선 연결선 207">
              <a:extLst>
                <a:ext uri="{FF2B5EF4-FFF2-40B4-BE49-F238E27FC236}">
                  <a16:creationId xmlns:a16="http://schemas.microsoft.com/office/drawing/2014/main" id="{986B1147-72B9-4542-8713-8FB6A1A3F93E}"/>
                </a:ext>
              </a:extLst>
            </p:cNvPr>
            <p:cNvCxnSpPr>
              <a:cxnSpLocks/>
            </p:cNvCxnSpPr>
            <p:nvPr/>
          </p:nvCxnSpPr>
          <p:spPr>
            <a:xfrm>
              <a:off x="2575197" y="2156591"/>
              <a:ext cx="1862854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209" name="그룹 208">
            <a:extLst>
              <a:ext uri="{FF2B5EF4-FFF2-40B4-BE49-F238E27FC236}">
                <a16:creationId xmlns:a16="http://schemas.microsoft.com/office/drawing/2014/main" id="{EF87836F-EAF5-4329-842D-C57C71EE534E}"/>
              </a:ext>
            </a:extLst>
          </p:cNvPr>
          <p:cNvGrpSpPr/>
          <p:nvPr/>
        </p:nvGrpSpPr>
        <p:grpSpPr>
          <a:xfrm>
            <a:off x="4798276" y="4302681"/>
            <a:ext cx="1882574" cy="1263492"/>
            <a:chOff x="4527726" y="1856359"/>
            <a:chExt cx="1882574" cy="1263492"/>
          </a:xfrm>
        </p:grpSpPr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91F3A691-5558-4288-9550-81BD154876E5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발간연도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211" name="그룹 210">
              <a:extLst>
                <a:ext uri="{FF2B5EF4-FFF2-40B4-BE49-F238E27FC236}">
                  <a16:creationId xmlns:a16="http://schemas.microsoft.com/office/drawing/2014/main" id="{4221EBA0-47A3-4FEF-B8BE-BA450C50D407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222" name="그림 221">
                <a:extLst>
                  <a:ext uri="{FF2B5EF4-FFF2-40B4-BE49-F238E27FC236}">
                    <a16:creationId xmlns:a16="http://schemas.microsoft.com/office/drawing/2014/main" id="{E8FB4EBB-334F-4737-9DF5-DF6004C7CA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FDD49850-9B4A-46D4-B996-E65CA938EB3E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3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212" name="그룹 211">
              <a:extLst>
                <a:ext uri="{FF2B5EF4-FFF2-40B4-BE49-F238E27FC236}">
                  <a16:creationId xmlns:a16="http://schemas.microsoft.com/office/drawing/2014/main" id="{A003E63A-71D7-411A-8EF2-FB63229FC4D3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220" name="그림 219">
                <a:extLst>
                  <a:ext uri="{FF2B5EF4-FFF2-40B4-BE49-F238E27FC236}">
                    <a16:creationId xmlns:a16="http://schemas.microsoft.com/office/drawing/2014/main" id="{763B6277-7DBC-4F3A-81AF-588F1535AA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5737F7F8-0748-4FA5-9F00-3B03CA7B697F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2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213" name="그룹 212">
              <a:extLst>
                <a:ext uri="{FF2B5EF4-FFF2-40B4-BE49-F238E27FC236}">
                  <a16:creationId xmlns:a16="http://schemas.microsoft.com/office/drawing/2014/main" id="{CEC7729B-96FC-400F-A6E5-EB101D675A6A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218" name="그림 217">
                <a:extLst>
                  <a:ext uri="{FF2B5EF4-FFF2-40B4-BE49-F238E27FC236}">
                    <a16:creationId xmlns:a16="http://schemas.microsoft.com/office/drawing/2014/main" id="{620E2D5E-5F46-4D28-BC92-8775BEAA03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149E3C76-2034-4473-ABEA-C8BF4DF0975C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214" name="그룹 213">
              <a:extLst>
                <a:ext uri="{FF2B5EF4-FFF2-40B4-BE49-F238E27FC236}">
                  <a16:creationId xmlns:a16="http://schemas.microsoft.com/office/drawing/2014/main" id="{FE75C180-A457-42AF-BEEC-3F818008000C}"/>
                </a:ext>
              </a:extLst>
            </p:cNvPr>
            <p:cNvGrpSpPr/>
            <p:nvPr/>
          </p:nvGrpSpPr>
          <p:grpSpPr>
            <a:xfrm>
              <a:off x="4592427" y="2841176"/>
              <a:ext cx="1510940" cy="142271"/>
              <a:chOff x="408596" y="2468563"/>
              <a:chExt cx="1510940" cy="142271"/>
            </a:xfrm>
          </p:grpSpPr>
          <p:pic>
            <p:nvPicPr>
              <p:cNvPr id="216" name="그림 215">
                <a:extLst>
                  <a:ext uri="{FF2B5EF4-FFF2-40B4-BE49-F238E27FC236}">
                    <a16:creationId xmlns:a16="http://schemas.microsoft.com/office/drawing/2014/main" id="{ABE6DDE2-58C7-4F58-AFD8-5C75D37E7F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98A0BA4D-182E-49A8-95C9-F34A78E20DF9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2021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년 이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215" name="직사각형 214">
              <a:extLst>
                <a:ext uri="{FF2B5EF4-FFF2-40B4-BE49-F238E27FC236}">
                  <a16:creationId xmlns:a16="http://schemas.microsoft.com/office/drawing/2014/main" id="{70BA4DBB-78FF-49B2-B107-3FE68667CD17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grpSp>
        <p:nvGrpSpPr>
          <p:cNvPr id="224" name="그룹 223">
            <a:extLst>
              <a:ext uri="{FF2B5EF4-FFF2-40B4-BE49-F238E27FC236}">
                <a16:creationId xmlns:a16="http://schemas.microsoft.com/office/drawing/2014/main" id="{35763EF6-A767-4AB9-B713-766205F29669}"/>
              </a:ext>
            </a:extLst>
          </p:cNvPr>
          <p:cNvGrpSpPr/>
          <p:nvPr/>
        </p:nvGrpSpPr>
        <p:grpSpPr>
          <a:xfrm>
            <a:off x="2477700" y="876574"/>
            <a:ext cx="4237330" cy="160953"/>
            <a:chOff x="2938041" y="763039"/>
            <a:chExt cx="2047162" cy="160953"/>
          </a:xfrm>
        </p:grpSpPr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FA59D5AD-8D1C-4C01-A16F-71D99681A11E}"/>
                </a:ext>
              </a:extLst>
            </p:cNvPr>
            <p:cNvSpPr/>
            <p:nvPr/>
          </p:nvSpPr>
          <p:spPr>
            <a:xfrm>
              <a:off x="2964465" y="771438"/>
              <a:ext cx="2020738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46A9F48E-C770-4411-A17A-3C5A3584D585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자료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– ※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미디어영상인 경우에만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[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영상분량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]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노출됨 </a:t>
              </a:r>
            </a:p>
          </p:txBody>
        </p:sp>
      </p:grpSp>
      <p:grpSp>
        <p:nvGrpSpPr>
          <p:cNvPr id="227" name="그룹 226">
            <a:extLst>
              <a:ext uri="{FF2B5EF4-FFF2-40B4-BE49-F238E27FC236}">
                <a16:creationId xmlns:a16="http://schemas.microsoft.com/office/drawing/2014/main" id="{20287734-FFCD-4C5D-8B64-99799F63D505}"/>
              </a:ext>
            </a:extLst>
          </p:cNvPr>
          <p:cNvGrpSpPr/>
          <p:nvPr/>
        </p:nvGrpSpPr>
        <p:grpSpPr>
          <a:xfrm>
            <a:off x="2607435" y="5805264"/>
            <a:ext cx="1876096" cy="871513"/>
            <a:chOff x="3070152" y="4488488"/>
            <a:chExt cx="1876096" cy="871513"/>
          </a:xfrm>
        </p:grpSpPr>
        <p:grpSp>
          <p:nvGrpSpPr>
            <p:cNvPr id="228" name="그룹 227">
              <a:extLst>
                <a:ext uri="{FF2B5EF4-FFF2-40B4-BE49-F238E27FC236}">
                  <a16:creationId xmlns:a16="http://schemas.microsoft.com/office/drawing/2014/main" id="{2CA208E0-29E6-4A78-98F7-0E3416E4B800}"/>
                </a:ext>
              </a:extLst>
            </p:cNvPr>
            <p:cNvGrpSpPr/>
            <p:nvPr/>
          </p:nvGrpSpPr>
          <p:grpSpPr>
            <a:xfrm>
              <a:off x="3081018" y="4598382"/>
              <a:ext cx="1865230" cy="646802"/>
              <a:chOff x="2621327" y="2249053"/>
              <a:chExt cx="1865230" cy="610274"/>
            </a:xfrm>
          </p:grpSpPr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5C3D4117-0601-478C-905E-444C4AB2C481}"/>
                  </a:ext>
                </a:extLst>
              </p:cNvPr>
              <p:cNvSpPr txBox="1"/>
              <p:nvPr/>
            </p:nvSpPr>
            <p:spPr>
              <a:xfrm>
                <a:off x="2621327" y="2249053"/>
                <a:ext cx="1865230" cy="1435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8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자료 출처                                           </a:t>
                </a:r>
                <a:r>
                  <a:rPr lang="en-US" altLang="ko-KR" sz="8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^</a:t>
                </a:r>
                <a:r>
                  <a:rPr lang="ko-KR" altLang="en-US" sz="8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</a:t>
                </a:r>
              </a:p>
            </p:txBody>
          </p:sp>
          <p:grpSp>
            <p:nvGrpSpPr>
              <p:cNvPr id="232" name="그룹 231">
                <a:extLst>
                  <a:ext uri="{FF2B5EF4-FFF2-40B4-BE49-F238E27FC236}">
                    <a16:creationId xmlns:a16="http://schemas.microsoft.com/office/drawing/2014/main" id="{6C8D161E-2B8C-4F9C-BC7D-D356E65B3C4A}"/>
                  </a:ext>
                </a:extLst>
              </p:cNvPr>
              <p:cNvGrpSpPr/>
              <p:nvPr/>
            </p:nvGrpSpPr>
            <p:grpSpPr>
              <a:xfrm>
                <a:off x="2640843" y="2497472"/>
                <a:ext cx="1510940" cy="142271"/>
                <a:chOff x="408596" y="2267267"/>
                <a:chExt cx="1510940" cy="142271"/>
              </a:xfrm>
            </p:grpSpPr>
            <p:pic>
              <p:nvPicPr>
                <p:cNvPr id="236" name="그림 235">
                  <a:extLst>
                    <a:ext uri="{FF2B5EF4-FFF2-40B4-BE49-F238E27FC236}">
                      <a16:creationId xmlns:a16="http://schemas.microsoft.com/office/drawing/2014/main" id="{38045B77-2C45-4C7C-9AE4-9855A07E43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08596" y="2275054"/>
                  <a:ext cx="134484" cy="134484"/>
                </a:xfrm>
                <a:prstGeom prst="rect">
                  <a:avLst/>
                </a:prstGeom>
              </p:spPr>
            </p:pic>
            <p:sp>
              <p:nvSpPr>
                <p:cNvPr id="237" name="TextBox 236">
                  <a:extLst>
                    <a:ext uri="{FF2B5EF4-FFF2-40B4-BE49-F238E27FC236}">
                      <a16:creationId xmlns:a16="http://schemas.microsoft.com/office/drawing/2014/main" id="{E23B250E-7D61-4503-BE1C-A80809F540EF}"/>
                    </a:ext>
                  </a:extLst>
                </p:cNvPr>
                <p:cNvSpPr txBox="1"/>
                <p:nvPr/>
              </p:nvSpPr>
              <p:spPr>
                <a:xfrm>
                  <a:off x="574816" y="2267267"/>
                  <a:ext cx="1344720" cy="13426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lvl="0" indent="0" fontAlgn="auto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lang="ko-KR" altLang="en-US" sz="75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국내</a:t>
                  </a:r>
                  <a:r>
                    <a:rPr lang="en-US" altLang="ko-KR" sz="75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  </a:t>
                  </a:r>
                  <a:r>
                    <a:rPr lang="en-US" altLang="ko-KR" sz="7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>
                          <a:lumMod val="7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123</a:t>
                  </a:r>
                  <a:endPara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endParaRPr>
                </a:p>
              </p:txBody>
            </p:sp>
          </p:grpSp>
          <p:grpSp>
            <p:nvGrpSpPr>
              <p:cNvPr id="233" name="그룹 232">
                <a:extLst>
                  <a:ext uri="{FF2B5EF4-FFF2-40B4-BE49-F238E27FC236}">
                    <a16:creationId xmlns:a16="http://schemas.microsoft.com/office/drawing/2014/main" id="{BF96E8D6-78A7-4979-A88A-3F3042BB424E}"/>
                  </a:ext>
                </a:extLst>
              </p:cNvPr>
              <p:cNvGrpSpPr/>
              <p:nvPr/>
            </p:nvGrpSpPr>
            <p:grpSpPr>
              <a:xfrm>
                <a:off x="2640843" y="2717056"/>
                <a:ext cx="1510940" cy="142271"/>
                <a:chOff x="408596" y="2468563"/>
                <a:chExt cx="1510940" cy="142271"/>
              </a:xfrm>
            </p:grpSpPr>
            <p:pic>
              <p:nvPicPr>
                <p:cNvPr id="234" name="그림 233">
                  <a:extLst>
                    <a:ext uri="{FF2B5EF4-FFF2-40B4-BE49-F238E27FC236}">
                      <a16:creationId xmlns:a16="http://schemas.microsoft.com/office/drawing/2014/main" id="{CB3FCAC7-1EE9-4B8C-8921-11FC3EB3F0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08596" y="2476350"/>
                  <a:ext cx="134484" cy="134484"/>
                </a:xfrm>
                <a:prstGeom prst="rect">
                  <a:avLst/>
                </a:prstGeom>
              </p:spPr>
            </p:pic>
            <p:sp>
              <p:nvSpPr>
                <p:cNvPr id="235" name="TextBox 234">
                  <a:extLst>
                    <a:ext uri="{FF2B5EF4-FFF2-40B4-BE49-F238E27FC236}">
                      <a16:creationId xmlns:a16="http://schemas.microsoft.com/office/drawing/2014/main" id="{E1962B33-81E9-4F01-AD85-371FA302B68F}"/>
                    </a:ext>
                  </a:extLst>
                </p:cNvPr>
                <p:cNvSpPr txBox="1"/>
                <p:nvPr/>
              </p:nvSpPr>
              <p:spPr>
                <a:xfrm>
                  <a:off x="574816" y="2468563"/>
                  <a:ext cx="1344720" cy="13426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lvl="0" indent="0" fontAlgn="auto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lang="ko-KR" altLang="en-US" sz="75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해외  </a:t>
                  </a:r>
                  <a:r>
                    <a:rPr lang="en-US" altLang="ko-KR" sz="7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bg1">
                          <a:lumMod val="75000"/>
                        </a:schemeClr>
                      </a:solidFill>
                      <a:latin typeface="Arial" panose="020B0604020202020204" pitchFamily="34" charset="0"/>
                      <a:cs typeface="Arial"/>
                    </a:rPr>
                    <a:t>987</a:t>
                  </a:r>
                  <a:endParaRPr lang="ko-KR" altLang="en-US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endParaRPr>
                </a:p>
              </p:txBody>
            </p:sp>
          </p:grpSp>
        </p:grpSp>
        <p:cxnSp>
          <p:nvCxnSpPr>
            <p:cNvPr id="229" name="직선 연결선 228">
              <a:extLst>
                <a:ext uri="{FF2B5EF4-FFF2-40B4-BE49-F238E27FC236}">
                  <a16:creationId xmlns:a16="http://schemas.microsoft.com/office/drawing/2014/main" id="{E7D0F88F-AA47-42D1-A208-008195A2F5EF}"/>
                </a:ext>
              </a:extLst>
            </p:cNvPr>
            <p:cNvCxnSpPr>
              <a:cxnSpLocks/>
            </p:cNvCxnSpPr>
            <p:nvPr/>
          </p:nvCxnSpPr>
          <p:spPr>
            <a:xfrm>
              <a:off x="3080892" y="4488488"/>
              <a:ext cx="1865356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230" name="직선 연결선 229">
              <a:extLst>
                <a:ext uri="{FF2B5EF4-FFF2-40B4-BE49-F238E27FC236}">
                  <a16:creationId xmlns:a16="http://schemas.microsoft.com/office/drawing/2014/main" id="{A2BBEFFB-6B16-4EC2-BD07-9EE55F4FA557}"/>
                </a:ext>
              </a:extLst>
            </p:cNvPr>
            <p:cNvCxnSpPr>
              <a:cxnSpLocks/>
            </p:cNvCxnSpPr>
            <p:nvPr/>
          </p:nvCxnSpPr>
          <p:spPr>
            <a:xfrm>
              <a:off x="3070152" y="5360001"/>
              <a:ext cx="1876096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238" name="직사각형 237">
            <a:extLst>
              <a:ext uri="{FF2B5EF4-FFF2-40B4-BE49-F238E27FC236}">
                <a16:creationId xmlns:a16="http://schemas.microsoft.com/office/drawing/2014/main" id="{72A8204F-6466-4116-A50C-C7DEB0355A64}"/>
              </a:ext>
            </a:extLst>
          </p:cNvPr>
          <p:cNvSpPr/>
          <p:nvPr/>
        </p:nvSpPr>
        <p:spPr>
          <a:xfrm>
            <a:off x="4768261" y="2060848"/>
            <a:ext cx="1646896" cy="22462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304DC6D4-647E-479D-B605-2B8D12429F7A}"/>
              </a:ext>
            </a:extLst>
          </p:cNvPr>
          <p:cNvSpPr txBox="1"/>
          <p:nvPr/>
        </p:nvSpPr>
        <p:spPr>
          <a:xfrm>
            <a:off x="4839544" y="2085954"/>
            <a:ext cx="1865337" cy="15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출처명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                                           </a:t>
            </a:r>
            <a:r>
              <a:rPr lang="en-US" altLang="ko-KR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^</a:t>
            </a:r>
            <a:r>
              <a: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 </a:t>
            </a:r>
          </a:p>
        </p:txBody>
      </p:sp>
      <p:grpSp>
        <p:nvGrpSpPr>
          <p:cNvPr id="240" name="그룹 239">
            <a:extLst>
              <a:ext uri="{FF2B5EF4-FFF2-40B4-BE49-F238E27FC236}">
                <a16:creationId xmlns:a16="http://schemas.microsoft.com/office/drawing/2014/main" id="{7B7FA50E-5111-4B57-951B-53E13CD8A35F}"/>
              </a:ext>
            </a:extLst>
          </p:cNvPr>
          <p:cNvGrpSpPr/>
          <p:nvPr/>
        </p:nvGrpSpPr>
        <p:grpSpPr>
          <a:xfrm>
            <a:off x="4849010" y="2956256"/>
            <a:ext cx="1510940" cy="142271"/>
            <a:chOff x="408596" y="2267267"/>
            <a:chExt cx="1510940" cy="142271"/>
          </a:xfrm>
        </p:grpSpPr>
        <p:pic>
          <p:nvPicPr>
            <p:cNvPr id="241" name="그림 240">
              <a:extLst>
                <a:ext uri="{FF2B5EF4-FFF2-40B4-BE49-F238E27FC236}">
                  <a16:creationId xmlns:a16="http://schemas.microsoft.com/office/drawing/2014/main" id="{72CAD1D9-E29B-4634-BF22-D12798A28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596" y="2275054"/>
              <a:ext cx="134484" cy="134484"/>
            </a:xfrm>
            <a:prstGeom prst="rect">
              <a:avLst/>
            </a:prstGeom>
          </p:spPr>
        </p:pic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C0155A7E-F4A1-455B-B42D-60EC797E9BF3}"/>
                </a:ext>
              </a:extLst>
            </p:cNvPr>
            <p:cNvSpPr txBox="1"/>
            <p:nvPr/>
          </p:nvSpPr>
          <p:spPr>
            <a:xfrm>
              <a:off x="574816" y="2267267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국가인권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1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43" name="그룹 242">
            <a:extLst>
              <a:ext uri="{FF2B5EF4-FFF2-40B4-BE49-F238E27FC236}">
                <a16:creationId xmlns:a16="http://schemas.microsoft.com/office/drawing/2014/main" id="{3EC0BC3C-CE0F-4ECF-A749-09B22EE80903}"/>
              </a:ext>
            </a:extLst>
          </p:cNvPr>
          <p:cNvGrpSpPr/>
          <p:nvPr/>
        </p:nvGrpSpPr>
        <p:grpSpPr>
          <a:xfrm>
            <a:off x="4849010" y="3180920"/>
            <a:ext cx="1510940" cy="142271"/>
            <a:chOff x="408596" y="2468563"/>
            <a:chExt cx="1510940" cy="142271"/>
          </a:xfrm>
        </p:grpSpPr>
        <p:pic>
          <p:nvPicPr>
            <p:cNvPr id="244" name="그림 243">
              <a:extLst>
                <a:ext uri="{FF2B5EF4-FFF2-40B4-BE49-F238E27FC236}">
                  <a16:creationId xmlns:a16="http://schemas.microsoft.com/office/drawing/2014/main" id="{3A85ADC3-0285-43D1-AA2D-754E0DD5D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57D34BA0-022F-4E1A-A5CA-8D4178CB46DE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국가법령정보센터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9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246" name="TextBox 245">
            <a:extLst>
              <a:ext uri="{FF2B5EF4-FFF2-40B4-BE49-F238E27FC236}">
                <a16:creationId xmlns:a16="http://schemas.microsoft.com/office/drawing/2014/main" id="{3004898A-2DE7-4B15-ADFD-07AFA574F2D5}"/>
              </a:ext>
            </a:extLst>
          </p:cNvPr>
          <p:cNvSpPr txBox="1"/>
          <p:nvPr/>
        </p:nvSpPr>
        <p:spPr>
          <a:xfrm>
            <a:off x="4839545" y="2306834"/>
            <a:ext cx="1515106" cy="134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cs typeface="Arial"/>
              </a:rPr>
              <a:t>가나다순   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알파벳순    자료 </a:t>
            </a:r>
            <a:r>
              <a:rPr lang="ko-KR" altLang="en-US" sz="7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많은순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sp>
        <p:nvSpPr>
          <p:cNvPr id="248" name="사각형: 둥근 모서리 247">
            <a:extLst>
              <a:ext uri="{FF2B5EF4-FFF2-40B4-BE49-F238E27FC236}">
                <a16:creationId xmlns:a16="http://schemas.microsoft.com/office/drawing/2014/main" id="{07D5106F-661D-4969-AE66-CFCC1B9B5C1B}"/>
              </a:ext>
            </a:extLst>
          </p:cNvPr>
          <p:cNvSpPr/>
          <p:nvPr/>
        </p:nvSpPr>
        <p:spPr>
          <a:xfrm>
            <a:off x="4843101" y="2536128"/>
            <a:ext cx="327969" cy="139370"/>
          </a:xfrm>
          <a:prstGeom prst="roundRect">
            <a:avLst>
              <a:gd name="adj" fmla="val 1104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700" dirty="0"/>
          </a:p>
        </p:txBody>
      </p:sp>
      <p:sp>
        <p:nvSpPr>
          <p:cNvPr id="249" name="직사각형 248">
            <a:extLst>
              <a:ext uri="{FF2B5EF4-FFF2-40B4-BE49-F238E27FC236}">
                <a16:creationId xmlns:a16="http://schemas.microsoft.com/office/drawing/2014/main" id="{79ECBEF3-AF9D-40F8-ABFB-ACC9BFEB28DB}"/>
              </a:ext>
            </a:extLst>
          </p:cNvPr>
          <p:cNvSpPr/>
          <p:nvPr/>
        </p:nvSpPr>
        <p:spPr>
          <a:xfrm>
            <a:off x="4808180" y="2517237"/>
            <a:ext cx="390704" cy="177153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전체</a:t>
            </a:r>
          </a:p>
        </p:txBody>
      </p: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0E7B3187-F23C-489C-B65E-E381ED6CEE85}"/>
              </a:ext>
            </a:extLst>
          </p:cNvPr>
          <p:cNvGrpSpPr/>
          <p:nvPr/>
        </p:nvGrpSpPr>
        <p:grpSpPr>
          <a:xfrm>
            <a:off x="5192223" y="2535613"/>
            <a:ext cx="174262" cy="140400"/>
            <a:chOff x="711118" y="4181908"/>
            <a:chExt cx="163648" cy="140400"/>
          </a:xfrm>
        </p:grpSpPr>
        <p:sp>
          <p:nvSpPr>
            <p:cNvPr id="293" name="사각형: 둥근 모서리 292">
              <a:extLst>
                <a:ext uri="{FF2B5EF4-FFF2-40B4-BE49-F238E27FC236}">
                  <a16:creationId xmlns:a16="http://schemas.microsoft.com/office/drawing/2014/main" id="{888F42BE-ED3C-4B0B-979F-D1175379AB70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94" name="직사각형 293">
              <a:extLst>
                <a:ext uri="{FF2B5EF4-FFF2-40B4-BE49-F238E27FC236}">
                  <a16:creationId xmlns:a16="http://schemas.microsoft.com/office/drawing/2014/main" id="{D1800DD6-115F-4BC6-A51F-09FBE50314E9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ㄱ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1" name="그룹 250">
            <a:extLst>
              <a:ext uri="{FF2B5EF4-FFF2-40B4-BE49-F238E27FC236}">
                <a16:creationId xmlns:a16="http://schemas.microsoft.com/office/drawing/2014/main" id="{DC373D28-3E8E-4869-927C-728538BEE6DC}"/>
              </a:ext>
            </a:extLst>
          </p:cNvPr>
          <p:cNvGrpSpPr/>
          <p:nvPr/>
        </p:nvGrpSpPr>
        <p:grpSpPr>
          <a:xfrm>
            <a:off x="5373961" y="2535613"/>
            <a:ext cx="174262" cy="140400"/>
            <a:chOff x="711118" y="4181908"/>
            <a:chExt cx="163648" cy="140400"/>
          </a:xfrm>
        </p:grpSpPr>
        <p:sp>
          <p:nvSpPr>
            <p:cNvPr id="291" name="사각형: 둥근 모서리 290">
              <a:extLst>
                <a:ext uri="{FF2B5EF4-FFF2-40B4-BE49-F238E27FC236}">
                  <a16:creationId xmlns:a16="http://schemas.microsoft.com/office/drawing/2014/main" id="{B7D3D073-25CB-47E1-BA34-A0560BC51ABB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92" name="직사각형 291">
              <a:extLst>
                <a:ext uri="{FF2B5EF4-FFF2-40B4-BE49-F238E27FC236}">
                  <a16:creationId xmlns:a16="http://schemas.microsoft.com/office/drawing/2014/main" id="{150C4685-1DD9-49E9-AC99-43DF3064E006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ㄴ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2" name="그룹 251">
            <a:extLst>
              <a:ext uri="{FF2B5EF4-FFF2-40B4-BE49-F238E27FC236}">
                <a16:creationId xmlns:a16="http://schemas.microsoft.com/office/drawing/2014/main" id="{EC96F2F1-1598-4C10-9947-5DCDCF3C31A6}"/>
              </a:ext>
            </a:extLst>
          </p:cNvPr>
          <p:cNvGrpSpPr/>
          <p:nvPr/>
        </p:nvGrpSpPr>
        <p:grpSpPr>
          <a:xfrm>
            <a:off x="5555699" y="2535613"/>
            <a:ext cx="174262" cy="140400"/>
            <a:chOff x="711118" y="4181908"/>
            <a:chExt cx="163648" cy="140400"/>
          </a:xfrm>
        </p:grpSpPr>
        <p:sp>
          <p:nvSpPr>
            <p:cNvPr id="289" name="사각형: 둥근 모서리 288">
              <a:extLst>
                <a:ext uri="{FF2B5EF4-FFF2-40B4-BE49-F238E27FC236}">
                  <a16:creationId xmlns:a16="http://schemas.microsoft.com/office/drawing/2014/main" id="{D666021C-7A6D-497B-B43C-1241D8AE4E8F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90" name="직사각형 289">
              <a:extLst>
                <a:ext uri="{FF2B5EF4-FFF2-40B4-BE49-F238E27FC236}">
                  <a16:creationId xmlns:a16="http://schemas.microsoft.com/office/drawing/2014/main" id="{CF1709AB-085D-4998-9795-4D2108D7AF8E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ㄷ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41B35F1C-2B36-481B-834C-C72609D63A9C}"/>
              </a:ext>
            </a:extLst>
          </p:cNvPr>
          <p:cNvGrpSpPr/>
          <p:nvPr/>
        </p:nvGrpSpPr>
        <p:grpSpPr>
          <a:xfrm>
            <a:off x="5737436" y="2535613"/>
            <a:ext cx="174262" cy="140400"/>
            <a:chOff x="711118" y="4181908"/>
            <a:chExt cx="163648" cy="140400"/>
          </a:xfrm>
        </p:grpSpPr>
        <p:sp>
          <p:nvSpPr>
            <p:cNvPr id="287" name="사각형: 둥근 모서리 286">
              <a:extLst>
                <a:ext uri="{FF2B5EF4-FFF2-40B4-BE49-F238E27FC236}">
                  <a16:creationId xmlns:a16="http://schemas.microsoft.com/office/drawing/2014/main" id="{16D0890F-5971-4066-8404-DFF25585EAE7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88" name="직사각형 287">
              <a:extLst>
                <a:ext uri="{FF2B5EF4-FFF2-40B4-BE49-F238E27FC236}">
                  <a16:creationId xmlns:a16="http://schemas.microsoft.com/office/drawing/2014/main" id="{A04AC9A0-B4D8-4FD8-8638-B146D456A7B1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ㄹ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4" name="그룹 253">
            <a:extLst>
              <a:ext uri="{FF2B5EF4-FFF2-40B4-BE49-F238E27FC236}">
                <a16:creationId xmlns:a16="http://schemas.microsoft.com/office/drawing/2014/main" id="{2EED3FAA-CB40-47FE-97E8-9055A5064EE8}"/>
              </a:ext>
            </a:extLst>
          </p:cNvPr>
          <p:cNvGrpSpPr/>
          <p:nvPr/>
        </p:nvGrpSpPr>
        <p:grpSpPr>
          <a:xfrm>
            <a:off x="5919174" y="2535613"/>
            <a:ext cx="174262" cy="140400"/>
            <a:chOff x="711118" y="4181908"/>
            <a:chExt cx="163648" cy="140400"/>
          </a:xfrm>
        </p:grpSpPr>
        <p:sp>
          <p:nvSpPr>
            <p:cNvPr id="285" name="사각형: 둥근 모서리 284">
              <a:extLst>
                <a:ext uri="{FF2B5EF4-FFF2-40B4-BE49-F238E27FC236}">
                  <a16:creationId xmlns:a16="http://schemas.microsoft.com/office/drawing/2014/main" id="{A0DD5F9D-4412-4AD4-AE3F-16126CEF9109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86" name="직사각형 285">
              <a:extLst>
                <a:ext uri="{FF2B5EF4-FFF2-40B4-BE49-F238E27FC236}">
                  <a16:creationId xmlns:a16="http://schemas.microsoft.com/office/drawing/2014/main" id="{88FAE510-8E73-4C07-8BF6-9BAD618EEA34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ㅁ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5" name="그룹 254">
            <a:extLst>
              <a:ext uri="{FF2B5EF4-FFF2-40B4-BE49-F238E27FC236}">
                <a16:creationId xmlns:a16="http://schemas.microsoft.com/office/drawing/2014/main" id="{610AF185-FC27-4D16-ACC7-AF1366C677A3}"/>
              </a:ext>
            </a:extLst>
          </p:cNvPr>
          <p:cNvGrpSpPr/>
          <p:nvPr/>
        </p:nvGrpSpPr>
        <p:grpSpPr>
          <a:xfrm>
            <a:off x="6100912" y="2535613"/>
            <a:ext cx="174262" cy="140400"/>
            <a:chOff x="711118" y="4181908"/>
            <a:chExt cx="163648" cy="140400"/>
          </a:xfrm>
        </p:grpSpPr>
        <p:sp>
          <p:nvSpPr>
            <p:cNvPr id="283" name="사각형: 둥근 모서리 282">
              <a:extLst>
                <a:ext uri="{FF2B5EF4-FFF2-40B4-BE49-F238E27FC236}">
                  <a16:creationId xmlns:a16="http://schemas.microsoft.com/office/drawing/2014/main" id="{8978460A-7AC3-4763-B367-657707E51493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84" name="직사각형 283">
              <a:extLst>
                <a:ext uri="{FF2B5EF4-FFF2-40B4-BE49-F238E27FC236}">
                  <a16:creationId xmlns:a16="http://schemas.microsoft.com/office/drawing/2014/main" id="{3B24BBAA-9AD5-4F99-818D-81BDBAA2004A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ㅂ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6" name="그룹 255">
            <a:extLst>
              <a:ext uri="{FF2B5EF4-FFF2-40B4-BE49-F238E27FC236}">
                <a16:creationId xmlns:a16="http://schemas.microsoft.com/office/drawing/2014/main" id="{6D75EAF7-8085-4CA6-A612-6CE319EDE5E9}"/>
              </a:ext>
            </a:extLst>
          </p:cNvPr>
          <p:cNvGrpSpPr/>
          <p:nvPr/>
        </p:nvGrpSpPr>
        <p:grpSpPr>
          <a:xfrm>
            <a:off x="6282648" y="2535613"/>
            <a:ext cx="174262" cy="140400"/>
            <a:chOff x="711118" y="4181908"/>
            <a:chExt cx="163648" cy="140400"/>
          </a:xfrm>
        </p:grpSpPr>
        <p:sp>
          <p:nvSpPr>
            <p:cNvPr id="281" name="사각형: 둥근 모서리 280">
              <a:extLst>
                <a:ext uri="{FF2B5EF4-FFF2-40B4-BE49-F238E27FC236}">
                  <a16:creationId xmlns:a16="http://schemas.microsoft.com/office/drawing/2014/main" id="{1AF06FB8-EB9C-4154-8833-709CF5DA7E61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82" name="직사각형 281">
              <a:extLst>
                <a:ext uri="{FF2B5EF4-FFF2-40B4-BE49-F238E27FC236}">
                  <a16:creationId xmlns:a16="http://schemas.microsoft.com/office/drawing/2014/main" id="{BF20E466-0BF8-42A9-8957-85156BFC3FA2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ㅅ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7" name="그룹 256">
            <a:extLst>
              <a:ext uri="{FF2B5EF4-FFF2-40B4-BE49-F238E27FC236}">
                <a16:creationId xmlns:a16="http://schemas.microsoft.com/office/drawing/2014/main" id="{956BDC7E-16D4-4047-92BD-6F7287DD535B}"/>
              </a:ext>
            </a:extLst>
          </p:cNvPr>
          <p:cNvGrpSpPr/>
          <p:nvPr/>
        </p:nvGrpSpPr>
        <p:grpSpPr>
          <a:xfrm>
            <a:off x="6469660" y="2532145"/>
            <a:ext cx="174262" cy="140400"/>
            <a:chOff x="2252926" y="3997901"/>
            <a:chExt cx="163648" cy="140400"/>
          </a:xfrm>
        </p:grpSpPr>
        <p:sp>
          <p:nvSpPr>
            <p:cNvPr id="279" name="사각형: 둥근 모서리 278">
              <a:extLst>
                <a:ext uri="{FF2B5EF4-FFF2-40B4-BE49-F238E27FC236}">
                  <a16:creationId xmlns:a16="http://schemas.microsoft.com/office/drawing/2014/main" id="{441BEBA3-4233-41D2-9FD5-5210D492DF46}"/>
                </a:ext>
              </a:extLst>
            </p:cNvPr>
            <p:cNvSpPr/>
            <p:nvPr/>
          </p:nvSpPr>
          <p:spPr>
            <a:xfrm>
              <a:off x="2264546" y="3997901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91F2CA04-78A5-4073-9D39-EABEC4F648D4}"/>
                </a:ext>
              </a:extLst>
            </p:cNvPr>
            <p:cNvSpPr/>
            <p:nvPr/>
          </p:nvSpPr>
          <p:spPr>
            <a:xfrm>
              <a:off x="2252926" y="3997912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ㅇ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8" name="그룹 257">
            <a:extLst>
              <a:ext uri="{FF2B5EF4-FFF2-40B4-BE49-F238E27FC236}">
                <a16:creationId xmlns:a16="http://schemas.microsoft.com/office/drawing/2014/main" id="{A5B4972E-E4FB-4361-9BEF-01F10BB6C1AB}"/>
              </a:ext>
            </a:extLst>
          </p:cNvPr>
          <p:cNvGrpSpPr/>
          <p:nvPr/>
        </p:nvGrpSpPr>
        <p:grpSpPr>
          <a:xfrm>
            <a:off x="4829954" y="2716152"/>
            <a:ext cx="174262" cy="140400"/>
            <a:chOff x="711118" y="4181908"/>
            <a:chExt cx="163648" cy="140400"/>
          </a:xfrm>
        </p:grpSpPr>
        <p:sp>
          <p:nvSpPr>
            <p:cNvPr id="277" name="사각형: 둥근 모서리 276">
              <a:extLst>
                <a:ext uri="{FF2B5EF4-FFF2-40B4-BE49-F238E27FC236}">
                  <a16:creationId xmlns:a16="http://schemas.microsoft.com/office/drawing/2014/main" id="{D47E489D-A465-44D4-86BE-B398AC931A31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B8717DD4-3A7E-474C-B938-40FA25B30690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ㅈ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59" name="그룹 258">
            <a:extLst>
              <a:ext uri="{FF2B5EF4-FFF2-40B4-BE49-F238E27FC236}">
                <a16:creationId xmlns:a16="http://schemas.microsoft.com/office/drawing/2014/main" id="{3092E45D-DC65-42E5-81DE-C92E77B7754B}"/>
              </a:ext>
            </a:extLst>
          </p:cNvPr>
          <p:cNvGrpSpPr/>
          <p:nvPr/>
        </p:nvGrpSpPr>
        <p:grpSpPr>
          <a:xfrm>
            <a:off x="5011691" y="2716152"/>
            <a:ext cx="174262" cy="140400"/>
            <a:chOff x="711118" y="4181908"/>
            <a:chExt cx="163648" cy="140400"/>
          </a:xfrm>
        </p:grpSpPr>
        <p:sp>
          <p:nvSpPr>
            <p:cNvPr id="275" name="사각형: 둥근 모서리 274">
              <a:extLst>
                <a:ext uri="{FF2B5EF4-FFF2-40B4-BE49-F238E27FC236}">
                  <a16:creationId xmlns:a16="http://schemas.microsoft.com/office/drawing/2014/main" id="{1EECF9B5-997F-4C2A-94C1-85A5DEBECED4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A6F21FFF-16D0-4478-B427-DA2A410774CC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ㅊ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4474213E-451B-4EE4-8E07-72033A59A719}"/>
              </a:ext>
            </a:extLst>
          </p:cNvPr>
          <p:cNvGrpSpPr/>
          <p:nvPr/>
        </p:nvGrpSpPr>
        <p:grpSpPr>
          <a:xfrm>
            <a:off x="5193429" y="2716152"/>
            <a:ext cx="174262" cy="140400"/>
            <a:chOff x="711118" y="4181908"/>
            <a:chExt cx="163648" cy="140400"/>
          </a:xfrm>
        </p:grpSpPr>
        <p:sp>
          <p:nvSpPr>
            <p:cNvPr id="273" name="사각형: 둥근 모서리 272">
              <a:extLst>
                <a:ext uri="{FF2B5EF4-FFF2-40B4-BE49-F238E27FC236}">
                  <a16:creationId xmlns:a16="http://schemas.microsoft.com/office/drawing/2014/main" id="{5D615F0A-6605-4DBE-9107-2F9340A7DBD5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74" name="직사각형 273">
              <a:extLst>
                <a:ext uri="{FF2B5EF4-FFF2-40B4-BE49-F238E27FC236}">
                  <a16:creationId xmlns:a16="http://schemas.microsoft.com/office/drawing/2014/main" id="{3FBACE82-AD6F-4521-AE19-F7B6642ED426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ㅋ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61" name="그룹 260">
            <a:extLst>
              <a:ext uri="{FF2B5EF4-FFF2-40B4-BE49-F238E27FC236}">
                <a16:creationId xmlns:a16="http://schemas.microsoft.com/office/drawing/2014/main" id="{C75CB443-C832-4F39-AAE2-08B830CECE1F}"/>
              </a:ext>
            </a:extLst>
          </p:cNvPr>
          <p:cNvGrpSpPr/>
          <p:nvPr/>
        </p:nvGrpSpPr>
        <p:grpSpPr>
          <a:xfrm>
            <a:off x="5375167" y="2716152"/>
            <a:ext cx="174262" cy="140400"/>
            <a:chOff x="711118" y="4181908"/>
            <a:chExt cx="163648" cy="140400"/>
          </a:xfrm>
        </p:grpSpPr>
        <p:sp>
          <p:nvSpPr>
            <p:cNvPr id="271" name="사각형: 둥근 모서리 270">
              <a:extLst>
                <a:ext uri="{FF2B5EF4-FFF2-40B4-BE49-F238E27FC236}">
                  <a16:creationId xmlns:a16="http://schemas.microsoft.com/office/drawing/2014/main" id="{73082FA9-ADFD-437A-9DE0-A2160313CE5A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72" name="직사각형 271">
              <a:extLst>
                <a:ext uri="{FF2B5EF4-FFF2-40B4-BE49-F238E27FC236}">
                  <a16:creationId xmlns:a16="http://schemas.microsoft.com/office/drawing/2014/main" id="{0C979A5B-FC4A-46D8-B1FE-0E402E68189C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ㅌ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62" name="그룹 261">
            <a:extLst>
              <a:ext uri="{FF2B5EF4-FFF2-40B4-BE49-F238E27FC236}">
                <a16:creationId xmlns:a16="http://schemas.microsoft.com/office/drawing/2014/main" id="{172F47BD-3DB9-46EE-8F32-FD14937AF189}"/>
              </a:ext>
            </a:extLst>
          </p:cNvPr>
          <p:cNvGrpSpPr/>
          <p:nvPr/>
        </p:nvGrpSpPr>
        <p:grpSpPr>
          <a:xfrm>
            <a:off x="5556905" y="2716152"/>
            <a:ext cx="174262" cy="140400"/>
            <a:chOff x="711118" y="4181908"/>
            <a:chExt cx="163648" cy="140400"/>
          </a:xfrm>
        </p:grpSpPr>
        <p:sp>
          <p:nvSpPr>
            <p:cNvPr id="269" name="사각형: 둥근 모서리 268">
              <a:extLst>
                <a:ext uri="{FF2B5EF4-FFF2-40B4-BE49-F238E27FC236}">
                  <a16:creationId xmlns:a16="http://schemas.microsoft.com/office/drawing/2014/main" id="{33F4D8A1-862B-4FD8-B32F-9D0E1852DCD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70" name="직사각형 269">
              <a:extLst>
                <a:ext uri="{FF2B5EF4-FFF2-40B4-BE49-F238E27FC236}">
                  <a16:creationId xmlns:a16="http://schemas.microsoft.com/office/drawing/2014/main" id="{2187EA51-3E8C-4432-9F1D-01EFD9081605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ㅍ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3D8A08B-A31D-4CA5-B5CE-1F6ED426023E}"/>
              </a:ext>
            </a:extLst>
          </p:cNvPr>
          <p:cNvGrpSpPr/>
          <p:nvPr/>
        </p:nvGrpSpPr>
        <p:grpSpPr>
          <a:xfrm>
            <a:off x="5738640" y="2716152"/>
            <a:ext cx="174262" cy="140400"/>
            <a:chOff x="711118" y="4181908"/>
            <a:chExt cx="163648" cy="140400"/>
          </a:xfrm>
        </p:grpSpPr>
        <p:sp>
          <p:nvSpPr>
            <p:cNvPr id="267" name="사각형: 둥근 모서리 266">
              <a:extLst>
                <a:ext uri="{FF2B5EF4-FFF2-40B4-BE49-F238E27FC236}">
                  <a16:creationId xmlns:a16="http://schemas.microsoft.com/office/drawing/2014/main" id="{61942FDE-DD78-448D-8EAD-AB58F4692BC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68" name="직사각형 267">
              <a:extLst>
                <a:ext uri="{FF2B5EF4-FFF2-40B4-BE49-F238E27FC236}">
                  <a16:creationId xmlns:a16="http://schemas.microsoft.com/office/drawing/2014/main" id="{AFA33DBB-CA58-4331-89C0-633080B9B63A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ㅎ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64" name="그룹 263">
            <a:extLst>
              <a:ext uri="{FF2B5EF4-FFF2-40B4-BE49-F238E27FC236}">
                <a16:creationId xmlns:a16="http://schemas.microsoft.com/office/drawing/2014/main" id="{C2E35CB8-0400-4A9E-8B86-A713DC833706}"/>
              </a:ext>
            </a:extLst>
          </p:cNvPr>
          <p:cNvGrpSpPr/>
          <p:nvPr/>
        </p:nvGrpSpPr>
        <p:grpSpPr>
          <a:xfrm>
            <a:off x="5873616" y="2716152"/>
            <a:ext cx="452807" cy="140400"/>
            <a:chOff x="662857" y="4181908"/>
            <a:chExt cx="425226" cy="140400"/>
          </a:xfrm>
        </p:grpSpPr>
        <p:sp>
          <p:nvSpPr>
            <p:cNvPr id="265" name="사각형: 둥근 모서리 264">
              <a:extLst>
                <a:ext uri="{FF2B5EF4-FFF2-40B4-BE49-F238E27FC236}">
                  <a16:creationId xmlns:a16="http://schemas.microsoft.com/office/drawing/2014/main" id="{3761CDFE-4E4C-4D8D-B660-99EB5BBD2BDC}"/>
                </a:ext>
              </a:extLst>
            </p:cNvPr>
            <p:cNvSpPr/>
            <p:nvPr/>
          </p:nvSpPr>
          <p:spPr>
            <a:xfrm>
              <a:off x="718393" y="4181908"/>
              <a:ext cx="310204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266" name="직사각형 265">
              <a:extLst>
                <a:ext uri="{FF2B5EF4-FFF2-40B4-BE49-F238E27FC236}">
                  <a16:creationId xmlns:a16="http://schemas.microsoft.com/office/drawing/2014/main" id="{3EB194AF-BD88-4F6E-9540-6B874EBC9AB1}"/>
                </a:ext>
              </a:extLst>
            </p:cNvPr>
            <p:cNvSpPr/>
            <p:nvPr/>
          </p:nvSpPr>
          <p:spPr>
            <a:xfrm>
              <a:off x="662857" y="4181908"/>
              <a:ext cx="425226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A-Z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95" name="그룹 294">
            <a:extLst>
              <a:ext uri="{FF2B5EF4-FFF2-40B4-BE49-F238E27FC236}">
                <a16:creationId xmlns:a16="http://schemas.microsoft.com/office/drawing/2014/main" id="{A1385CC5-40E1-4B2E-8CF3-EA7E8FD6B6C9}"/>
              </a:ext>
            </a:extLst>
          </p:cNvPr>
          <p:cNvGrpSpPr/>
          <p:nvPr/>
        </p:nvGrpSpPr>
        <p:grpSpPr>
          <a:xfrm>
            <a:off x="4849010" y="3410215"/>
            <a:ext cx="1510940" cy="142271"/>
            <a:chOff x="408596" y="2468563"/>
            <a:chExt cx="1510940" cy="142271"/>
          </a:xfrm>
        </p:grpSpPr>
        <p:pic>
          <p:nvPicPr>
            <p:cNvPr id="296" name="그림 295">
              <a:extLst>
                <a:ext uri="{FF2B5EF4-FFF2-40B4-BE49-F238E27FC236}">
                  <a16:creationId xmlns:a16="http://schemas.microsoft.com/office/drawing/2014/main" id="{11CFD6AE-9126-4661-8E6B-72BAD4C4A2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4E13B051-8FEB-4F7C-BF76-97808DD5033D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감독원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)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298" name="그룹 297">
            <a:extLst>
              <a:ext uri="{FF2B5EF4-FFF2-40B4-BE49-F238E27FC236}">
                <a16:creationId xmlns:a16="http://schemas.microsoft.com/office/drawing/2014/main" id="{E658AC54-97A8-4DF9-A787-50F3CA36EB79}"/>
              </a:ext>
            </a:extLst>
          </p:cNvPr>
          <p:cNvGrpSpPr/>
          <p:nvPr/>
        </p:nvGrpSpPr>
        <p:grpSpPr>
          <a:xfrm>
            <a:off x="4843711" y="3633750"/>
            <a:ext cx="1510940" cy="142271"/>
            <a:chOff x="408596" y="2468563"/>
            <a:chExt cx="1510940" cy="142271"/>
          </a:xfrm>
        </p:grpSpPr>
        <p:pic>
          <p:nvPicPr>
            <p:cNvPr id="299" name="그림 298">
              <a:extLst>
                <a:ext uri="{FF2B5EF4-FFF2-40B4-BE49-F238E27FC236}">
                  <a16:creationId xmlns:a16="http://schemas.microsoft.com/office/drawing/2014/main" id="{B58E76CE-0A68-4B4D-AB00-96F4FEC33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5969732D-0B0F-4606-A097-8D838349F0B7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감독원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)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301" name="그룹 300">
            <a:extLst>
              <a:ext uri="{FF2B5EF4-FFF2-40B4-BE49-F238E27FC236}">
                <a16:creationId xmlns:a16="http://schemas.microsoft.com/office/drawing/2014/main" id="{1C1E5D15-4D4D-45C7-9530-CFA33942CE64}"/>
              </a:ext>
            </a:extLst>
          </p:cNvPr>
          <p:cNvGrpSpPr/>
          <p:nvPr/>
        </p:nvGrpSpPr>
        <p:grpSpPr>
          <a:xfrm>
            <a:off x="4849001" y="3862086"/>
            <a:ext cx="1510940" cy="142271"/>
            <a:chOff x="408596" y="2468563"/>
            <a:chExt cx="1510940" cy="142271"/>
          </a:xfrm>
        </p:grpSpPr>
        <p:pic>
          <p:nvPicPr>
            <p:cNvPr id="302" name="그림 301">
              <a:extLst>
                <a:ext uri="{FF2B5EF4-FFF2-40B4-BE49-F238E27FC236}">
                  <a16:creationId xmlns:a16="http://schemas.microsoft.com/office/drawing/2014/main" id="{583AB40D-38D3-4220-BC39-08292E406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226A8B02-FEFA-46B7-80AA-02CB348F5C2F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대신경제연구소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311" name="직사각형 310">
            <a:extLst>
              <a:ext uri="{FF2B5EF4-FFF2-40B4-BE49-F238E27FC236}">
                <a16:creationId xmlns:a16="http://schemas.microsoft.com/office/drawing/2014/main" id="{99E5DB36-5AF8-412B-A605-16FAC102298E}"/>
              </a:ext>
            </a:extLst>
          </p:cNvPr>
          <p:cNvSpPr/>
          <p:nvPr/>
        </p:nvSpPr>
        <p:spPr>
          <a:xfrm>
            <a:off x="4961099" y="4085405"/>
            <a:ext cx="1515387" cy="18129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5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출처 전체보기  </a:t>
            </a:r>
            <a:r>
              <a:rPr lang="en-US" altLang="ko-KR" sz="5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rPr>
              <a:t>&gt;</a:t>
            </a:r>
            <a:endParaRPr lang="ko-KR" altLang="en-US" sz="5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312" name="그룹 311">
            <a:extLst>
              <a:ext uri="{FF2B5EF4-FFF2-40B4-BE49-F238E27FC236}">
                <a16:creationId xmlns:a16="http://schemas.microsoft.com/office/drawing/2014/main" id="{1584C2F3-D142-4F49-B845-2CA91CF0ED03}"/>
              </a:ext>
            </a:extLst>
          </p:cNvPr>
          <p:cNvGrpSpPr/>
          <p:nvPr/>
        </p:nvGrpSpPr>
        <p:grpSpPr>
          <a:xfrm>
            <a:off x="4829954" y="1277825"/>
            <a:ext cx="1853322" cy="584449"/>
            <a:chOff x="2637480" y="3156318"/>
            <a:chExt cx="1853322" cy="584449"/>
          </a:xfrm>
        </p:grpSpPr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4EFED4B7-D2E0-4330-A387-E77A2110B8D0}"/>
                </a:ext>
              </a:extLst>
            </p:cNvPr>
            <p:cNvSpPr txBox="1"/>
            <p:nvPr/>
          </p:nvSpPr>
          <p:spPr>
            <a:xfrm>
              <a:off x="2637480" y="3156318"/>
              <a:ext cx="185332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언어        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grpSp>
          <p:nvGrpSpPr>
            <p:cNvPr id="391" name="그룹 390">
              <a:extLst>
                <a:ext uri="{FF2B5EF4-FFF2-40B4-BE49-F238E27FC236}">
                  <a16:creationId xmlns:a16="http://schemas.microsoft.com/office/drawing/2014/main" id="{B23AF72E-BFF8-4E5D-8691-7F4D0A7A42C1}"/>
                </a:ext>
              </a:extLst>
            </p:cNvPr>
            <p:cNvGrpSpPr/>
            <p:nvPr/>
          </p:nvGrpSpPr>
          <p:grpSpPr>
            <a:xfrm>
              <a:off x="2648433" y="3378912"/>
              <a:ext cx="1510940" cy="142271"/>
              <a:chOff x="408596" y="2267267"/>
              <a:chExt cx="1510940" cy="142271"/>
            </a:xfrm>
          </p:grpSpPr>
          <p:pic>
            <p:nvPicPr>
              <p:cNvPr id="395" name="그림 394">
                <a:extLst>
                  <a:ext uri="{FF2B5EF4-FFF2-40B4-BE49-F238E27FC236}">
                    <a16:creationId xmlns:a16="http://schemas.microsoft.com/office/drawing/2014/main" id="{E7FC4FA6-2159-408F-8E41-950E02118E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96" name="TextBox 395">
                <a:extLst>
                  <a:ext uri="{FF2B5EF4-FFF2-40B4-BE49-F238E27FC236}">
                    <a16:creationId xmlns:a16="http://schemas.microsoft.com/office/drawing/2014/main" id="{3DB955D1-34D7-4837-9BAD-640F652032A0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국문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92" name="그룹 391">
              <a:extLst>
                <a:ext uri="{FF2B5EF4-FFF2-40B4-BE49-F238E27FC236}">
                  <a16:creationId xmlns:a16="http://schemas.microsoft.com/office/drawing/2014/main" id="{D84D96B6-C77F-49EB-93F5-34EC5BF3862B}"/>
                </a:ext>
              </a:extLst>
            </p:cNvPr>
            <p:cNvGrpSpPr/>
            <p:nvPr/>
          </p:nvGrpSpPr>
          <p:grpSpPr>
            <a:xfrm>
              <a:off x="2648433" y="3598496"/>
              <a:ext cx="1510940" cy="142271"/>
              <a:chOff x="408596" y="2468563"/>
              <a:chExt cx="1510940" cy="142271"/>
            </a:xfrm>
          </p:grpSpPr>
          <p:pic>
            <p:nvPicPr>
              <p:cNvPr id="393" name="그림 392">
                <a:extLst>
                  <a:ext uri="{FF2B5EF4-FFF2-40B4-BE49-F238E27FC236}">
                    <a16:creationId xmlns:a16="http://schemas.microsoft.com/office/drawing/2014/main" id="{91E37C15-ADE3-442F-AFCE-CEC734F52F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94" name="TextBox 393">
                <a:extLst>
                  <a:ext uri="{FF2B5EF4-FFF2-40B4-BE49-F238E27FC236}">
                    <a16:creationId xmlns:a16="http://schemas.microsoft.com/office/drawing/2014/main" id="{D40D8566-3D7A-4C45-8825-36D550F483D4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영문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7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397" name="직사각형 396">
            <a:extLst>
              <a:ext uri="{FF2B5EF4-FFF2-40B4-BE49-F238E27FC236}">
                <a16:creationId xmlns:a16="http://schemas.microsoft.com/office/drawing/2014/main" id="{CA968F24-737F-4FB7-AE36-9500188C98BB}"/>
              </a:ext>
            </a:extLst>
          </p:cNvPr>
          <p:cNvSpPr/>
          <p:nvPr/>
        </p:nvSpPr>
        <p:spPr>
          <a:xfrm>
            <a:off x="4722559" y="1100484"/>
            <a:ext cx="1992469" cy="5568876"/>
          </a:xfrm>
          <a:prstGeom prst="rect">
            <a:avLst/>
          </a:prstGeom>
          <a:noFill/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398" name="직선 연결선 397">
            <a:extLst>
              <a:ext uri="{FF2B5EF4-FFF2-40B4-BE49-F238E27FC236}">
                <a16:creationId xmlns:a16="http://schemas.microsoft.com/office/drawing/2014/main" id="{F6A5401F-9E18-47F3-B42D-09959CB34249}"/>
              </a:ext>
            </a:extLst>
          </p:cNvPr>
          <p:cNvCxnSpPr>
            <a:cxnSpLocks/>
          </p:cNvCxnSpPr>
          <p:nvPr/>
        </p:nvCxnSpPr>
        <p:spPr>
          <a:xfrm>
            <a:off x="4807180" y="1981704"/>
            <a:ext cx="1862854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99" name="직선 연결선 398">
            <a:extLst>
              <a:ext uri="{FF2B5EF4-FFF2-40B4-BE49-F238E27FC236}">
                <a16:creationId xmlns:a16="http://schemas.microsoft.com/office/drawing/2014/main" id="{5E1C64ED-40B6-4985-A91F-F039CD2FDF7F}"/>
              </a:ext>
            </a:extLst>
          </p:cNvPr>
          <p:cNvCxnSpPr>
            <a:cxnSpLocks/>
          </p:cNvCxnSpPr>
          <p:nvPr/>
        </p:nvCxnSpPr>
        <p:spPr>
          <a:xfrm>
            <a:off x="4768261" y="4299833"/>
            <a:ext cx="1862854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400" name="그룹 399">
            <a:extLst>
              <a:ext uri="{FF2B5EF4-FFF2-40B4-BE49-F238E27FC236}">
                <a16:creationId xmlns:a16="http://schemas.microsoft.com/office/drawing/2014/main" id="{D73FA17D-83E5-4517-B6F5-871D2D6E4F5C}"/>
              </a:ext>
            </a:extLst>
          </p:cNvPr>
          <p:cNvGrpSpPr/>
          <p:nvPr/>
        </p:nvGrpSpPr>
        <p:grpSpPr>
          <a:xfrm>
            <a:off x="4763901" y="5589240"/>
            <a:ext cx="1882574" cy="1263492"/>
            <a:chOff x="4527726" y="1856359"/>
            <a:chExt cx="1882574" cy="1263492"/>
          </a:xfrm>
        </p:grpSpPr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C08F0231-0892-4F8E-A86B-9A33143404E4}"/>
                </a:ext>
              </a:extLst>
            </p:cNvPr>
            <p:cNvSpPr txBox="1"/>
            <p:nvPr/>
          </p:nvSpPr>
          <p:spPr>
            <a:xfrm>
              <a:off x="4572910" y="1930054"/>
              <a:ext cx="1837390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영상분량   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grpSp>
          <p:nvGrpSpPr>
            <p:cNvPr id="402" name="그룹 401">
              <a:extLst>
                <a:ext uri="{FF2B5EF4-FFF2-40B4-BE49-F238E27FC236}">
                  <a16:creationId xmlns:a16="http://schemas.microsoft.com/office/drawing/2014/main" id="{7646159A-5F07-4A67-AB1C-39E2731C9EA9}"/>
                </a:ext>
              </a:extLst>
            </p:cNvPr>
            <p:cNvGrpSpPr/>
            <p:nvPr/>
          </p:nvGrpSpPr>
          <p:grpSpPr>
            <a:xfrm>
              <a:off x="4592427" y="2178473"/>
              <a:ext cx="1510940" cy="142271"/>
              <a:chOff x="408596" y="2267267"/>
              <a:chExt cx="1510940" cy="142271"/>
            </a:xfrm>
          </p:grpSpPr>
          <p:pic>
            <p:nvPicPr>
              <p:cNvPr id="435" name="그림 434">
                <a:extLst>
                  <a:ext uri="{FF2B5EF4-FFF2-40B4-BE49-F238E27FC236}">
                    <a16:creationId xmlns:a16="http://schemas.microsoft.com/office/drawing/2014/main" id="{E173007C-276F-4433-B676-652BA85FB8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36" name="TextBox 435">
                <a:extLst>
                  <a:ext uri="{FF2B5EF4-FFF2-40B4-BE49-F238E27FC236}">
                    <a16:creationId xmlns:a16="http://schemas.microsoft.com/office/drawing/2014/main" id="{6C7A320D-A9C8-410E-A1D3-AEA8EC2CD919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미만 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03" name="그룹 402">
              <a:extLst>
                <a:ext uri="{FF2B5EF4-FFF2-40B4-BE49-F238E27FC236}">
                  <a16:creationId xmlns:a16="http://schemas.microsoft.com/office/drawing/2014/main" id="{E22E3654-BCFD-4147-8B4D-5B3C4BBCD762}"/>
                </a:ext>
              </a:extLst>
            </p:cNvPr>
            <p:cNvGrpSpPr/>
            <p:nvPr/>
          </p:nvGrpSpPr>
          <p:grpSpPr>
            <a:xfrm>
              <a:off x="4592427" y="2398057"/>
              <a:ext cx="1510940" cy="142271"/>
              <a:chOff x="408596" y="2468563"/>
              <a:chExt cx="1510940" cy="142271"/>
            </a:xfrm>
          </p:grpSpPr>
          <p:pic>
            <p:nvPicPr>
              <p:cNvPr id="433" name="그림 432">
                <a:extLst>
                  <a:ext uri="{FF2B5EF4-FFF2-40B4-BE49-F238E27FC236}">
                    <a16:creationId xmlns:a16="http://schemas.microsoft.com/office/drawing/2014/main" id="{92A9668C-D037-4D97-A23C-FE8DD3A00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34" name="TextBox 433">
                <a:extLst>
                  <a:ext uri="{FF2B5EF4-FFF2-40B4-BE49-F238E27FC236}">
                    <a16:creationId xmlns:a16="http://schemas.microsoft.com/office/drawing/2014/main" id="{AEAA6EAA-3CB9-43B6-A06C-CFD55B0F820C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～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8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418" name="그룹 417">
              <a:extLst>
                <a:ext uri="{FF2B5EF4-FFF2-40B4-BE49-F238E27FC236}">
                  <a16:creationId xmlns:a16="http://schemas.microsoft.com/office/drawing/2014/main" id="{A2095997-5A40-4A1B-8156-79DC1BE8525E}"/>
                </a:ext>
              </a:extLst>
            </p:cNvPr>
            <p:cNvGrpSpPr/>
            <p:nvPr/>
          </p:nvGrpSpPr>
          <p:grpSpPr>
            <a:xfrm>
              <a:off x="4592427" y="2621592"/>
              <a:ext cx="1510940" cy="142271"/>
              <a:chOff x="408596" y="2267267"/>
              <a:chExt cx="1510940" cy="142271"/>
            </a:xfrm>
          </p:grpSpPr>
          <p:pic>
            <p:nvPicPr>
              <p:cNvPr id="421" name="그림 420">
                <a:extLst>
                  <a:ext uri="{FF2B5EF4-FFF2-40B4-BE49-F238E27FC236}">
                    <a16:creationId xmlns:a16="http://schemas.microsoft.com/office/drawing/2014/main" id="{1271FC38-0530-4347-BA97-A736E5C44D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432" name="TextBox 431">
                <a:extLst>
                  <a:ext uri="{FF2B5EF4-FFF2-40B4-BE49-F238E27FC236}">
                    <a16:creationId xmlns:a16="http://schemas.microsoft.com/office/drawing/2014/main" id="{2C10C3E4-14C8-43E6-9015-77A64FE6BF37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30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분 초과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sp>
          <p:nvSpPr>
            <p:cNvPr id="420" name="직사각형 419">
              <a:extLst>
                <a:ext uri="{FF2B5EF4-FFF2-40B4-BE49-F238E27FC236}">
                  <a16:creationId xmlns:a16="http://schemas.microsoft.com/office/drawing/2014/main" id="{19982984-1379-429E-97C7-83AF8A4E1C11}"/>
                </a:ext>
              </a:extLst>
            </p:cNvPr>
            <p:cNvSpPr/>
            <p:nvPr/>
          </p:nvSpPr>
          <p:spPr>
            <a:xfrm>
              <a:off x="4527726" y="1856359"/>
              <a:ext cx="1646896" cy="126349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/>
            </a:p>
          </p:txBody>
        </p:sp>
      </p:grpSp>
      <p:cxnSp>
        <p:nvCxnSpPr>
          <p:cNvPr id="439" name="직선 연결선 438">
            <a:extLst>
              <a:ext uri="{FF2B5EF4-FFF2-40B4-BE49-F238E27FC236}">
                <a16:creationId xmlns:a16="http://schemas.microsoft.com/office/drawing/2014/main" id="{73E18F3D-D6FB-450B-8666-DEA4CE4EE6BE}"/>
              </a:ext>
            </a:extLst>
          </p:cNvPr>
          <p:cNvCxnSpPr>
            <a:cxnSpLocks/>
          </p:cNvCxnSpPr>
          <p:nvPr/>
        </p:nvCxnSpPr>
        <p:spPr>
          <a:xfrm>
            <a:off x="4782616" y="5565374"/>
            <a:ext cx="1873720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441" name="그룹 440">
            <a:extLst>
              <a:ext uri="{FF2B5EF4-FFF2-40B4-BE49-F238E27FC236}">
                <a16:creationId xmlns:a16="http://schemas.microsoft.com/office/drawing/2014/main" id="{6D00ABB0-0B1E-48EE-89A7-90400180F0FD}"/>
              </a:ext>
            </a:extLst>
          </p:cNvPr>
          <p:cNvGrpSpPr/>
          <p:nvPr/>
        </p:nvGrpSpPr>
        <p:grpSpPr>
          <a:xfrm>
            <a:off x="7149706" y="2532821"/>
            <a:ext cx="161698" cy="147140"/>
            <a:chOff x="711118" y="4181908"/>
            <a:chExt cx="163648" cy="140400"/>
          </a:xfrm>
        </p:grpSpPr>
        <p:sp>
          <p:nvSpPr>
            <p:cNvPr id="528" name="사각형: 둥근 모서리 527">
              <a:extLst>
                <a:ext uri="{FF2B5EF4-FFF2-40B4-BE49-F238E27FC236}">
                  <a16:creationId xmlns:a16="http://schemas.microsoft.com/office/drawing/2014/main" id="{9F0BB3C1-F950-4056-BA57-8958B5A3848C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29" name="직사각형 528">
              <a:extLst>
                <a:ext uri="{FF2B5EF4-FFF2-40B4-BE49-F238E27FC236}">
                  <a16:creationId xmlns:a16="http://schemas.microsoft.com/office/drawing/2014/main" id="{F7D0CCEF-8F88-41B2-9A33-3A77DF577499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A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2" name="그룹 441">
            <a:extLst>
              <a:ext uri="{FF2B5EF4-FFF2-40B4-BE49-F238E27FC236}">
                <a16:creationId xmlns:a16="http://schemas.microsoft.com/office/drawing/2014/main" id="{2934DA02-FBC6-48F3-A66B-A5D43D26C8F0}"/>
              </a:ext>
            </a:extLst>
          </p:cNvPr>
          <p:cNvGrpSpPr/>
          <p:nvPr/>
        </p:nvGrpSpPr>
        <p:grpSpPr>
          <a:xfrm>
            <a:off x="7318340" y="2532821"/>
            <a:ext cx="161698" cy="147140"/>
            <a:chOff x="711118" y="4181908"/>
            <a:chExt cx="163648" cy="140400"/>
          </a:xfrm>
        </p:grpSpPr>
        <p:sp>
          <p:nvSpPr>
            <p:cNvPr id="526" name="사각형: 둥근 모서리 525">
              <a:extLst>
                <a:ext uri="{FF2B5EF4-FFF2-40B4-BE49-F238E27FC236}">
                  <a16:creationId xmlns:a16="http://schemas.microsoft.com/office/drawing/2014/main" id="{2A2B54C6-0EE1-4BA4-B6E9-C745D8F3A1AC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27" name="직사각형 526">
              <a:extLst>
                <a:ext uri="{FF2B5EF4-FFF2-40B4-BE49-F238E27FC236}">
                  <a16:creationId xmlns:a16="http://schemas.microsoft.com/office/drawing/2014/main" id="{784957A6-7B1E-4C8A-B5CB-571801EC4F14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B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3" name="그룹 442">
            <a:extLst>
              <a:ext uri="{FF2B5EF4-FFF2-40B4-BE49-F238E27FC236}">
                <a16:creationId xmlns:a16="http://schemas.microsoft.com/office/drawing/2014/main" id="{1F0E3063-D6B7-442C-A083-D65FD4DF1FA7}"/>
              </a:ext>
            </a:extLst>
          </p:cNvPr>
          <p:cNvGrpSpPr/>
          <p:nvPr/>
        </p:nvGrpSpPr>
        <p:grpSpPr>
          <a:xfrm>
            <a:off x="7496459" y="2536581"/>
            <a:ext cx="161698" cy="147140"/>
            <a:chOff x="711118" y="4181908"/>
            <a:chExt cx="163648" cy="140400"/>
          </a:xfrm>
        </p:grpSpPr>
        <p:sp>
          <p:nvSpPr>
            <p:cNvPr id="524" name="사각형: 둥근 모서리 523">
              <a:extLst>
                <a:ext uri="{FF2B5EF4-FFF2-40B4-BE49-F238E27FC236}">
                  <a16:creationId xmlns:a16="http://schemas.microsoft.com/office/drawing/2014/main" id="{95E85AF2-49E5-4087-9CBC-C9EB8AE10174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25" name="직사각형 524">
              <a:extLst>
                <a:ext uri="{FF2B5EF4-FFF2-40B4-BE49-F238E27FC236}">
                  <a16:creationId xmlns:a16="http://schemas.microsoft.com/office/drawing/2014/main" id="{2F46E5E2-F4FD-48F4-89B5-2840E65E6610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C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4" name="그룹 443">
            <a:extLst>
              <a:ext uri="{FF2B5EF4-FFF2-40B4-BE49-F238E27FC236}">
                <a16:creationId xmlns:a16="http://schemas.microsoft.com/office/drawing/2014/main" id="{B14952D7-86EA-408D-B644-781607E57D5B}"/>
              </a:ext>
            </a:extLst>
          </p:cNvPr>
          <p:cNvGrpSpPr/>
          <p:nvPr/>
        </p:nvGrpSpPr>
        <p:grpSpPr>
          <a:xfrm>
            <a:off x="7665093" y="2536581"/>
            <a:ext cx="161698" cy="147140"/>
            <a:chOff x="711118" y="4181908"/>
            <a:chExt cx="163648" cy="140400"/>
          </a:xfrm>
        </p:grpSpPr>
        <p:sp>
          <p:nvSpPr>
            <p:cNvPr id="522" name="사각형: 둥근 모서리 521">
              <a:extLst>
                <a:ext uri="{FF2B5EF4-FFF2-40B4-BE49-F238E27FC236}">
                  <a16:creationId xmlns:a16="http://schemas.microsoft.com/office/drawing/2014/main" id="{235F5E32-D0FC-481D-A5FF-2A76365869F5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23" name="직사각형 522">
              <a:extLst>
                <a:ext uri="{FF2B5EF4-FFF2-40B4-BE49-F238E27FC236}">
                  <a16:creationId xmlns:a16="http://schemas.microsoft.com/office/drawing/2014/main" id="{08242646-0D21-45C6-BDCC-CE16A16C33EA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D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5" name="그룹 444">
            <a:extLst>
              <a:ext uri="{FF2B5EF4-FFF2-40B4-BE49-F238E27FC236}">
                <a16:creationId xmlns:a16="http://schemas.microsoft.com/office/drawing/2014/main" id="{4E97E742-F7BB-472A-90E1-48F1E4C063A1}"/>
              </a:ext>
            </a:extLst>
          </p:cNvPr>
          <p:cNvGrpSpPr/>
          <p:nvPr/>
        </p:nvGrpSpPr>
        <p:grpSpPr>
          <a:xfrm>
            <a:off x="7833727" y="2536581"/>
            <a:ext cx="161698" cy="147140"/>
            <a:chOff x="711118" y="4181908"/>
            <a:chExt cx="163648" cy="140400"/>
          </a:xfrm>
        </p:grpSpPr>
        <p:sp>
          <p:nvSpPr>
            <p:cNvPr id="520" name="사각형: 둥근 모서리 519">
              <a:extLst>
                <a:ext uri="{FF2B5EF4-FFF2-40B4-BE49-F238E27FC236}">
                  <a16:creationId xmlns:a16="http://schemas.microsoft.com/office/drawing/2014/main" id="{76BA7406-08C4-4074-97D5-F5E52DC0212D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21" name="직사각형 520">
              <a:extLst>
                <a:ext uri="{FF2B5EF4-FFF2-40B4-BE49-F238E27FC236}">
                  <a16:creationId xmlns:a16="http://schemas.microsoft.com/office/drawing/2014/main" id="{D548F852-D6C0-4A97-91F8-5769CE53C6B7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E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6" name="그룹 445">
            <a:extLst>
              <a:ext uri="{FF2B5EF4-FFF2-40B4-BE49-F238E27FC236}">
                <a16:creationId xmlns:a16="http://schemas.microsoft.com/office/drawing/2014/main" id="{2BA74443-0B3B-44B8-B837-FBAA82D56319}"/>
              </a:ext>
            </a:extLst>
          </p:cNvPr>
          <p:cNvGrpSpPr/>
          <p:nvPr/>
        </p:nvGrpSpPr>
        <p:grpSpPr>
          <a:xfrm>
            <a:off x="8002362" y="2536581"/>
            <a:ext cx="161698" cy="147140"/>
            <a:chOff x="711118" y="4181908"/>
            <a:chExt cx="163648" cy="140400"/>
          </a:xfrm>
        </p:grpSpPr>
        <p:sp>
          <p:nvSpPr>
            <p:cNvPr id="518" name="사각형: 둥근 모서리 517">
              <a:extLst>
                <a:ext uri="{FF2B5EF4-FFF2-40B4-BE49-F238E27FC236}">
                  <a16:creationId xmlns:a16="http://schemas.microsoft.com/office/drawing/2014/main" id="{C78AB9AD-60B5-47F0-A2BC-BD57201FBBBA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19" name="직사각형 518">
              <a:extLst>
                <a:ext uri="{FF2B5EF4-FFF2-40B4-BE49-F238E27FC236}">
                  <a16:creationId xmlns:a16="http://schemas.microsoft.com/office/drawing/2014/main" id="{C5A33A42-1D48-4AEC-B0B1-4B3072DCC4D3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F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7" name="그룹 446">
            <a:extLst>
              <a:ext uri="{FF2B5EF4-FFF2-40B4-BE49-F238E27FC236}">
                <a16:creationId xmlns:a16="http://schemas.microsoft.com/office/drawing/2014/main" id="{86391C58-206F-4BC9-8BCC-F4591B1A9BEB}"/>
              </a:ext>
            </a:extLst>
          </p:cNvPr>
          <p:cNvGrpSpPr/>
          <p:nvPr/>
        </p:nvGrpSpPr>
        <p:grpSpPr>
          <a:xfrm>
            <a:off x="8170994" y="2536581"/>
            <a:ext cx="161698" cy="147140"/>
            <a:chOff x="711118" y="4181908"/>
            <a:chExt cx="163648" cy="140400"/>
          </a:xfrm>
        </p:grpSpPr>
        <p:sp>
          <p:nvSpPr>
            <p:cNvPr id="516" name="사각형: 둥근 모서리 515">
              <a:extLst>
                <a:ext uri="{FF2B5EF4-FFF2-40B4-BE49-F238E27FC236}">
                  <a16:creationId xmlns:a16="http://schemas.microsoft.com/office/drawing/2014/main" id="{BE40B07A-6CBF-4AFD-88C8-4DDA4ADEA1E3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17" name="직사각형 516">
              <a:extLst>
                <a:ext uri="{FF2B5EF4-FFF2-40B4-BE49-F238E27FC236}">
                  <a16:creationId xmlns:a16="http://schemas.microsoft.com/office/drawing/2014/main" id="{10C84A73-A9C9-49BA-909F-F28C91E4E876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G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8" name="그룹 447">
            <a:extLst>
              <a:ext uri="{FF2B5EF4-FFF2-40B4-BE49-F238E27FC236}">
                <a16:creationId xmlns:a16="http://schemas.microsoft.com/office/drawing/2014/main" id="{5CF64747-0FFD-4D47-BE43-5A5E475346D7}"/>
              </a:ext>
            </a:extLst>
          </p:cNvPr>
          <p:cNvGrpSpPr/>
          <p:nvPr/>
        </p:nvGrpSpPr>
        <p:grpSpPr>
          <a:xfrm>
            <a:off x="7784641" y="2913254"/>
            <a:ext cx="420159" cy="147140"/>
            <a:chOff x="658472" y="4181908"/>
            <a:chExt cx="425226" cy="140400"/>
          </a:xfrm>
        </p:grpSpPr>
        <p:sp>
          <p:nvSpPr>
            <p:cNvPr id="514" name="사각형: 둥근 모서리 513">
              <a:extLst>
                <a:ext uri="{FF2B5EF4-FFF2-40B4-BE49-F238E27FC236}">
                  <a16:creationId xmlns:a16="http://schemas.microsoft.com/office/drawing/2014/main" id="{49751992-BFA3-4CDB-80F1-0847254878B2}"/>
                </a:ext>
              </a:extLst>
            </p:cNvPr>
            <p:cNvSpPr/>
            <p:nvPr/>
          </p:nvSpPr>
          <p:spPr>
            <a:xfrm>
              <a:off x="713753" y="4181908"/>
              <a:ext cx="311068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15" name="직사각형 514">
              <a:extLst>
                <a:ext uri="{FF2B5EF4-FFF2-40B4-BE49-F238E27FC236}">
                  <a16:creationId xmlns:a16="http://schemas.microsoft.com/office/drawing/2014/main" id="{8AF11BC9-54A6-46ED-8151-164FD0D1F1FC}"/>
                </a:ext>
              </a:extLst>
            </p:cNvPr>
            <p:cNvSpPr/>
            <p:nvPr/>
          </p:nvSpPr>
          <p:spPr>
            <a:xfrm>
              <a:off x="658472" y="4183661"/>
              <a:ext cx="425226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ㄱ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-</a:t>
              </a:r>
              <a:r>
                <a:rPr lang="ko-KR" altLang="en-US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ㅎ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49" name="그룹 448">
            <a:extLst>
              <a:ext uri="{FF2B5EF4-FFF2-40B4-BE49-F238E27FC236}">
                <a16:creationId xmlns:a16="http://schemas.microsoft.com/office/drawing/2014/main" id="{2B84E628-5D24-47CE-8D13-C30017A3B548}"/>
              </a:ext>
            </a:extLst>
          </p:cNvPr>
          <p:cNvGrpSpPr/>
          <p:nvPr/>
        </p:nvGrpSpPr>
        <p:grpSpPr>
          <a:xfrm>
            <a:off x="8344682" y="2536593"/>
            <a:ext cx="161698" cy="147140"/>
            <a:chOff x="703406" y="4181908"/>
            <a:chExt cx="163648" cy="140400"/>
          </a:xfrm>
        </p:grpSpPr>
        <p:sp>
          <p:nvSpPr>
            <p:cNvPr id="512" name="사각형: 둥근 모서리 511">
              <a:extLst>
                <a:ext uri="{FF2B5EF4-FFF2-40B4-BE49-F238E27FC236}">
                  <a16:creationId xmlns:a16="http://schemas.microsoft.com/office/drawing/2014/main" id="{1F2AFEAE-1E97-4C44-9444-5BF4AE95A01F}"/>
                </a:ext>
              </a:extLst>
            </p:cNvPr>
            <p:cNvSpPr/>
            <p:nvPr/>
          </p:nvSpPr>
          <p:spPr>
            <a:xfrm>
              <a:off x="715030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13" name="직사각형 512">
              <a:extLst>
                <a:ext uri="{FF2B5EF4-FFF2-40B4-BE49-F238E27FC236}">
                  <a16:creationId xmlns:a16="http://schemas.microsoft.com/office/drawing/2014/main" id="{A032C5F2-AC27-4D13-ADC2-E6C2C0329893}"/>
                </a:ext>
              </a:extLst>
            </p:cNvPr>
            <p:cNvSpPr/>
            <p:nvPr/>
          </p:nvSpPr>
          <p:spPr>
            <a:xfrm>
              <a:off x="703406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H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0" name="그룹 449">
            <a:extLst>
              <a:ext uri="{FF2B5EF4-FFF2-40B4-BE49-F238E27FC236}">
                <a16:creationId xmlns:a16="http://schemas.microsoft.com/office/drawing/2014/main" id="{ABF80996-445C-49FF-AD73-A7E622CE504E}"/>
              </a:ext>
            </a:extLst>
          </p:cNvPr>
          <p:cNvGrpSpPr/>
          <p:nvPr/>
        </p:nvGrpSpPr>
        <p:grpSpPr>
          <a:xfrm>
            <a:off x="8522460" y="2538014"/>
            <a:ext cx="161698" cy="151784"/>
            <a:chOff x="2452010" y="4006324"/>
            <a:chExt cx="163648" cy="144831"/>
          </a:xfrm>
        </p:grpSpPr>
        <p:sp>
          <p:nvSpPr>
            <p:cNvPr id="510" name="사각형: 둥근 모서리 509">
              <a:extLst>
                <a:ext uri="{FF2B5EF4-FFF2-40B4-BE49-F238E27FC236}">
                  <a16:creationId xmlns:a16="http://schemas.microsoft.com/office/drawing/2014/main" id="{1189A8B5-EA9E-4146-B614-C08D1D4714B2}"/>
                </a:ext>
              </a:extLst>
            </p:cNvPr>
            <p:cNvSpPr/>
            <p:nvPr/>
          </p:nvSpPr>
          <p:spPr>
            <a:xfrm>
              <a:off x="2463634" y="4006324"/>
              <a:ext cx="140400" cy="144831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11" name="직사각형 510">
              <a:extLst>
                <a:ext uri="{FF2B5EF4-FFF2-40B4-BE49-F238E27FC236}">
                  <a16:creationId xmlns:a16="http://schemas.microsoft.com/office/drawing/2014/main" id="{35D167E7-24A8-474F-9943-856E4A7C93F3}"/>
                </a:ext>
              </a:extLst>
            </p:cNvPr>
            <p:cNvSpPr/>
            <p:nvPr/>
          </p:nvSpPr>
          <p:spPr>
            <a:xfrm>
              <a:off x="2452010" y="4010765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I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1" name="그룹 450">
            <a:extLst>
              <a:ext uri="{FF2B5EF4-FFF2-40B4-BE49-F238E27FC236}">
                <a16:creationId xmlns:a16="http://schemas.microsoft.com/office/drawing/2014/main" id="{1DA9060F-FB34-44D8-9F56-016DF5D92302}"/>
              </a:ext>
            </a:extLst>
          </p:cNvPr>
          <p:cNvGrpSpPr/>
          <p:nvPr/>
        </p:nvGrpSpPr>
        <p:grpSpPr>
          <a:xfrm>
            <a:off x="6803308" y="2722028"/>
            <a:ext cx="161698" cy="147140"/>
            <a:chOff x="711118" y="4181908"/>
            <a:chExt cx="163648" cy="140400"/>
          </a:xfrm>
        </p:grpSpPr>
        <p:sp>
          <p:nvSpPr>
            <p:cNvPr id="508" name="사각형: 둥근 모서리 507">
              <a:extLst>
                <a:ext uri="{FF2B5EF4-FFF2-40B4-BE49-F238E27FC236}">
                  <a16:creationId xmlns:a16="http://schemas.microsoft.com/office/drawing/2014/main" id="{9AD71735-E920-4BF1-B71D-3E511B3BD45F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09" name="직사각형 508">
              <a:extLst>
                <a:ext uri="{FF2B5EF4-FFF2-40B4-BE49-F238E27FC236}">
                  <a16:creationId xmlns:a16="http://schemas.microsoft.com/office/drawing/2014/main" id="{272C3B02-4749-4680-A21A-113C31B75FD6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J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2" name="그룹 451">
            <a:extLst>
              <a:ext uri="{FF2B5EF4-FFF2-40B4-BE49-F238E27FC236}">
                <a16:creationId xmlns:a16="http://schemas.microsoft.com/office/drawing/2014/main" id="{65AB39A7-B311-41FB-B0E8-F9B14D19ECB5}"/>
              </a:ext>
            </a:extLst>
          </p:cNvPr>
          <p:cNvGrpSpPr/>
          <p:nvPr/>
        </p:nvGrpSpPr>
        <p:grpSpPr>
          <a:xfrm>
            <a:off x="6971942" y="2722028"/>
            <a:ext cx="161698" cy="147140"/>
            <a:chOff x="711118" y="4181908"/>
            <a:chExt cx="163648" cy="140400"/>
          </a:xfrm>
        </p:grpSpPr>
        <p:sp>
          <p:nvSpPr>
            <p:cNvPr id="506" name="사각형: 둥근 모서리 505">
              <a:extLst>
                <a:ext uri="{FF2B5EF4-FFF2-40B4-BE49-F238E27FC236}">
                  <a16:creationId xmlns:a16="http://schemas.microsoft.com/office/drawing/2014/main" id="{82B2065E-5BAF-45FF-88BC-9ECC4FE90426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07" name="직사각형 506">
              <a:extLst>
                <a:ext uri="{FF2B5EF4-FFF2-40B4-BE49-F238E27FC236}">
                  <a16:creationId xmlns:a16="http://schemas.microsoft.com/office/drawing/2014/main" id="{69870B84-56F8-4748-BC22-91E375A286EF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K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3" name="그룹 452">
            <a:extLst>
              <a:ext uri="{FF2B5EF4-FFF2-40B4-BE49-F238E27FC236}">
                <a16:creationId xmlns:a16="http://schemas.microsoft.com/office/drawing/2014/main" id="{7575647B-625A-48B3-9998-B7FFA506F982}"/>
              </a:ext>
            </a:extLst>
          </p:cNvPr>
          <p:cNvGrpSpPr/>
          <p:nvPr/>
        </p:nvGrpSpPr>
        <p:grpSpPr>
          <a:xfrm>
            <a:off x="7150061" y="2725788"/>
            <a:ext cx="161698" cy="147140"/>
            <a:chOff x="711118" y="4181908"/>
            <a:chExt cx="163648" cy="140400"/>
          </a:xfrm>
        </p:grpSpPr>
        <p:sp>
          <p:nvSpPr>
            <p:cNvPr id="504" name="사각형: 둥근 모서리 503">
              <a:extLst>
                <a:ext uri="{FF2B5EF4-FFF2-40B4-BE49-F238E27FC236}">
                  <a16:creationId xmlns:a16="http://schemas.microsoft.com/office/drawing/2014/main" id="{F63E1314-531C-4784-99C6-909DB8052A6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05" name="직사각형 504">
              <a:extLst>
                <a:ext uri="{FF2B5EF4-FFF2-40B4-BE49-F238E27FC236}">
                  <a16:creationId xmlns:a16="http://schemas.microsoft.com/office/drawing/2014/main" id="{43BF9716-CD1A-4EE2-83F4-EAC8797086CF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L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4" name="그룹 453">
            <a:extLst>
              <a:ext uri="{FF2B5EF4-FFF2-40B4-BE49-F238E27FC236}">
                <a16:creationId xmlns:a16="http://schemas.microsoft.com/office/drawing/2014/main" id="{2D433275-4A27-4DC4-8A7C-79A2DAD7C5BD}"/>
              </a:ext>
            </a:extLst>
          </p:cNvPr>
          <p:cNvGrpSpPr/>
          <p:nvPr/>
        </p:nvGrpSpPr>
        <p:grpSpPr>
          <a:xfrm>
            <a:off x="7318695" y="2725788"/>
            <a:ext cx="161698" cy="147140"/>
            <a:chOff x="711118" y="4181908"/>
            <a:chExt cx="163648" cy="140400"/>
          </a:xfrm>
        </p:grpSpPr>
        <p:sp>
          <p:nvSpPr>
            <p:cNvPr id="502" name="사각형: 둥근 모서리 501">
              <a:extLst>
                <a:ext uri="{FF2B5EF4-FFF2-40B4-BE49-F238E27FC236}">
                  <a16:creationId xmlns:a16="http://schemas.microsoft.com/office/drawing/2014/main" id="{AAEB4E32-16E0-4F55-B3B3-536D5F2F58CF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03" name="직사각형 502">
              <a:extLst>
                <a:ext uri="{FF2B5EF4-FFF2-40B4-BE49-F238E27FC236}">
                  <a16:creationId xmlns:a16="http://schemas.microsoft.com/office/drawing/2014/main" id="{669F1AEF-840A-4CF1-A010-E18F6C35C2C2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M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5" name="그룹 454">
            <a:extLst>
              <a:ext uri="{FF2B5EF4-FFF2-40B4-BE49-F238E27FC236}">
                <a16:creationId xmlns:a16="http://schemas.microsoft.com/office/drawing/2014/main" id="{7D50661F-331E-4DFD-82BB-785ADB484DEC}"/>
              </a:ext>
            </a:extLst>
          </p:cNvPr>
          <p:cNvGrpSpPr/>
          <p:nvPr/>
        </p:nvGrpSpPr>
        <p:grpSpPr>
          <a:xfrm>
            <a:off x="7487327" y="2725788"/>
            <a:ext cx="161698" cy="147140"/>
            <a:chOff x="711118" y="4181908"/>
            <a:chExt cx="163648" cy="140400"/>
          </a:xfrm>
        </p:grpSpPr>
        <p:sp>
          <p:nvSpPr>
            <p:cNvPr id="500" name="사각형: 둥근 모서리 499">
              <a:extLst>
                <a:ext uri="{FF2B5EF4-FFF2-40B4-BE49-F238E27FC236}">
                  <a16:creationId xmlns:a16="http://schemas.microsoft.com/office/drawing/2014/main" id="{7CF8AD70-DB31-48A3-9F44-9B6DF99E44AF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501" name="직사각형 500">
              <a:extLst>
                <a:ext uri="{FF2B5EF4-FFF2-40B4-BE49-F238E27FC236}">
                  <a16:creationId xmlns:a16="http://schemas.microsoft.com/office/drawing/2014/main" id="{ED26D358-36A3-424E-B7F6-8CC139EE02CF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N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6" name="그룹 455">
            <a:extLst>
              <a:ext uri="{FF2B5EF4-FFF2-40B4-BE49-F238E27FC236}">
                <a16:creationId xmlns:a16="http://schemas.microsoft.com/office/drawing/2014/main" id="{ECE2046A-BFF7-4339-BE8C-882466BD2C5F}"/>
              </a:ext>
            </a:extLst>
          </p:cNvPr>
          <p:cNvGrpSpPr/>
          <p:nvPr/>
        </p:nvGrpSpPr>
        <p:grpSpPr>
          <a:xfrm>
            <a:off x="7665116" y="2725788"/>
            <a:ext cx="161698" cy="147140"/>
            <a:chOff x="711118" y="4181908"/>
            <a:chExt cx="163648" cy="140400"/>
          </a:xfrm>
        </p:grpSpPr>
        <p:sp>
          <p:nvSpPr>
            <p:cNvPr id="493" name="사각형: 둥근 모서리 492">
              <a:extLst>
                <a:ext uri="{FF2B5EF4-FFF2-40B4-BE49-F238E27FC236}">
                  <a16:creationId xmlns:a16="http://schemas.microsoft.com/office/drawing/2014/main" id="{87F507F7-E1DD-4939-8F4D-B6DB587699B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99" name="직사각형 498">
              <a:extLst>
                <a:ext uri="{FF2B5EF4-FFF2-40B4-BE49-F238E27FC236}">
                  <a16:creationId xmlns:a16="http://schemas.microsoft.com/office/drawing/2014/main" id="{49635B1D-B973-4EC9-AD37-E8DA55810E0E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O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7" name="그룹 456">
            <a:extLst>
              <a:ext uri="{FF2B5EF4-FFF2-40B4-BE49-F238E27FC236}">
                <a16:creationId xmlns:a16="http://schemas.microsoft.com/office/drawing/2014/main" id="{FFEA1373-09F1-434C-B228-E923E7563D7C}"/>
              </a:ext>
            </a:extLst>
          </p:cNvPr>
          <p:cNvGrpSpPr/>
          <p:nvPr/>
        </p:nvGrpSpPr>
        <p:grpSpPr>
          <a:xfrm>
            <a:off x="7838419" y="2726625"/>
            <a:ext cx="161698" cy="147140"/>
            <a:chOff x="711118" y="4181908"/>
            <a:chExt cx="163648" cy="140400"/>
          </a:xfrm>
        </p:grpSpPr>
        <p:sp>
          <p:nvSpPr>
            <p:cNvPr id="491" name="사각형: 둥근 모서리 490">
              <a:extLst>
                <a:ext uri="{FF2B5EF4-FFF2-40B4-BE49-F238E27FC236}">
                  <a16:creationId xmlns:a16="http://schemas.microsoft.com/office/drawing/2014/main" id="{F6C18F9F-177D-4FFA-ADF8-286AA9C908CA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92" name="직사각형 491">
              <a:extLst>
                <a:ext uri="{FF2B5EF4-FFF2-40B4-BE49-F238E27FC236}">
                  <a16:creationId xmlns:a16="http://schemas.microsoft.com/office/drawing/2014/main" id="{AF52D639-DA4D-4BD4-918D-8D724CEEBC0D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P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8" name="그룹 457">
            <a:extLst>
              <a:ext uri="{FF2B5EF4-FFF2-40B4-BE49-F238E27FC236}">
                <a16:creationId xmlns:a16="http://schemas.microsoft.com/office/drawing/2014/main" id="{2EB3973D-DDDD-41ED-B925-80C5A17C97AB}"/>
              </a:ext>
            </a:extLst>
          </p:cNvPr>
          <p:cNvGrpSpPr/>
          <p:nvPr/>
        </p:nvGrpSpPr>
        <p:grpSpPr>
          <a:xfrm>
            <a:off x="8011466" y="2723999"/>
            <a:ext cx="161698" cy="147140"/>
            <a:chOff x="711118" y="4181908"/>
            <a:chExt cx="163648" cy="140400"/>
          </a:xfrm>
        </p:grpSpPr>
        <p:sp>
          <p:nvSpPr>
            <p:cNvPr id="488" name="사각형: 둥근 모서리 487">
              <a:extLst>
                <a:ext uri="{FF2B5EF4-FFF2-40B4-BE49-F238E27FC236}">
                  <a16:creationId xmlns:a16="http://schemas.microsoft.com/office/drawing/2014/main" id="{543079BA-9BA1-4E5C-B102-19D16B3AD711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89" name="직사각형 488">
              <a:extLst>
                <a:ext uri="{FF2B5EF4-FFF2-40B4-BE49-F238E27FC236}">
                  <a16:creationId xmlns:a16="http://schemas.microsoft.com/office/drawing/2014/main" id="{819B5014-6C82-4436-ABF2-1E324C21F978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Q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59" name="그룹 458">
            <a:extLst>
              <a:ext uri="{FF2B5EF4-FFF2-40B4-BE49-F238E27FC236}">
                <a16:creationId xmlns:a16="http://schemas.microsoft.com/office/drawing/2014/main" id="{B79988BF-2AE4-43C7-AB5F-80C0CAE125DD}"/>
              </a:ext>
            </a:extLst>
          </p:cNvPr>
          <p:cNvGrpSpPr/>
          <p:nvPr/>
        </p:nvGrpSpPr>
        <p:grpSpPr>
          <a:xfrm>
            <a:off x="8186947" y="2726625"/>
            <a:ext cx="161698" cy="147140"/>
            <a:chOff x="711118" y="4181908"/>
            <a:chExt cx="163648" cy="140400"/>
          </a:xfrm>
        </p:grpSpPr>
        <p:sp>
          <p:nvSpPr>
            <p:cNvPr id="486" name="사각형: 둥근 모서리 485">
              <a:extLst>
                <a:ext uri="{FF2B5EF4-FFF2-40B4-BE49-F238E27FC236}">
                  <a16:creationId xmlns:a16="http://schemas.microsoft.com/office/drawing/2014/main" id="{AE917033-4327-40C4-A5D0-40194CB5F4D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87" name="직사각형 486">
              <a:extLst>
                <a:ext uri="{FF2B5EF4-FFF2-40B4-BE49-F238E27FC236}">
                  <a16:creationId xmlns:a16="http://schemas.microsoft.com/office/drawing/2014/main" id="{90A26501-E995-41B8-AE53-E7711B9E7A28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R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0" name="그룹 459">
            <a:extLst>
              <a:ext uri="{FF2B5EF4-FFF2-40B4-BE49-F238E27FC236}">
                <a16:creationId xmlns:a16="http://schemas.microsoft.com/office/drawing/2014/main" id="{844D55C1-6425-4B22-AED4-38B678A911CC}"/>
              </a:ext>
            </a:extLst>
          </p:cNvPr>
          <p:cNvGrpSpPr/>
          <p:nvPr/>
        </p:nvGrpSpPr>
        <p:grpSpPr>
          <a:xfrm>
            <a:off x="8358166" y="2715169"/>
            <a:ext cx="161698" cy="147140"/>
            <a:chOff x="711118" y="4181908"/>
            <a:chExt cx="163648" cy="140400"/>
          </a:xfrm>
        </p:grpSpPr>
        <p:sp>
          <p:nvSpPr>
            <p:cNvPr id="484" name="사각형: 둥근 모서리 483">
              <a:extLst>
                <a:ext uri="{FF2B5EF4-FFF2-40B4-BE49-F238E27FC236}">
                  <a16:creationId xmlns:a16="http://schemas.microsoft.com/office/drawing/2014/main" id="{AF3D0C89-FF8D-4B63-96BF-6C6D6886CD4A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85" name="직사각형 484">
              <a:extLst>
                <a:ext uri="{FF2B5EF4-FFF2-40B4-BE49-F238E27FC236}">
                  <a16:creationId xmlns:a16="http://schemas.microsoft.com/office/drawing/2014/main" id="{2718B1F2-1DE4-4C8E-9FB7-9B3D0E426C5E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S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1" name="그룹 460">
            <a:extLst>
              <a:ext uri="{FF2B5EF4-FFF2-40B4-BE49-F238E27FC236}">
                <a16:creationId xmlns:a16="http://schemas.microsoft.com/office/drawing/2014/main" id="{4246A125-378D-4A30-AAFF-E586B56CCCD3}"/>
              </a:ext>
            </a:extLst>
          </p:cNvPr>
          <p:cNvGrpSpPr/>
          <p:nvPr/>
        </p:nvGrpSpPr>
        <p:grpSpPr>
          <a:xfrm>
            <a:off x="8526800" y="2715169"/>
            <a:ext cx="161698" cy="147140"/>
            <a:chOff x="711118" y="4181908"/>
            <a:chExt cx="163648" cy="140400"/>
          </a:xfrm>
        </p:grpSpPr>
        <p:sp>
          <p:nvSpPr>
            <p:cNvPr id="482" name="사각형: 둥근 모서리 481">
              <a:extLst>
                <a:ext uri="{FF2B5EF4-FFF2-40B4-BE49-F238E27FC236}">
                  <a16:creationId xmlns:a16="http://schemas.microsoft.com/office/drawing/2014/main" id="{1F7B9464-D32B-4F5F-AB2C-F302E7753CFC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83" name="직사각형 482">
              <a:extLst>
                <a:ext uri="{FF2B5EF4-FFF2-40B4-BE49-F238E27FC236}">
                  <a16:creationId xmlns:a16="http://schemas.microsoft.com/office/drawing/2014/main" id="{4EA138D6-E89C-4D77-973A-79548188158C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T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2" name="그룹 461">
            <a:extLst>
              <a:ext uri="{FF2B5EF4-FFF2-40B4-BE49-F238E27FC236}">
                <a16:creationId xmlns:a16="http://schemas.microsoft.com/office/drawing/2014/main" id="{53E91186-89E0-48FC-B3DF-AE0377ACDA87}"/>
              </a:ext>
            </a:extLst>
          </p:cNvPr>
          <p:cNvGrpSpPr/>
          <p:nvPr/>
        </p:nvGrpSpPr>
        <p:grpSpPr>
          <a:xfrm>
            <a:off x="6805032" y="2917003"/>
            <a:ext cx="161698" cy="147140"/>
            <a:chOff x="711118" y="4181908"/>
            <a:chExt cx="163648" cy="140400"/>
          </a:xfrm>
        </p:grpSpPr>
        <p:sp>
          <p:nvSpPr>
            <p:cNvPr id="480" name="사각형: 둥근 모서리 479">
              <a:extLst>
                <a:ext uri="{FF2B5EF4-FFF2-40B4-BE49-F238E27FC236}">
                  <a16:creationId xmlns:a16="http://schemas.microsoft.com/office/drawing/2014/main" id="{75CAF26B-5BDA-4942-80CE-767E7C001E6B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81" name="직사각형 480">
              <a:extLst>
                <a:ext uri="{FF2B5EF4-FFF2-40B4-BE49-F238E27FC236}">
                  <a16:creationId xmlns:a16="http://schemas.microsoft.com/office/drawing/2014/main" id="{B35333D5-C826-4D09-804D-198F01948952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U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3" name="그룹 462">
            <a:extLst>
              <a:ext uri="{FF2B5EF4-FFF2-40B4-BE49-F238E27FC236}">
                <a16:creationId xmlns:a16="http://schemas.microsoft.com/office/drawing/2014/main" id="{E03FB6D9-17B5-4B16-960C-3C4C2B129F77}"/>
              </a:ext>
            </a:extLst>
          </p:cNvPr>
          <p:cNvGrpSpPr/>
          <p:nvPr/>
        </p:nvGrpSpPr>
        <p:grpSpPr>
          <a:xfrm>
            <a:off x="6977467" y="2917003"/>
            <a:ext cx="161698" cy="147140"/>
            <a:chOff x="711118" y="4181908"/>
            <a:chExt cx="163648" cy="140400"/>
          </a:xfrm>
        </p:grpSpPr>
        <p:sp>
          <p:nvSpPr>
            <p:cNvPr id="478" name="사각형: 둥근 모서리 477">
              <a:extLst>
                <a:ext uri="{FF2B5EF4-FFF2-40B4-BE49-F238E27FC236}">
                  <a16:creationId xmlns:a16="http://schemas.microsoft.com/office/drawing/2014/main" id="{F05E0AA9-6F06-46DF-BA1A-FDC24A9001A2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79" name="직사각형 478">
              <a:extLst>
                <a:ext uri="{FF2B5EF4-FFF2-40B4-BE49-F238E27FC236}">
                  <a16:creationId xmlns:a16="http://schemas.microsoft.com/office/drawing/2014/main" id="{40AA7CDD-A609-400A-8B7F-60D2F5A9483A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V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4" name="그룹 463">
            <a:extLst>
              <a:ext uri="{FF2B5EF4-FFF2-40B4-BE49-F238E27FC236}">
                <a16:creationId xmlns:a16="http://schemas.microsoft.com/office/drawing/2014/main" id="{C141C0D5-92AF-469D-869F-46563C1DD86F}"/>
              </a:ext>
            </a:extLst>
          </p:cNvPr>
          <p:cNvGrpSpPr/>
          <p:nvPr/>
        </p:nvGrpSpPr>
        <p:grpSpPr>
          <a:xfrm>
            <a:off x="7146102" y="2917003"/>
            <a:ext cx="161698" cy="147140"/>
            <a:chOff x="711118" y="4181908"/>
            <a:chExt cx="163648" cy="140400"/>
          </a:xfrm>
        </p:grpSpPr>
        <p:sp>
          <p:nvSpPr>
            <p:cNvPr id="476" name="사각형: 둥근 모서리 475">
              <a:extLst>
                <a:ext uri="{FF2B5EF4-FFF2-40B4-BE49-F238E27FC236}">
                  <a16:creationId xmlns:a16="http://schemas.microsoft.com/office/drawing/2014/main" id="{AE1CD50B-3786-4D7A-ABBB-E6BB6EF62E5E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77" name="직사각형 476">
              <a:extLst>
                <a:ext uri="{FF2B5EF4-FFF2-40B4-BE49-F238E27FC236}">
                  <a16:creationId xmlns:a16="http://schemas.microsoft.com/office/drawing/2014/main" id="{862F417D-C84B-4AB5-BBD5-263CBA8E993D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W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5" name="그룹 464">
            <a:extLst>
              <a:ext uri="{FF2B5EF4-FFF2-40B4-BE49-F238E27FC236}">
                <a16:creationId xmlns:a16="http://schemas.microsoft.com/office/drawing/2014/main" id="{442201E0-6885-43E8-BA5A-316CB54E517E}"/>
              </a:ext>
            </a:extLst>
          </p:cNvPr>
          <p:cNvGrpSpPr/>
          <p:nvPr/>
        </p:nvGrpSpPr>
        <p:grpSpPr>
          <a:xfrm>
            <a:off x="7314736" y="2917003"/>
            <a:ext cx="161698" cy="147140"/>
            <a:chOff x="711118" y="4181908"/>
            <a:chExt cx="163648" cy="140400"/>
          </a:xfrm>
        </p:grpSpPr>
        <p:sp>
          <p:nvSpPr>
            <p:cNvPr id="474" name="사각형: 둥근 모서리 473">
              <a:extLst>
                <a:ext uri="{FF2B5EF4-FFF2-40B4-BE49-F238E27FC236}">
                  <a16:creationId xmlns:a16="http://schemas.microsoft.com/office/drawing/2014/main" id="{C22B2891-8DE3-4760-B5BB-A1BA4927D8C0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75" name="직사각형 474">
              <a:extLst>
                <a:ext uri="{FF2B5EF4-FFF2-40B4-BE49-F238E27FC236}">
                  <a16:creationId xmlns:a16="http://schemas.microsoft.com/office/drawing/2014/main" id="{07CB7F2B-AB3C-4825-82C6-444B9A203CFF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X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6" name="그룹 465">
            <a:extLst>
              <a:ext uri="{FF2B5EF4-FFF2-40B4-BE49-F238E27FC236}">
                <a16:creationId xmlns:a16="http://schemas.microsoft.com/office/drawing/2014/main" id="{195D135D-3C08-42FF-AB11-BAA8F4B223F9}"/>
              </a:ext>
            </a:extLst>
          </p:cNvPr>
          <p:cNvGrpSpPr/>
          <p:nvPr/>
        </p:nvGrpSpPr>
        <p:grpSpPr>
          <a:xfrm>
            <a:off x="7483370" y="2917003"/>
            <a:ext cx="161698" cy="147140"/>
            <a:chOff x="711118" y="4181908"/>
            <a:chExt cx="163648" cy="140400"/>
          </a:xfrm>
        </p:grpSpPr>
        <p:sp>
          <p:nvSpPr>
            <p:cNvPr id="472" name="사각형: 둥근 모서리 471">
              <a:extLst>
                <a:ext uri="{FF2B5EF4-FFF2-40B4-BE49-F238E27FC236}">
                  <a16:creationId xmlns:a16="http://schemas.microsoft.com/office/drawing/2014/main" id="{293AE2E0-9802-45F2-94A2-778ABF5F390D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73" name="직사각형 472">
              <a:extLst>
                <a:ext uri="{FF2B5EF4-FFF2-40B4-BE49-F238E27FC236}">
                  <a16:creationId xmlns:a16="http://schemas.microsoft.com/office/drawing/2014/main" id="{65CD6BAF-7962-4F7C-9AC2-2526B3681415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Y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467" name="그룹 466">
            <a:extLst>
              <a:ext uri="{FF2B5EF4-FFF2-40B4-BE49-F238E27FC236}">
                <a16:creationId xmlns:a16="http://schemas.microsoft.com/office/drawing/2014/main" id="{430D5693-2587-4426-95A9-DAAF1F503BBE}"/>
              </a:ext>
            </a:extLst>
          </p:cNvPr>
          <p:cNvGrpSpPr/>
          <p:nvPr/>
        </p:nvGrpSpPr>
        <p:grpSpPr>
          <a:xfrm>
            <a:off x="7659010" y="2913254"/>
            <a:ext cx="161698" cy="147140"/>
            <a:chOff x="711118" y="4181908"/>
            <a:chExt cx="163648" cy="140400"/>
          </a:xfrm>
        </p:grpSpPr>
        <p:sp>
          <p:nvSpPr>
            <p:cNvPr id="470" name="사각형: 둥근 모서리 469">
              <a:extLst>
                <a:ext uri="{FF2B5EF4-FFF2-40B4-BE49-F238E27FC236}">
                  <a16:creationId xmlns:a16="http://schemas.microsoft.com/office/drawing/2014/main" id="{454D2A2E-F4C2-4494-9523-77C3FCB8EC85}"/>
                </a:ext>
              </a:extLst>
            </p:cNvPr>
            <p:cNvSpPr/>
            <p:nvPr/>
          </p:nvSpPr>
          <p:spPr>
            <a:xfrm>
              <a:off x="722742" y="4181908"/>
              <a:ext cx="140400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471" name="직사각형 470">
              <a:extLst>
                <a:ext uri="{FF2B5EF4-FFF2-40B4-BE49-F238E27FC236}">
                  <a16:creationId xmlns:a16="http://schemas.microsoft.com/office/drawing/2014/main" id="{C8C9D6CA-8143-477F-BDC6-1DA86A2245B2}"/>
                </a:ext>
              </a:extLst>
            </p:cNvPr>
            <p:cNvSpPr/>
            <p:nvPr/>
          </p:nvSpPr>
          <p:spPr>
            <a:xfrm>
              <a:off x="711118" y="4181919"/>
              <a:ext cx="163648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Z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468" name="사각형: 둥근 모서리 467">
            <a:extLst>
              <a:ext uri="{FF2B5EF4-FFF2-40B4-BE49-F238E27FC236}">
                <a16:creationId xmlns:a16="http://schemas.microsoft.com/office/drawing/2014/main" id="{B53746F3-EE55-481E-A2C1-78808C7CD01C}"/>
              </a:ext>
            </a:extLst>
          </p:cNvPr>
          <p:cNvSpPr/>
          <p:nvPr/>
        </p:nvSpPr>
        <p:spPr>
          <a:xfrm>
            <a:off x="6815105" y="2533361"/>
            <a:ext cx="304322" cy="146061"/>
          </a:xfrm>
          <a:prstGeom prst="roundRect">
            <a:avLst>
              <a:gd name="adj" fmla="val 1104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endParaRPr lang="ko-KR" altLang="en-US" sz="700" dirty="0"/>
          </a:p>
        </p:txBody>
      </p:sp>
      <p:sp>
        <p:nvSpPr>
          <p:cNvPr id="469" name="직사각형 468">
            <a:extLst>
              <a:ext uri="{FF2B5EF4-FFF2-40B4-BE49-F238E27FC236}">
                <a16:creationId xmlns:a16="http://schemas.microsoft.com/office/drawing/2014/main" id="{9C3C26E2-6DF9-4FEF-BB60-D21A16494972}"/>
              </a:ext>
            </a:extLst>
          </p:cNvPr>
          <p:cNvSpPr/>
          <p:nvPr/>
        </p:nvSpPr>
        <p:spPr>
          <a:xfrm>
            <a:off x="6782702" y="2513563"/>
            <a:ext cx="362534" cy="18565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전체</a:t>
            </a:r>
          </a:p>
        </p:txBody>
      </p:sp>
      <p:graphicFrame>
        <p:nvGraphicFramePr>
          <p:cNvPr id="304" name="표 10">
            <a:extLst>
              <a:ext uri="{FF2B5EF4-FFF2-40B4-BE49-F238E27FC236}">
                <a16:creationId xmlns:a16="http://schemas.microsoft.com/office/drawing/2014/main" id="{3381C0DA-0ECC-4547-8751-3157A43EA333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2675501"/>
          <a:ext cx="2922885" cy="256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출처명에 따라 자동 기입된 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시 체크한 제공언어에 따른 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은 가나다 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알파벳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많은순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나다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ㄷ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알파벳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A,B,C…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순으로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많은 순은 각 출처명으로 등록된 자료가 많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으로 내림차순 정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전체보기 클릭 시 전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입된 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L014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</a:tbl>
          </a:graphicData>
        </a:graphic>
      </p:graphicFrame>
      <p:sp>
        <p:nvSpPr>
          <p:cNvPr id="305" name="사각형: 둥근 모서리 304">
            <a:extLst>
              <a:ext uri="{FF2B5EF4-FFF2-40B4-BE49-F238E27FC236}">
                <a16:creationId xmlns:a16="http://schemas.microsoft.com/office/drawing/2014/main" id="{6ADEA031-D7E4-4AD6-B655-116173AEFF4B}"/>
              </a:ext>
            </a:extLst>
          </p:cNvPr>
          <p:cNvSpPr/>
          <p:nvPr/>
        </p:nvSpPr>
        <p:spPr>
          <a:xfrm>
            <a:off x="2452231" y="584077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6" name="사각형: 둥근 모서리 305">
            <a:extLst>
              <a:ext uri="{FF2B5EF4-FFF2-40B4-BE49-F238E27FC236}">
                <a16:creationId xmlns:a16="http://schemas.microsoft.com/office/drawing/2014/main" id="{5C6659CE-9793-406D-81D1-A5CE373C31F9}"/>
              </a:ext>
            </a:extLst>
          </p:cNvPr>
          <p:cNvSpPr/>
          <p:nvPr/>
        </p:nvSpPr>
        <p:spPr>
          <a:xfrm>
            <a:off x="4652352" y="11724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7" name="사각형: 둥근 모서리 306">
            <a:extLst>
              <a:ext uri="{FF2B5EF4-FFF2-40B4-BE49-F238E27FC236}">
                <a16:creationId xmlns:a16="http://schemas.microsoft.com/office/drawing/2014/main" id="{E1B4D718-69F9-4B0C-B6B0-FBA0918D1E98}"/>
              </a:ext>
            </a:extLst>
          </p:cNvPr>
          <p:cNvSpPr/>
          <p:nvPr/>
        </p:nvSpPr>
        <p:spPr>
          <a:xfrm>
            <a:off x="4659667" y="22436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09" name="그룹 308">
            <a:extLst>
              <a:ext uri="{FF2B5EF4-FFF2-40B4-BE49-F238E27FC236}">
                <a16:creationId xmlns:a16="http://schemas.microsoft.com/office/drawing/2014/main" id="{96F82AC8-2977-49AD-A4C7-D340DF317C11}"/>
              </a:ext>
            </a:extLst>
          </p:cNvPr>
          <p:cNvGrpSpPr/>
          <p:nvPr/>
        </p:nvGrpSpPr>
        <p:grpSpPr>
          <a:xfrm>
            <a:off x="6239874" y="2710875"/>
            <a:ext cx="452807" cy="140400"/>
            <a:chOff x="662857" y="4181908"/>
            <a:chExt cx="425226" cy="140400"/>
          </a:xfrm>
        </p:grpSpPr>
        <p:sp>
          <p:nvSpPr>
            <p:cNvPr id="310" name="사각형: 둥근 모서리 309">
              <a:extLst>
                <a:ext uri="{FF2B5EF4-FFF2-40B4-BE49-F238E27FC236}">
                  <a16:creationId xmlns:a16="http://schemas.microsoft.com/office/drawing/2014/main" id="{B4A2D9E5-9E4F-4B9E-A6AA-C5A97A10255A}"/>
                </a:ext>
              </a:extLst>
            </p:cNvPr>
            <p:cNvSpPr/>
            <p:nvPr/>
          </p:nvSpPr>
          <p:spPr>
            <a:xfrm>
              <a:off x="718393" y="4181908"/>
              <a:ext cx="310204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313" name="직사각형 312">
              <a:extLst>
                <a:ext uri="{FF2B5EF4-FFF2-40B4-BE49-F238E27FC236}">
                  <a16:creationId xmlns:a16="http://schemas.microsoft.com/office/drawing/2014/main" id="{00BEC529-B12E-4ACD-9B9E-AAE957CE9053}"/>
                </a:ext>
              </a:extLst>
            </p:cNvPr>
            <p:cNvSpPr/>
            <p:nvPr/>
          </p:nvSpPr>
          <p:spPr>
            <a:xfrm>
              <a:off x="662857" y="4181908"/>
              <a:ext cx="425226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Etc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BF676163-ABE9-40B7-A0AA-57222C831D5C}"/>
              </a:ext>
            </a:extLst>
          </p:cNvPr>
          <p:cNvGrpSpPr/>
          <p:nvPr/>
        </p:nvGrpSpPr>
        <p:grpSpPr>
          <a:xfrm>
            <a:off x="8146087" y="2913266"/>
            <a:ext cx="420159" cy="147140"/>
            <a:chOff x="658472" y="4181908"/>
            <a:chExt cx="425226" cy="140400"/>
          </a:xfrm>
        </p:grpSpPr>
        <p:sp>
          <p:nvSpPr>
            <p:cNvPr id="315" name="사각형: 둥근 모서리 314">
              <a:extLst>
                <a:ext uri="{FF2B5EF4-FFF2-40B4-BE49-F238E27FC236}">
                  <a16:creationId xmlns:a16="http://schemas.microsoft.com/office/drawing/2014/main" id="{DD011E03-7A7A-40AD-8045-1BB54AC8BF48}"/>
                </a:ext>
              </a:extLst>
            </p:cNvPr>
            <p:cNvSpPr/>
            <p:nvPr/>
          </p:nvSpPr>
          <p:spPr>
            <a:xfrm>
              <a:off x="713753" y="4181908"/>
              <a:ext cx="311068" cy="140400"/>
            </a:xfrm>
            <a:prstGeom prst="roundRect">
              <a:avLst>
                <a:gd name="adj" fmla="val 11046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dirty="0"/>
            </a:p>
          </p:txBody>
        </p:sp>
        <p:sp>
          <p:nvSpPr>
            <p:cNvPr id="316" name="직사각형 315">
              <a:extLst>
                <a:ext uri="{FF2B5EF4-FFF2-40B4-BE49-F238E27FC236}">
                  <a16:creationId xmlns:a16="http://schemas.microsoft.com/office/drawing/2014/main" id="{150D51A4-BF87-41C4-A531-4C324868E98C}"/>
                </a:ext>
              </a:extLst>
            </p:cNvPr>
            <p:cNvSpPr/>
            <p:nvPr/>
          </p:nvSpPr>
          <p:spPr>
            <a:xfrm>
              <a:off x="658472" y="4183661"/>
              <a:ext cx="425226" cy="1294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Etc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308" name="그룹 307">
            <a:extLst>
              <a:ext uri="{FF2B5EF4-FFF2-40B4-BE49-F238E27FC236}">
                <a16:creationId xmlns:a16="http://schemas.microsoft.com/office/drawing/2014/main" id="{8DD58C93-09CB-418E-8E37-8104B3DAD2AA}"/>
              </a:ext>
            </a:extLst>
          </p:cNvPr>
          <p:cNvGrpSpPr/>
          <p:nvPr/>
        </p:nvGrpSpPr>
        <p:grpSpPr>
          <a:xfrm>
            <a:off x="2598418" y="1657561"/>
            <a:ext cx="1899056" cy="1409508"/>
            <a:chOff x="2635129" y="1268760"/>
            <a:chExt cx="1899056" cy="1409508"/>
          </a:xfrm>
        </p:grpSpPr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5A187F57-2193-4902-BD3B-11C6CD801920}"/>
                </a:ext>
              </a:extLst>
            </p:cNvPr>
            <p:cNvSpPr txBox="1"/>
            <p:nvPr/>
          </p:nvSpPr>
          <p:spPr>
            <a:xfrm>
              <a:off x="2635129" y="1268760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키워드     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EB079ED1-2098-44BD-B02D-89A8B82EDDBC}"/>
                </a:ext>
              </a:extLst>
            </p:cNvPr>
            <p:cNvSpPr txBox="1"/>
            <p:nvPr/>
          </p:nvSpPr>
          <p:spPr>
            <a:xfrm>
              <a:off x="2636613" y="1458114"/>
              <a:ext cx="1897572" cy="1431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cs typeface="Arial"/>
                </a:rPr>
                <a:t>E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S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G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     금융        공시</a:t>
              </a:r>
            </a:p>
          </p:txBody>
        </p:sp>
        <p:sp>
          <p:nvSpPr>
            <p:cNvPr id="319" name="사각형: 둥근 모서리 318">
              <a:extLst>
                <a:ext uri="{FF2B5EF4-FFF2-40B4-BE49-F238E27FC236}">
                  <a16:creationId xmlns:a16="http://schemas.microsoft.com/office/drawing/2014/main" id="{58AAC325-686C-4067-936D-21FEE9BAB894}"/>
                </a:ext>
              </a:extLst>
            </p:cNvPr>
            <p:cNvSpPr/>
            <p:nvPr/>
          </p:nvSpPr>
          <p:spPr>
            <a:xfrm>
              <a:off x="2635436" y="1674519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탄소중립</a:t>
              </a:r>
              <a:r>
                <a:rPr lang="en-US" altLang="ko-KR" sz="7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Net Zero)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20" name="사각형: 둥근 모서리 319">
              <a:extLst>
                <a:ext uri="{FF2B5EF4-FFF2-40B4-BE49-F238E27FC236}">
                  <a16:creationId xmlns:a16="http://schemas.microsoft.com/office/drawing/2014/main" id="{DA183BC1-E5DE-4393-901D-6B3FC07FA93D}"/>
                </a:ext>
              </a:extLst>
            </p:cNvPr>
            <p:cNvSpPr/>
            <p:nvPr/>
          </p:nvSpPr>
          <p:spPr>
            <a:xfrm>
              <a:off x="3562511" y="1677209"/>
              <a:ext cx="851854" cy="210195"/>
            </a:xfrm>
            <a:prstGeom prst="roundRect">
              <a:avLst>
                <a:gd name="adj" fmla="val 30131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Scope 3</a:t>
              </a:r>
              <a:endParaRPr lang="ko-KR" altLang="en-US" sz="7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21" name="사각형: 둥근 모서리 320">
              <a:extLst>
                <a:ext uri="{FF2B5EF4-FFF2-40B4-BE49-F238E27FC236}">
                  <a16:creationId xmlns:a16="http://schemas.microsoft.com/office/drawing/2014/main" id="{8EF84182-5C02-4BC1-90A6-2378112F599D}"/>
                </a:ext>
              </a:extLst>
            </p:cNvPr>
            <p:cNvSpPr/>
            <p:nvPr/>
          </p:nvSpPr>
          <p:spPr>
            <a:xfrm>
              <a:off x="2635436" y="1931841"/>
              <a:ext cx="851854" cy="210195"/>
            </a:xfrm>
            <a:prstGeom prst="roundRect">
              <a:avLst>
                <a:gd name="adj" fmla="val 28335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탄소국경세</a:t>
              </a:r>
            </a:p>
          </p:txBody>
        </p:sp>
        <p:sp>
          <p:nvSpPr>
            <p:cNvPr id="322" name="사각형: 둥근 모서리 321">
              <a:extLst>
                <a:ext uri="{FF2B5EF4-FFF2-40B4-BE49-F238E27FC236}">
                  <a16:creationId xmlns:a16="http://schemas.microsoft.com/office/drawing/2014/main" id="{B5B6707A-2501-42AE-80EF-49584D78BBC8}"/>
                </a:ext>
              </a:extLst>
            </p:cNvPr>
            <p:cNvSpPr/>
            <p:nvPr/>
          </p:nvSpPr>
          <p:spPr>
            <a:xfrm>
              <a:off x="3562511" y="1934531"/>
              <a:ext cx="851854" cy="210195"/>
            </a:xfrm>
            <a:prstGeom prst="roundRect">
              <a:avLst>
                <a:gd name="adj" fmla="val 2384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친환경제품∙서비스</a:t>
              </a:r>
              <a:endPara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23" name="사각형: 둥근 모서리 322">
              <a:extLst>
                <a:ext uri="{FF2B5EF4-FFF2-40B4-BE49-F238E27FC236}">
                  <a16:creationId xmlns:a16="http://schemas.microsoft.com/office/drawing/2014/main" id="{DAD4CCDA-AFFF-41C8-A03A-1119E1C7AE03}"/>
                </a:ext>
              </a:extLst>
            </p:cNvPr>
            <p:cNvSpPr/>
            <p:nvPr/>
          </p:nvSpPr>
          <p:spPr>
            <a:xfrm>
              <a:off x="2635436" y="2196631"/>
              <a:ext cx="851854" cy="210195"/>
            </a:xfrm>
            <a:prstGeom prst="roundRect">
              <a:avLst>
                <a:gd name="adj" fmla="val 29233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생물다양성</a:t>
              </a:r>
            </a:p>
          </p:txBody>
        </p:sp>
        <p:sp>
          <p:nvSpPr>
            <p:cNvPr id="324" name="사각형: 둥근 모서리 323">
              <a:extLst>
                <a:ext uri="{FF2B5EF4-FFF2-40B4-BE49-F238E27FC236}">
                  <a16:creationId xmlns:a16="http://schemas.microsoft.com/office/drawing/2014/main" id="{409C7F68-43D2-4FB5-B545-11906179F8F7}"/>
                </a:ext>
              </a:extLst>
            </p:cNvPr>
            <p:cNvSpPr/>
            <p:nvPr/>
          </p:nvSpPr>
          <p:spPr>
            <a:xfrm>
              <a:off x="3562511" y="2199321"/>
              <a:ext cx="851854" cy="210195"/>
            </a:xfrm>
            <a:prstGeom prst="roundRect">
              <a:avLst>
                <a:gd name="adj" fmla="val 26989"/>
              </a:avLst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에너지 전환</a:t>
              </a:r>
            </a:p>
          </p:txBody>
        </p:sp>
        <p:sp>
          <p:nvSpPr>
            <p:cNvPr id="325" name="사각형: 둥근 모서리 324">
              <a:extLst>
                <a:ext uri="{FF2B5EF4-FFF2-40B4-BE49-F238E27FC236}">
                  <a16:creationId xmlns:a16="http://schemas.microsoft.com/office/drawing/2014/main" id="{29BB2A7B-7029-486F-A972-D1D56C426D14}"/>
                </a:ext>
              </a:extLst>
            </p:cNvPr>
            <p:cNvSpPr/>
            <p:nvPr/>
          </p:nvSpPr>
          <p:spPr>
            <a:xfrm>
              <a:off x="2635436" y="2465383"/>
              <a:ext cx="851854" cy="210195"/>
            </a:xfrm>
            <a:prstGeom prst="roundRect">
              <a:avLst>
                <a:gd name="adj" fmla="val 29682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순환경제</a:t>
              </a:r>
            </a:p>
          </p:txBody>
        </p:sp>
        <p:sp>
          <p:nvSpPr>
            <p:cNvPr id="326" name="사각형: 둥근 모서리 325">
              <a:extLst>
                <a:ext uri="{FF2B5EF4-FFF2-40B4-BE49-F238E27FC236}">
                  <a16:creationId xmlns:a16="http://schemas.microsoft.com/office/drawing/2014/main" id="{80F4E05D-237B-4174-82D2-A3459750D27A}"/>
                </a:ext>
              </a:extLst>
            </p:cNvPr>
            <p:cNvSpPr/>
            <p:nvPr/>
          </p:nvSpPr>
          <p:spPr>
            <a:xfrm>
              <a:off x="3562511" y="2468073"/>
              <a:ext cx="851854" cy="210195"/>
            </a:xfrm>
            <a:prstGeom prst="roundRect">
              <a:avLst>
                <a:gd name="adj" fmla="val 2788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자연자본</a:t>
              </a:r>
            </a:p>
          </p:txBody>
        </p:sp>
      </p:grpSp>
      <p:grpSp>
        <p:nvGrpSpPr>
          <p:cNvPr id="327" name="그룹 326">
            <a:extLst>
              <a:ext uri="{FF2B5EF4-FFF2-40B4-BE49-F238E27FC236}">
                <a16:creationId xmlns:a16="http://schemas.microsoft.com/office/drawing/2014/main" id="{79FF1B61-8DBA-46C3-8A06-F6834ED24131}"/>
              </a:ext>
            </a:extLst>
          </p:cNvPr>
          <p:cNvGrpSpPr/>
          <p:nvPr/>
        </p:nvGrpSpPr>
        <p:grpSpPr>
          <a:xfrm>
            <a:off x="2568872" y="4660179"/>
            <a:ext cx="1933190" cy="984135"/>
            <a:chOff x="2604319" y="2948921"/>
            <a:chExt cx="1933190" cy="984135"/>
          </a:xfrm>
        </p:grpSpPr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7C7117AE-FE28-4985-953E-B3653058ACDB}"/>
                </a:ext>
              </a:extLst>
            </p:cNvPr>
            <p:cNvSpPr txBox="1"/>
            <p:nvPr/>
          </p:nvSpPr>
          <p:spPr>
            <a:xfrm>
              <a:off x="2639937" y="3042647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업무 분류 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pic>
          <p:nvPicPr>
            <p:cNvPr id="329" name="그림 328">
              <a:extLst>
                <a:ext uri="{FF2B5EF4-FFF2-40B4-BE49-F238E27FC236}">
                  <a16:creationId xmlns:a16="http://schemas.microsoft.com/office/drawing/2014/main" id="{FEAA00DF-62BD-4F1B-8B3B-8DA114880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67950" y="3330388"/>
              <a:ext cx="134484" cy="134484"/>
            </a:xfrm>
            <a:prstGeom prst="rect">
              <a:avLst/>
            </a:prstGeom>
          </p:spPr>
        </p:pic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38A1CA29-FC4D-4F10-867E-9272AB2220CF}"/>
                </a:ext>
              </a:extLst>
            </p:cNvPr>
            <p:cNvSpPr txBox="1"/>
            <p:nvPr/>
          </p:nvSpPr>
          <p:spPr>
            <a:xfrm>
              <a:off x="2834170" y="3322601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경영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cxnSp>
          <p:nvCxnSpPr>
            <p:cNvPr id="331" name="직선 연결선 330">
              <a:extLst>
                <a:ext uri="{FF2B5EF4-FFF2-40B4-BE49-F238E27FC236}">
                  <a16:creationId xmlns:a16="http://schemas.microsoft.com/office/drawing/2014/main" id="{2215DC4E-0628-4D60-A472-F37E4899C094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294892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pic>
          <p:nvPicPr>
            <p:cNvPr id="332" name="그림 331">
              <a:extLst>
                <a:ext uri="{FF2B5EF4-FFF2-40B4-BE49-F238E27FC236}">
                  <a16:creationId xmlns:a16="http://schemas.microsoft.com/office/drawing/2014/main" id="{102603D1-6A8B-4E45-9918-42E2F08F5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61074" y="3564003"/>
              <a:ext cx="141516" cy="141516"/>
            </a:xfrm>
            <a:prstGeom prst="rect">
              <a:avLst/>
            </a:prstGeom>
          </p:spPr>
        </p:pic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193D36A4-AA2A-44EB-A12D-A23FEFBBF2CE}"/>
                </a:ext>
              </a:extLst>
            </p:cNvPr>
            <p:cNvSpPr txBox="1"/>
            <p:nvPr/>
          </p:nvSpPr>
          <p:spPr>
            <a:xfrm>
              <a:off x="2827294" y="3563248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공시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pic>
          <p:nvPicPr>
            <p:cNvPr id="334" name="그림 333">
              <a:extLst>
                <a:ext uri="{FF2B5EF4-FFF2-40B4-BE49-F238E27FC236}">
                  <a16:creationId xmlns:a16="http://schemas.microsoft.com/office/drawing/2014/main" id="{9259B50E-8060-4609-A128-5F0BBE95F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54042" y="3791540"/>
              <a:ext cx="141516" cy="141516"/>
            </a:xfrm>
            <a:prstGeom prst="rect">
              <a:avLst/>
            </a:prstGeom>
          </p:spPr>
        </p:pic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808BF331-5BC3-40E3-A6FA-2D5B3EA8F4DD}"/>
                </a:ext>
              </a:extLst>
            </p:cNvPr>
            <p:cNvSpPr txBox="1"/>
            <p:nvPr/>
          </p:nvSpPr>
          <p:spPr>
            <a:xfrm>
              <a:off x="2820262" y="3790785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평가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3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336" name="그룹 335">
            <a:extLst>
              <a:ext uri="{FF2B5EF4-FFF2-40B4-BE49-F238E27FC236}">
                <a16:creationId xmlns:a16="http://schemas.microsoft.com/office/drawing/2014/main" id="{92B3E9EF-DE61-4E69-A43B-1F0A6E3429F1}"/>
              </a:ext>
            </a:extLst>
          </p:cNvPr>
          <p:cNvGrpSpPr/>
          <p:nvPr/>
        </p:nvGrpSpPr>
        <p:grpSpPr>
          <a:xfrm>
            <a:off x="2567608" y="3225565"/>
            <a:ext cx="1933190" cy="1312316"/>
            <a:chOff x="2604319" y="4090241"/>
            <a:chExt cx="1933190" cy="1312316"/>
          </a:xfrm>
        </p:grpSpPr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264E9116-FB7C-4EA8-95A9-5D527F368788}"/>
                </a:ext>
              </a:extLst>
            </p:cNvPr>
            <p:cNvSpPr txBox="1"/>
            <p:nvPr/>
          </p:nvSpPr>
          <p:spPr>
            <a:xfrm>
              <a:off x="2639937" y="4160128"/>
              <a:ext cx="1897572" cy="1521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제 분류                                 </a:t>
              </a:r>
              <a:r>
                <a:rPr lang="en-US" altLang="ko-KR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^</a:t>
              </a:r>
              <a:r>
                <a:rPr lang="ko-KR" altLang="en-US" sz="8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</a:t>
              </a:r>
            </a:p>
          </p:txBody>
        </p:sp>
        <p:cxnSp>
          <p:nvCxnSpPr>
            <p:cNvPr id="338" name="직선 연결선 337">
              <a:extLst>
                <a:ext uri="{FF2B5EF4-FFF2-40B4-BE49-F238E27FC236}">
                  <a16:creationId xmlns:a16="http://schemas.microsoft.com/office/drawing/2014/main" id="{B1BEE96B-02A5-45FB-BB93-478D3321085D}"/>
                </a:ext>
              </a:extLst>
            </p:cNvPr>
            <p:cNvCxnSpPr>
              <a:cxnSpLocks/>
            </p:cNvCxnSpPr>
            <p:nvPr/>
          </p:nvCxnSpPr>
          <p:spPr>
            <a:xfrm>
              <a:off x="2604319" y="4090241"/>
              <a:ext cx="1873720" cy="0"/>
            </a:xfrm>
            <a:prstGeom prst="line">
              <a:avLst/>
            </a:prstGeom>
            <a:ln w="635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339" name="그룹 338">
              <a:extLst>
                <a:ext uri="{FF2B5EF4-FFF2-40B4-BE49-F238E27FC236}">
                  <a16:creationId xmlns:a16="http://schemas.microsoft.com/office/drawing/2014/main" id="{D9102CC0-D5B4-4436-BEA1-97F750B96656}"/>
                </a:ext>
              </a:extLst>
            </p:cNvPr>
            <p:cNvGrpSpPr/>
            <p:nvPr/>
          </p:nvGrpSpPr>
          <p:grpSpPr>
            <a:xfrm>
              <a:off x="2655465" y="4377040"/>
              <a:ext cx="1529084" cy="1025517"/>
              <a:chOff x="7239398" y="4638599"/>
              <a:chExt cx="1529084" cy="1025517"/>
            </a:xfrm>
          </p:grpSpPr>
          <p:pic>
            <p:nvPicPr>
              <p:cNvPr id="340" name="그림 339">
                <a:extLst>
                  <a:ext uri="{FF2B5EF4-FFF2-40B4-BE49-F238E27FC236}">
                    <a16:creationId xmlns:a16="http://schemas.microsoft.com/office/drawing/2014/main" id="{50C96881-D950-4CCB-87A3-99347DFB8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46271" y="5529632"/>
                <a:ext cx="134484" cy="134484"/>
              </a:xfrm>
              <a:prstGeom prst="rect">
                <a:avLst/>
              </a:prstGeom>
            </p:spPr>
          </p:pic>
          <p:sp>
            <p:nvSpPr>
              <p:cNvPr id="341" name="TextBox 340">
                <a:extLst>
                  <a:ext uri="{FF2B5EF4-FFF2-40B4-BE49-F238E27FC236}">
                    <a16:creationId xmlns:a16="http://schemas.microsoft.com/office/drawing/2014/main" id="{57342940-77DF-42DC-AC96-37E3C8EED1EA}"/>
                  </a:ext>
                </a:extLst>
              </p:cNvPr>
              <p:cNvSpPr txBox="1"/>
              <p:nvPr/>
            </p:nvSpPr>
            <p:spPr>
              <a:xfrm>
                <a:off x="7412491" y="552184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ESG 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일반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342" name="그림 341">
                <a:extLst>
                  <a:ext uri="{FF2B5EF4-FFF2-40B4-BE49-F238E27FC236}">
                    <a16:creationId xmlns:a16="http://schemas.microsoft.com/office/drawing/2014/main" id="{D00E59D0-A9B5-452F-A75A-C411B619B7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50510" y="4871785"/>
                <a:ext cx="141516" cy="141516"/>
              </a:xfrm>
              <a:prstGeom prst="rect">
                <a:avLst/>
              </a:prstGeom>
            </p:spPr>
          </p:pic>
          <p:sp>
            <p:nvSpPr>
              <p:cNvPr id="343" name="TextBox 342">
                <a:extLst>
                  <a:ext uri="{FF2B5EF4-FFF2-40B4-BE49-F238E27FC236}">
                    <a16:creationId xmlns:a16="http://schemas.microsoft.com/office/drawing/2014/main" id="{4DE326D8-3AE4-454D-B778-A877DFCEFB01}"/>
                  </a:ext>
                </a:extLst>
              </p:cNvPr>
              <p:cNvSpPr txBox="1"/>
              <p:nvPr/>
            </p:nvSpPr>
            <p:spPr>
              <a:xfrm>
                <a:off x="7416730" y="4638599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환경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344" name="그림 343">
                <a:extLst>
                  <a:ext uri="{FF2B5EF4-FFF2-40B4-BE49-F238E27FC236}">
                    <a16:creationId xmlns:a16="http://schemas.microsoft.com/office/drawing/2014/main" id="{0EE5962A-32D7-4BBC-814D-96DFB56407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50510" y="5100353"/>
                <a:ext cx="141516" cy="141516"/>
              </a:xfrm>
              <a:prstGeom prst="rect">
                <a:avLst/>
              </a:prstGeom>
            </p:spPr>
          </p:pic>
          <p:sp>
            <p:nvSpPr>
              <p:cNvPr id="345" name="TextBox 344">
                <a:extLst>
                  <a:ext uri="{FF2B5EF4-FFF2-40B4-BE49-F238E27FC236}">
                    <a16:creationId xmlns:a16="http://schemas.microsoft.com/office/drawing/2014/main" id="{7C38B058-74F0-43CD-87E6-D690680817D8}"/>
                  </a:ext>
                </a:extLst>
              </p:cNvPr>
              <p:cNvSpPr txBox="1"/>
              <p:nvPr/>
            </p:nvSpPr>
            <p:spPr>
              <a:xfrm>
                <a:off x="7416730" y="48671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사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346" name="그림 345">
                <a:extLst>
                  <a:ext uri="{FF2B5EF4-FFF2-40B4-BE49-F238E27FC236}">
                    <a16:creationId xmlns:a16="http://schemas.microsoft.com/office/drawing/2014/main" id="{ECA278EA-66A4-4A47-8F01-ADFDC43423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57542" y="532135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347" name="TextBox 346">
                <a:extLst>
                  <a:ext uri="{FF2B5EF4-FFF2-40B4-BE49-F238E27FC236}">
                    <a16:creationId xmlns:a16="http://schemas.microsoft.com/office/drawing/2014/main" id="{31F835ED-E5B8-4B56-9592-5D0562C9F7A4}"/>
                  </a:ext>
                </a:extLst>
              </p:cNvPr>
              <p:cNvSpPr txBox="1"/>
              <p:nvPr/>
            </p:nvSpPr>
            <p:spPr>
              <a:xfrm>
                <a:off x="7423762" y="5088165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거버넌스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pic>
            <p:nvPicPr>
              <p:cNvPr id="348" name="그림 347">
                <a:extLst>
                  <a:ext uri="{FF2B5EF4-FFF2-40B4-BE49-F238E27FC236}">
                    <a16:creationId xmlns:a16="http://schemas.microsoft.com/office/drawing/2014/main" id="{0989AA07-0447-411C-9A99-011B0BAA11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39398" y="4643731"/>
                <a:ext cx="141516" cy="141516"/>
              </a:xfrm>
              <a:prstGeom prst="rect">
                <a:avLst/>
              </a:prstGeom>
            </p:spPr>
          </p:pic>
          <p:sp>
            <p:nvSpPr>
              <p:cNvPr id="350" name="TextBox 349">
                <a:extLst>
                  <a:ext uri="{FF2B5EF4-FFF2-40B4-BE49-F238E27FC236}">
                    <a16:creationId xmlns:a16="http://schemas.microsoft.com/office/drawing/2014/main" id="{DCB64972-A3BA-42CD-AC44-1B16DEA0034B}"/>
                  </a:ext>
                </a:extLst>
              </p:cNvPr>
              <p:cNvSpPr txBox="1"/>
              <p:nvPr/>
            </p:nvSpPr>
            <p:spPr>
              <a:xfrm>
                <a:off x="7416730" y="5315702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3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351" name="직사각형 350">
            <a:extLst>
              <a:ext uri="{FF2B5EF4-FFF2-40B4-BE49-F238E27FC236}">
                <a16:creationId xmlns:a16="http://schemas.microsoft.com/office/drawing/2014/main" id="{4ED5275F-2C03-435D-854B-36221709BEEE}"/>
              </a:ext>
            </a:extLst>
          </p:cNvPr>
          <p:cNvSpPr/>
          <p:nvPr/>
        </p:nvSpPr>
        <p:spPr>
          <a:xfrm>
            <a:off x="2540051" y="1541174"/>
            <a:ext cx="1992468" cy="4264090"/>
          </a:xfrm>
          <a:prstGeom prst="rect">
            <a:avLst/>
          </a:prstGeom>
          <a:solidFill>
            <a:srgbClr val="DB536A">
              <a:alpha val="10196"/>
            </a:srgbClr>
          </a:solidFill>
          <a:ln w="28575">
            <a:solidFill>
              <a:srgbClr val="DB536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52" name="직사각형 351">
            <a:extLst>
              <a:ext uri="{FF2B5EF4-FFF2-40B4-BE49-F238E27FC236}">
                <a16:creationId xmlns:a16="http://schemas.microsoft.com/office/drawing/2014/main" id="{7E5F30EB-65BD-4024-B019-6CEC2948BC44}"/>
              </a:ext>
            </a:extLst>
          </p:cNvPr>
          <p:cNvSpPr/>
          <p:nvPr/>
        </p:nvSpPr>
        <p:spPr>
          <a:xfrm>
            <a:off x="4743208" y="2016005"/>
            <a:ext cx="4182637" cy="2283827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53" name="직사각형 352">
            <a:extLst>
              <a:ext uri="{FF2B5EF4-FFF2-40B4-BE49-F238E27FC236}">
                <a16:creationId xmlns:a16="http://schemas.microsoft.com/office/drawing/2014/main" id="{CCF2D30E-660C-4C6B-A997-6996D4621928}"/>
              </a:ext>
            </a:extLst>
          </p:cNvPr>
          <p:cNvSpPr/>
          <p:nvPr/>
        </p:nvSpPr>
        <p:spPr>
          <a:xfrm>
            <a:off x="6464077" y="2948402"/>
            <a:ext cx="637249" cy="45173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355" name="그룹 354">
            <a:extLst>
              <a:ext uri="{FF2B5EF4-FFF2-40B4-BE49-F238E27FC236}">
                <a16:creationId xmlns:a16="http://schemas.microsoft.com/office/drawing/2014/main" id="{29E7929D-8183-4EF5-9BA7-5B928EC9AA17}"/>
              </a:ext>
            </a:extLst>
          </p:cNvPr>
          <p:cNvGrpSpPr/>
          <p:nvPr/>
        </p:nvGrpSpPr>
        <p:grpSpPr>
          <a:xfrm>
            <a:off x="199908" y="580005"/>
            <a:ext cx="11944011" cy="6096975"/>
            <a:chOff x="199908" y="580005"/>
            <a:chExt cx="11944011" cy="6096975"/>
          </a:xfrm>
        </p:grpSpPr>
        <p:sp>
          <p:nvSpPr>
            <p:cNvPr id="356" name="직사각형 355">
              <a:extLst>
                <a:ext uri="{FF2B5EF4-FFF2-40B4-BE49-F238E27FC236}">
                  <a16:creationId xmlns:a16="http://schemas.microsoft.com/office/drawing/2014/main" id="{9019A08A-CB03-4A70-B175-5372B9436870}"/>
                </a:ext>
              </a:extLst>
            </p:cNvPr>
            <p:cNvSpPr/>
            <p:nvPr/>
          </p:nvSpPr>
          <p:spPr>
            <a:xfrm>
              <a:off x="199908" y="580005"/>
              <a:ext cx="11944011" cy="6096975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57" name="직사각형 356">
              <a:extLst>
                <a:ext uri="{FF2B5EF4-FFF2-40B4-BE49-F238E27FC236}">
                  <a16:creationId xmlns:a16="http://schemas.microsoft.com/office/drawing/2014/main" id="{0F60B99E-BD45-4B12-914F-AA877AAD0321}"/>
                </a:ext>
              </a:extLst>
            </p:cNvPr>
            <p:cNvSpPr/>
            <p:nvPr/>
          </p:nvSpPr>
          <p:spPr>
            <a:xfrm>
              <a:off x="5530275" y="3183210"/>
              <a:ext cx="973748" cy="451737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en-US" altLang="ko-KR" sz="1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OLD</a:t>
              </a:r>
              <a:endParaRPr lang="ko-KR" altLang="en-US" sz="1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2520216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326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보기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189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에서 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보기 클릭 시 출력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37" name="표 10">
            <a:extLst>
              <a:ext uri="{FF2B5EF4-FFF2-40B4-BE49-F238E27FC236}">
                <a16:creationId xmlns:a16="http://schemas.microsoft.com/office/drawing/2014/main" id="{46DB2E08-C112-4765-A3C7-3A4F6A2E903A}"/>
              </a:ext>
            </a:extLst>
          </p:cNvPr>
          <p:cNvGraphicFramePr>
            <a:graphicFrameLocks noGrp="1"/>
          </p:cNvGraphicFramePr>
          <p:nvPr/>
        </p:nvGraphicFramePr>
        <p:xfrm>
          <a:off x="9270032" y="755371"/>
          <a:ext cx="2915205" cy="191267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205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</a:tblGrid>
              <a:tr h="1562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16993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메뉴 및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필터는 아래와 같이 사용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든 분류정보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에 기반함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pic>
        <p:nvPicPr>
          <p:cNvPr id="22" name="그림 21">
            <a:extLst>
              <a:ext uri="{FF2B5EF4-FFF2-40B4-BE49-F238E27FC236}">
                <a16:creationId xmlns:a16="http://schemas.microsoft.com/office/drawing/2014/main" id="{B5431B6A-2804-4F3D-AB9E-3700FFF30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1175" y="1394627"/>
            <a:ext cx="2822744" cy="1167211"/>
          </a:xfrm>
          <a:prstGeom prst="rect">
            <a:avLst/>
          </a:prstGeom>
        </p:spPr>
      </p:pic>
      <p:graphicFrame>
        <p:nvGraphicFramePr>
          <p:cNvPr id="304" name="표 10">
            <a:extLst>
              <a:ext uri="{FF2B5EF4-FFF2-40B4-BE49-F238E27FC236}">
                <a16:creationId xmlns:a16="http://schemas.microsoft.com/office/drawing/2014/main" id="{3381C0DA-0ECC-4547-8751-3157A43EA333}"/>
              </a:ext>
            </a:extLst>
          </p:cNvPr>
          <p:cNvGraphicFramePr>
            <a:graphicFrameLocks noGrp="1"/>
          </p:cNvGraphicFramePr>
          <p:nvPr/>
        </p:nvGraphicFramePr>
        <p:xfrm>
          <a:off x="9275970" y="2675501"/>
          <a:ext cx="2922885" cy="14870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정렬 순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나다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알파벳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많은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762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나다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ㄷ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자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알파벳순 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B,C…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자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925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1925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된 값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체크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상태로 초기화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25921"/>
                  </a:ext>
                </a:extLst>
              </a:tr>
              <a:tr h="1925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대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필터 적용되어 본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리스트 출력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0187024"/>
                  </a:ext>
                </a:extLst>
              </a:tr>
            </a:tbl>
          </a:graphicData>
        </a:graphic>
      </p:graphicFrame>
      <p:sp>
        <p:nvSpPr>
          <p:cNvPr id="309" name="사각형: 둥근 모서리 308">
            <a:extLst>
              <a:ext uri="{FF2B5EF4-FFF2-40B4-BE49-F238E27FC236}">
                <a16:creationId xmlns:a16="http://schemas.microsoft.com/office/drawing/2014/main" id="{ECC4DBE8-0F08-44FA-96B2-9F62F90A8E71}"/>
              </a:ext>
            </a:extLst>
          </p:cNvPr>
          <p:cNvSpPr/>
          <p:nvPr/>
        </p:nvSpPr>
        <p:spPr>
          <a:xfrm>
            <a:off x="2506971" y="1356345"/>
            <a:ext cx="4683509" cy="4145310"/>
          </a:xfrm>
          <a:prstGeom prst="roundRect">
            <a:avLst>
              <a:gd name="adj" fmla="val 0"/>
            </a:avLst>
          </a:prstGeom>
          <a:solidFill>
            <a:srgbClr val="F2F2F2">
              <a:alpha val="30196"/>
            </a:srgb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310" name="직사각형 309">
            <a:extLst>
              <a:ext uri="{FF2B5EF4-FFF2-40B4-BE49-F238E27FC236}">
                <a16:creationId xmlns:a16="http://schemas.microsoft.com/office/drawing/2014/main" id="{C9CBC522-9363-40CF-9C02-13159AFB5F8C}"/>
              </a:ext>
            </a:extLst>
          </p:cNvPr>
          <p:cNvSpPr/>
          <p:nvPr/>
        </p:nvSpPr>
        <p:spPr>
          <a:xfrm>
            <a:off x="4913933" y="5131279"/>
            <a:ext cx="689645" cy="2450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38C4CD7A-B2A8-4E5F-9B64-B036E37159BF}"/>
              </a:ext>
            </a:extLst>
          </p:cNvPr>
          <p:cNvSpPr txBox="1"/>
          <p:nvPr/>
        </p:nvSpPr>
        <p:spPr>
          <a:xfrm>
            <a:off x="2605881" y="1419407"/>
            <a:ext cx="1865337" cy="1958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출처명</a:t>
            </a:r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9373B81F-8D75-42F8-B8F4-07924F4FCF7B}"/>
              </a:ext>
            </a:extLst>
          </p:cNvPr>
          <p:cNvSpPr txBox="1"/>
          <p:nvPr/>
        </p:nvSpPr>
        <p:spPr>
          <a:xfrm>
            <a:off x="2669602" y="1760742"/>
            <a:ext cx="2860673" cy="1610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cs typeface="Arial"/>
              </a:rPr>
              <a:t>가나다순 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알파벳순    자료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많은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F25DB3-B795-436E-8200-5CCC1E15B977}"/>
              </a:ext>
            </a:extLst>
          </p:cNvPr>
          <p:cNvGrpSpPr/>
          <p:nvPr/>
        </p:nvGrpSpPr>
        <p:grpSpPr>
          <a:xfrm>
            <a:off x="2642180" y="2082224"/>
            <a:ext cx="4415624" cy="271940"/>
            <a:chOff x="1173073" y="1978232"/>
            <a:chExt cx="4570600" cy="271940"/>
          </a:xfrm>
        </p:grpSpPr>
        <p:sp>
          <p:nvSpPr>
            <p:cNvPr id="316" name="사각형: 둥근 모서리 315">
              <a:extLst>
                <a:ext uri="{FF2B5EF4-FFF2-40B4-BE49-F238E27FC236}">
                  <a16:creationId xmlns:a16="http://schemas.microsoft.com/office/drawing/2014/main" id="{E9A6A832-BEE0-4C12-AE23-9AE6A18FE059}"/>
                </a:ext>
              </a:extLst>
            </p:cNvPr>
            <p:cNvSpPr/>
            <p:nvPr/>
          </p:nvSpPr>
          <p:spPr>
            <a:xfrm>
              <a:off x="1216160" y="2007231"/>
              <a:ext cx="404660" cy="213941"/>
            </a:xfrm>
            <a:prstGeom prst="roundRect">
              <a:avLst>
                <a:gd name="adj" fmla="val 11046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/>
            </a:p>
          </p:txBody>
        </p:sp>
        <p:sp>
          <p:nvSpPr>
            <p:cNvPr id="317" name="직사각형 316">
              <a:extLst>
                <a:ext uri="{FF2B5EF4-FFF2-40B4-BE49-F238E27FC236}">
                  <a16:creationId xmlns:a16="http://schemas.microsoft.com/office/drawing/2014/main" id="{510A98A1-E857-4A07-B38F-6C4CB9354A79}"/>
                </a:ext>
              </a:extLst>
            </p:cNvPr>
            <p:cNvSpPr/>
            <p:nvPr/>
          </p:nvSpPr>
          <p:spPr>
            <a:xfrm>
              <a:off x="1173073" y="1978232"/>
              <a:ext cx="482065" cy="2719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전체</a:t>
              </a:r>
            </a:p>
          </p:txBody>
        </p:sp>
        <p:grpSp>
          <p:nvGrpSpPr>
            <p:cNvPr id="318" name="그룹 317">
              <a:extLst>
                <a:ext uri="{FF2B5EF4-FFF2-40B4-BE49-F238E27FC236}">
                  <a16:creationId xmlns:a16="http://schemas.microsoft.com/office/drawing/2014/main" id="{C8093D15-96C0-4B65-AD97-3BC995F48736}"/>
                </a:ext>
              </a:extLst>
            </p:cNvPr>
            <p:cNvGrpSpPr/>
            <p:nvPr/>
          </p:nvGrpSpPr>
          <p:grpSpPr>
            <a:xfrm>
              <a:off x="1646920" y="2006440"/>
              <a:ext cx="215011" cy="215522"/>
              <a:chOff x="711118" y="4181908"/>
              <a:chExt cx="163648" cy="140400"/>
            </a:xfrm>
          </p:grpSpPr>
          <p:sp>
            <p:nvSpPr>
              <p:cNvPr id="362" name="사각형: 둥근 모서리 361">
                <a:extLst>
                  <a:ext uri="{FF2B5EF4-FFF2-40B4-BE49-F238E27FC236}">
                    <a16:creationId xmlns:a16="http://schemas.microsoft.com/office/drawing/2014/main" id="{7E287624-0522-428B-9387-46B2EF3B1BDE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63" name="직사각형 362">
                <a:extLst>
                  <a:ext uri="{FF2B5EF4-FFF2-40B4-BE49-F238E27FC236}">
                    <a16:creationId xmlns:a16="http://schemas.microsoft.com/office/drawing/2014/main" id="{621E1700-D83E-49A1-8CD6-663FC462FE36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ㄱ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19" name="그룹 318">
              <a:extLst>
                <a:ext uri="{FF2B5EF4-FFF2-40B4-BE49-F238E27FC236}">
                  <a16:creationId xmlns:a16="http://schemas.microsoft.com/office/drawing/2014/main" id="{E364FB74-6258-4E5C-B195-F2C688950B5A}"/>
                </a:ext>
              </a:extLst>
            </p:cNvPr>
            <p:cNvGrpSpPr/>
            <p:nvPr/>
          </p:nvGrpSpPr>
          <p:grpSpPr>
            <a:xfrm>
              <a:off x="1871154" y="2006440"/>
              <a:ext cx="215011" cy="215522"/>
              <a:chOff x="711118" y="4181908"/>
              <a:chExt cx="163648" cy="140400"/>
            </a:xfrm>
          </p:grpSpPr>
          <p:sp>
            <p:nvSpPr>
              <p:cNvPr id="360" name="사각형: 둥근 모서리 359">
                <a:extLst>
                  <a:ext uri="{FF2B5EF4-FFF2-40B4-BE49-F238E27FC236}">
                    <a16:creationId xmlns:a16="http://schemas.microsoft.com/office/drawing/2014/main" id="{57541C44-7FFB-4760-ADF7-908A9E8D122B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61" name="직사각형 360">
                <a:extLst>
                  <a:ext uri="{FF2B5EF4-FFF2-40B4-BE49-F238E27FC236}">
                    <a16:creationId xmlns:a16="http://schemas.microsoft.com/office/drawing/2014/main" id="{9A6CA7E9-4CA1-4CCB-B2E0-397B11190D99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ㄴ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0" name="그룹 319">
              <a:extLst>
                <a:ext uri="{FF2B5EF4-FFF2-40B4-BE49-F238E27FC236}">
                  <a16:creationId xmlns:a16="http://schemas.microsoft.com/office/drawing/2014/main" id="{86870AFC-CEF6-4942-BBFF-2DB061228200}"/>
                </a:ext>
              </a:extLst>
            </p:cNvPr>
            <p:cNvGrpSpPr/>
            <p:nvPr/>
          </p:nvGrpSpPr>
          <p:grpSpPr>
            <a:xfrm>
              <a:off x="2095389" y="2006440"/>
              <a:ext cx="215011" cy="215522"/>
              <a:chOff x="711118" y="4181908"/>
              <a:chExt cx="163648" cy="140400"/>
            </a:xfrm>
          </p:grpSpPr>
          <p:sp>
            <p:nvSpPr>
              <p:cNvPr id="358" name="사각형: 둥근 모서리 357">
                <a:extLst>
                  <a:ext uri="{FF2B5EF4-FFF2-40B4-BE49-F238E27FC236}">
                    <a16:creationId xmlns:a16="http://schemas.microsoft.com/office/drawing/2014/main" id="{0C5CD6E4-821F-41D0-B62B-E01CD8BD4D0E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59" name="직사각형 358">
                <a:extLst>
                  <a:ext uri="{FF2B5EF4-FFF2-40B4-BE49-F238E27FC236}">
                    <a16:creationId xmlns:a16="http://schemas.microsoft.com/office/drawing/2014/main" id="{73D1BB17-E70A-4CA9-B8FF-5E38162342A8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ㄷ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1" name="그룹 320">
              <a:extLst>
                <a:ext uri="{FF2B5EF4-FFF2-40B4-BE49-F238E27FC236}">
                  <a16:creationId xmlns:a16="http://schemas.microsoft.com/office/drawing/2014/main" id="{828500F7-6587-456A-BCF7-9FE5D5860CAA}"/>
                </a:ext>
              </a:extLst>
            </p:cNvPr>
            <p:cNvGrpSpPr/>
            <p:nvPr/>
          </p:nvGrpSpPr>
          <p:grpSpPr>
            <a:xfrm>
              <a:off x="2319624" y="2006440"/>
              <a:ext cx="215011" cy="215522"/>
              <a:chOff x="711118" y="4181908"/>
              <a:chExt cx="163648" cy="140400"/>
            </a:xfrm>
          </p:grpSpPr>
          <p:sp>
            <p:nvSpPr>
              <p:cNvPr id="356" name="사각형: 둥근 모서리 355">
                <a:extLst>
                  <a:ext uri="{FF2B5EF4-FFF2-40B4-BE49-F238E27FC236}">
                    <a16:creationId xmlns:a16="http://schemas.microsoft.com/office/drawing/2014/main" id="{07636D41-9698-4A7F-804A-0698CBAD1E67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57" name="직사각형 356">
                <a:extLst>
                  <a:ext uri="{FF2B5EF4-FFF2-40B4-BE49-F238E27FC236}">
                    <a16:creationId xmlns:a16="http://schemas.microsoft.com/office/drawing/2014/main" id="{75D4F8F3-1325-4881-A4AD-68D301873C52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ㄹ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2" name="그룹 321">
              <a:extLst>
                <a:ext uri="{FF2B5EF4-FFF2-40B4-BE49-F238E27FC236}">
                  <a16:creationId xmlns:a16="http://schemas.microsoft.com/office/drawing/2014/main" id="{0D710D25-762F-4815-85D6-458871B80880}"/>
                </a:ext>
              </a:extLst>
            </p:cNvPr>
            <p:cNvGrpSpPr/>
            <p:nvPr/>
          </p:nvGrpSpPr>
          <p:grpSpPr>
            <a:xfrm>
              <a:off x="2543859" y="2006440"/>
              <a:ext cx="215011" cy="215522"/>
              <a:chOff x="711118" y="4181908"/>
              <a:chExt cx="163648" cy="140400"/>
            </a:xfrm>
          </p:grpSpPr>
          <p:sp>
            <p:nvSpPr>
              <p:cNvPr id="354" name="사각형: 둥근 모서리 353">
                <a:extLst>
                  <a:ext uri="{FF2B5EF4-FFF2-40B4-BE49-F238E27FC236}">
                    <a16:creationId xmlns:a16="http://schemas.microsoft.com/office/drawing/2014/main" id="{5BB5EB42-3BD7-4B16-AAA8-2AF2F051101C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55" name="직사각형 354">
                <a:extLst>
                  <a:ext uri="{FF2B5EF4-FFF2-40B4-BE49-F238E27FC236}">
                    <a16:creationId xmlns:a16="http://schemas.microsoft.com/office/drawing/2014/main" id="{E0DEE96B-8774-48A2-BB50-5401879358A1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ㅁ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3" name="그룹 322">
              <a:extLst>
                <a:ext uri="{FF2B5EF4-FFF2-40B4-BE49-F238E27FC236}">
                  <a16:creationId xmlns:a16="http://schemas.microsoft.com/office/drawing/2014/main" id="{D530EA5F-D483-400D-933A-C3FA3B439B9A}"/>
                </a:ext>
              </a:extLst>
            </p:cNvPr>
            <p:cNvGrpSpPr/>
            <p:nvPr/>
          </p:nvGrpSpPr>
          <p:grpSpPr>
            <a:xfrm>
              <a:off x="2768093" y="2006440"/>
              <a:ext cx="215011" cy="215522"/>
              <a:chOff x="711118" y="4181908"/>
              <a:chExt cx="163648" cy="140400"/>
            </a:xfrm>
          </p:grpSpPr>
          <p:sp>
            <p:nvSpPr>
              <p:cNvPr id="352" name="사각형: 둥근 모서리 351">
                <a:extLst>
                  <a:ext uri="{FF2B5EF4-FFF2-40B4-BE49-F238E27FC236}">
                    <a16:creationId xmlns:a16="http://schemas.microsoft.com/office/drawing/2014/main" id="{5461CB8D-2A3F-4874-AC8E-2D4D32C7BCFC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53" name="직사각형 352">
                <a:extLst>
                  <a:ext uri="{FF2B5EF4-FFF2-40B4-BE49-F238E27FC236}">
                    <a16:creationId xmlns:a16="http://schemas.microsoft.com/office/drawing/2014/main" id="{C50A5775-9601-4BDD-A94D-3116CF846394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ㅂ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4" name="그룹 323">
              <a:extLst>
                <a:ext uri="{FF2B5EF4-FFF2-40B4-BE49-F238E27FC236}">
                  <a16:creationId xmlns:a16="http://schemas.microsoft.com/office/drawing/2014/main" id="{DA70B71F-7038-42B4-9674-70314F66EF66}"/>
                </a:ext>
              </a:extLst>
            </p:cNvPr>
            <p:cNvGrpSpPr/>
            <p:nvPr/>
          </p:nvGrpSpPr>
          <p:grpSpPr>
            <a:xfrm>
              <a:off x="2992325" y="2006440"/>
              <a:ext cx="215011" cy="215522"/>
              <a:chOff x="711118" y="4181908"/>
              <a:chExt cx="163648" cy="140400"/>
            </a:xfrm>
          </p:grpSpPr>
          <p:sp>
            <p:nvSpPr>
              <p:cNvPr id="350" name="사각형: 둥근 모서리 349">
                <a:extLst>
                  <a:ext uri="{FF2B5EF4-FFF2-40B4-BE49-F238E27FC236}">
                    <a16:creationId xmlns:a16="http://schemas.microsoft.com/office/drawing/2014/main" id="{FC10E033-E9CD-4EAB-97E9-63CD28411CA5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51" name="직사각형 350">
                <a:extLst>
                  <a:ext uri="{FF2B5EF4-FFF2-40B4-BE49-F238E27FC236}">
                    <a16:creationId xmlns:a16="http://schemas.microsoft.com/office/drawing/2014/main" id="{C0AD3D2A-53A2-4663-AF5C-A73819611069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ㅅ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5" name="그룹 324">
              <a:extLst>
                <a:ext uri="{FF2B5EF4-FFF2-40B4-BE49-F238E27FC236}">
                  <a16:creationId xmlns:a16="http://schemas.microsoft.com/office/drawing/2014/main" id="{5A1F92F4-6624-4286-B408-234A16723F88}"/>
                </a:ext>
              </a:extLst>
            </p:cNvPr>
            <p:cNvGrpSpPr/>
            <p:nvPr/>
          </p:nvGrpSpPr>
          <p:grpSpPr>
            <a:xfrm>
              <a:off x="3233964" y="2005303"/>
              <a:ext cx="215011" cy="215522"/>
              <a:chOff x="711118" y="4181908"/>
              <a:chExt cx="163648" cy="140400"/>
            </a:xfrm>
          </p:grpSpPr>
          <p:sp>
            <p:nvSpPr>
              <p:cNvPr id="347" name="사각형: 둥근 모서리 346">
                <a:extLst>
                  <a:ext uri="{FF2B5EF4-FFF2-40B4-BE49-F238E27FC236}">
                    <a16:creationId xmlns:a16="http://schemas.microsoft.com/office/drawing/2014/main" id="{82373432-FAA3-4DD0-9DA1-E7A23F0883B4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48" name="직사각형 347">
                <a:extLst>
                  <a:ext uri="{FF2B5EF4-FFF2-40B4-BE49-F238E27FC236}">
                    <a16:creationId xmlns:a16="http://schemas.microsoft.com/office/drawing/2014/main" id="{07158918-F9D9-48EB-8644-F6699F86119F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ㅇ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6" name="그룹 325">
              <a:extLst>
                <a:ext uri="{FF2B5EF4-FFF2-40B4-BE49-F238E27FC236}">
                  <a16:creationId xmlns:a16="http://schemas.microsoft.com/office/drawing/2014/main" id="{A8D2646E-D2CF-4CD4-9FCB-6436DD1F9F33}"/>
                </a:ext>
              </a:extLst>
            </p:cNvPr>
            <p:cNvGrpSpPr/>
            <p:nvPr/>
          </p:nvGrpSpPr>
          <p:grpSpPr>
            <a:xfrm>
              <a:off x="3458199" y="2005303"/>
              <a:ext cx="215011" cy="215522"/>
              <a:chOff x="711118" y="4181908"/>
              <a:chExt cx="163648" cy="140400"/>
            </a:xfrm>
          </p:grpSpPr>
          <p:sp>
            <p:nvSpPr>
              <p:cNvPr id="345" name="사각형: 둥근 모서리 344">
                <a:extLst>
                  <a:ext uri="{FF2B5EF4-FFF2-40B4-BE49-F238E27FC236}">
                    <a16:creationId xmlns:a16="http://schemas.microsoft.com/office/drawing/2014/main" id="{5E8740C0-D232-448B-955F-EC3AF14A0B86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46" name="직사각형 345">
                <a:extLst>
                  <a:ext uri="{FF2B5EF4-FFF2-40B4-BE49-F238E27FC236}">
                    <a16:creationId xmlns:a16="http://schemas.microsoft.com/office/drawing/2014/main" id="{B4E28223-56A9-4D80-B889-2B1BDC720390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ㅈ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7" name="그룹 326">
              <a:extLst>
                <a:ext uri="{FF2B5EF4-FFF2-40B4-BE49-F238E27FC236}">
                  <a16:creationId xmlns:a16="http://schemas.microsoft.com/office/drawing/2014/main" id="{6087B985-1E8B-4034-9CCA-F64A9E3889C3}"/>
                </a:ext>
              </a:extLst>
            </p:cNvPr>
            <p:cNvGrpSpPr/>
            <p:nvPr/>
          </p:nvGrpSpPr>
          <p:grpSpPr>
            <a:xfrm>
              <a:off x="3682434" y="2005303"/>
              <a:ext cx="215011" cy="215522"/>
              <a:chOff x="711118" y="4181908"/>
              <a:chExt cx="163648" cy="140400"/>
            </a:xfrm>
          </p:grpSpPr>
          <p:sp>
            <p:nvSpPr>
              <p:cNvPr id="343" name="사각형: 둥근 모서리 342">
                <a:extLst>
                  <a:ext uri="{FF2B5EF4-FFF2-40B4-BE49-F238E27FC236}">
                    <a16:creationId xmlns:a16="http://schemas.microsoft.com/office/drawing/2014/main" id="{22AD8DB7-789F-453D-8CB0-D27A8332A696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44" name="직사각형 343">
                <a:extLst>
                  <a:ext uri="{FF2B5EF4-FFF2-40B4-BE49-F238E27FC236}">
                    <a16:creationId xmlns:a16="http://schemas.microsoft.com/office/drawing/2014/main" id="{BA521071-B928-4DC9-AFBF-1B6A75267C08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ㅊ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8" name="그룹 327">
              <a:extLst>
                <a:ext uri="{FF2B5EF4-FFF2-40B4-BE49-F238E27FC236}">
                  <a16:creationId xmlns:a16="http://schemas.microsoft.com/office/drawing/2014/main" id="{890F1C5A-381C-45DB-81BB-6E670A66365B}"/>
                </a:ext>
              </a:extLst>
            </p:cNvPr>
            <p:cNvGrpSpPr/>
            <p:nvPr/>
          </p:nvGrpSpPr>
          <p:grpSpPr>
            <a:xfrm>
              <a:off x="3906668" y="2005303"/>
              <a:ext cx="215011" cy="215522"/>
              <a:chOff x="711118" y="4181908"/>
              <a:chExt cx="163648" cy="140400"/>
            </a:xfrm>
          </p:grpSpPr>
          <p:sp>
            <p:nvSpPr>
              <p:cNvPr id="341" name="사각형: 둥근 모서리 340">
                <a:extLst>
                  <a:ext uri="{FF2B5EF4-FFF2-40B4-BE49-F238E27FC236}">
                    <a16:creationId xmlns:a16="http://schemas.microsoft.com/office/drawing/2014/main" id="{A24B87CD-BEEB-4053-90B3-CEED10FA3C27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42" name="직사각형 341">
                <a:extLst>
                  <a:ext uri="{FF2B5EF4-FFF2-40B4-BE49-F238E27FC236}">
                    <a16:creationId xmlns:a16="http://schemas.microsoft.com/office/drawing/2014/main" id="{7A1FD961-B7C9-4D8C-A413-F859648CF6FE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ㅋ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29" name="그룹 328">
              <a:extLst>
                <a:ext uri="{FF2B5EF4-FFF2-40B4-BE49-F238E27FC236}">
                  <a16:creationId xmlns:a16="http://schemas.microsoft.com/office/drawing/2014/main" id="{A60CB008-186F-4BE9-A1FE-2C8AC3CF6B4A}"/>
                </a:ext>
              </a:extLst>
            </p:cNvPr>
            <p:cNvGrpSpPr/>
            <p:nvPr/>
          </p:nvGrpSpPr>
          <p:grpSpPr>
            <a:xfrm>
              <a:off x="4130903" y="2005303"/>
              <a:ext cx="215011" cy="215522"/>
              <a:chOff x="711118" y="4181908"/>
              <a:chExt cx="163648" cy="140400"/>
            </a:xfrm>
          </p:grpSpPr>
          <p:sp>
            <p:nvSpPr>
              <p:cNvPr id="339" name="사각형: 둥근 모서리 338">
                <a:extLst>
                  <a:ext uri="{FF2B5EF4-FFF2-40B4-BE49-F238E27FC236}">
                    <a16:creationId xmlns:a16="http://schemas.microsoft.com/office/drawing/2014/main" id="{7AC4E417-6761-4392-B51F-DB0CDC49D997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40" name="직사각형 339">
                <a:extLst>
                  <a:ext uri="{FF2B5EF4-FFF2-40B4-BE49-F238E27FC236}">
                    <a16:creationId xmlns:a16="http://schemas.microsoft.com/office/drawing/2014/main" id="{C5C41361-5F41-481C-A4CA-06BB47FE92D5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ㅌ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30" name="그룹 329">
              <a:extLst>
                <a:ext uri="{FF2B5EF4-FFF2-40B4-BE49-F238E27FC236}">
                  <a16:creationId xmlns:a16="http://schemas.microsoft.com/office/drawing/2014/main" id="{90F79C9A-924B-44BF-9459-4CEC6C2F074D}"/>
                </a:ext>
              </a:extLst>
            </p:cNvPr>
            <p:cNvGrpSpPr/>
            <p:nvPr/>
          </p:nvGrpSpPr>
          <p:grpSpPr>
            <a:xfrm>
              <a:off x="4355138" y="2005303"/>
              <a:ext cx="215011" cy="215522"/>
              <a:chOff x="711118" y="4181908"/>
              <a:chExt cx="163648" cy="140400"/>
            </a:xfrm>
          </p:grpSpPr>
          <p:sp>
            <p:nvSpPr>
              <p:cNvPr id="337" name="사각형: 둥근 모서리 336">
                <a:extLst>
                  <a:ext uri="{FF2B5EF4-FFF2-40B4-BE49-F238E27FC236}">
                    <a16:creationId xmlns:a16="http://schemas.microsoft.com/office/drawing/2014/main" id="{2B7BF394-2357-4690-9D71-EFDFFB45C1B7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38" name="직사각형 337">
                <a:extLst>
                  <a:ext uri="{FF2B5EF4-FFF2-40B4-BE49-F238E27FC236}">
                    <a16:creationId xmlns:a16="http://schemas.microsoft.com/office/drawing/2014/main" id="{98F44D80-660E-4D98-9424-DF91F8DE76B8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ㅍ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31" name="그룹 330">
              <a:extLst>
                <a:ext uri="{FF2B5EF4-FFF2-40B4-BE49-F238E27FC236}">
                  <a16:creationId xmlns:a16="http://schemas.microsoft.com/office/drawing/2014/main" id="{2F67E624-6EFC-40B3-B418-BEF4DBAE9B41}"/>
                </a:ext>
              </a:extLst>
            </p:cNvPr>
            <p:cNvGrpSpPr/>
            <p:nvPr/>
          </p:nvGrpSpPr>
          <p:grpSpPr>
            <a:xfrm>
              <a:off x="4579370" y="2005303"/>
              <a:ext cx="215011" cy="215522"/>
              <a:chOff x="711118" y="4181908"/>
              <a:chExt cx="163648" cy="140400"/>
            </a:xfrm>
          </p:grpSpPr>
          <p:sp>
            <p:nvSpPr>
              <p:cNvPr id="335" name="사각형: 둥근 모서리 334">
                <a:extLst>
                  <a:ext uri="{FF2B5EF4-FFF2-40B4-BE49-F238E27FC236}">
                    <a16:creationId xmlns:a16="http://schemas.microsoft.com/office/drawing/2014/main" id="{0E570002-2D4F-41A5-8189-EB95C13CC1B5}"/>
                  </a:ext>
                </a:extLst>
              </p:cNvPr>
              <p:cNvSpPr/>
              <p:nvPr/>
            </p:nvSpPr>
            <p:spPr>
              <a:xfrm>
                <a:off x="722742" y="4181908"/>
                <a:ext cx="140400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36" name="직사각형 335">
                <a:extLst>
                  <a:ext uri="{FF2B5EF4-FFF2-40B4-BE49-F238E27FC236}">
                    <a16:creationId xmlns:a16="http://schemas.microsoft.com/office/drawing/2014/main" id="{8188CD62-3C2C-4D8F-9D4F-B8AE1F22745B}"/>
                  </a:ext>
                </a:extLst>
              </p:cNvPr>
              <p:cNvSpPr/>
              <p:nvPr/>
            </p:nvSpPr>
            <p:spPr>
              <a:xfrm>
                <a:off x="711118" y="4181919"/>
                <a:ext cx="163648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9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ㅎ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332" name="그룹 331">
              <a:extLst>
                <a:ext uri="{FF2B5EF4-FFF2-40B4-BE49-F238E27FC236}">
                  <a16:creationId xmlns:a16="http://schemas.microsoft.com/office/drawing/2014/main" id="{C9E9A413-3B95-444D-8927-49B44B87A854}"/>
                </a:ext>
              </a:extLst>
            </p:cNvPr>
            <p:cNvGrpSpPr/>
            <p:nvPr/>
          </p:nvGrpSpPr>
          <p:grpSpPr>
            <a:xfrm>
              <a:off x="5184983" y="2005303"/>
              <a:ext cx="558690" cy="215522"/>
              <a:chOff x="662857" y="4181908"/>
              <a:chExt cx="425226" cy="140400"/>
            </a:xfrm>
          </p:grpSpPr>
          <p:sp>
            <p:nvSpPr>
              <p:cNvPr id="333" name="사각형: 둥근 모서리 332">
                <a:extLst>
                  <a:ext uri="{FF2B5EF4-FFF2-40B4-BE49-F238E27FC236}">
                    <a16:creationId xmlns:a16="http://schemas.microsoft.com/office/drawing/2014/main" id="{0617E450-24FF-4D94-8E4A-CFFE4EBCAF86}"/>
                  </a:ext>
                </a:extLst>
              </p:cNvPr>
              <p:cNvSpPr/>
              <p:nvPr/>
            </p:nvSpPr>
            <p:spPr>
              <a:xfrm>
                <a:off x="718393" y="4181908"/>
                <a:ext cx="310204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334" name="직사각형 333">
                <a:extLst>
                  <a:ext uri="{FF2B5EF4-FFF2-40B4-BE49-F238E27FC236}">
                    <a16:creationId xmlns:a16="http://schemas.microsoft.com/office/drawing/2014/main" id="{FB6BDD83-3FE1-4A4C-B7A8-0E062593F37D}"/>
                  </a:ext>
                </a:extLst>
              </p:cNvPr>
              <p:cNvSpPr/>
              <p:nvPr/>
            </p:nvSpPr>
            <p:spPr>
              <a:xfrm>
                <a:off x="662857" y="4181908"/>
                <a:ext cx="425226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ETC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561" name="그룹 560">
              <a:extLst>
                <a:ext uri="{FF2B5EF4-FFF2-40B4-BE49-F238E27FC236}">
                  <a16:creationId xmlns:a16="http://schemas.microsoft.com/office/drawing/2014/main" id="{89A63F44-E96A-4187-8199-21014D9C8CBA}"/>
                </a:ext>
              </a:extLst>
            </p:cNvPr>
            <p:cNvGrpSpPr/>
            <p:nvPr/>
          </p:nvGrpSpPr>
          <p:grpSpPr>
            <a:xfrm>
              <a:off x="4740158" y="2005303"/>
              <a:ext cx="558690" cy="215522"/>
              <a:chOff x="662857" y="4181908"/>
              <a:chExt cx="425226" cy="140400"/>
            </a:xfrm>
          </p:grpSpPr>
          <p:sp>
            <p:nvSpPr>
              <p:cNvPr id="562" name="사각형: 둥근 모서리 561">
                <a:extLst>
                  <a:ext uri="{FF2B5EF4-FFF2-40B4-BE49-F238E27FC236}">
                    <a16:creationId xmlns:a16="http://schemas.microsoft.com/office/drawing/2014/main" id="{EFBEA365-933C-49B5-BD43-48BAC7F84084}"/>
                  </a:ext>
                </a:extLst>
              </p:cNvPr>
              <p:cNvSpPr/>
              <p:nvPr/>
            </p:nvSpPr>
            <p:spPr>
              <a:xfrm>
                <a:off x="718393" y="4181908"/>
                <a:ext cx="310204" cy="140400"/>
              </a:xfrm>
              <a:prstGeom prst="roundRect">
                <a:avLst>
                  <a:gd name="adj" fmla="val 11046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/>
              </a:p>
            </p:txBody>
          </p:sp>
          <p:sp>
            <p:nvSpPr>
              <p:cNvPr id="563" name="직사각형 562">
                <a:extLst>
                  <a:ext uri="{FF2B5EF4-FFF2-40B4-BE49-F238E27FC236}">
                    <a16:creationId xmlns:a16="http://schemas.microsoft.com/office/drawing/2014/main" id="{C65BD041-D253-494D-922C-D1FEA2F8B440}"/>
                  </a:ext>
                </a:extLst>
              </p:cNvPr>
              <p:cNvSpPr/>
              <p:nvPr/>
            </p:nvSpPr>
            <p:spPr>
              <a:xfrm>
                <a:off x="662857" y="4181908"/>
                <a:ext cx="425226" cy="1294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cs typeface="Arial"/>
                  </a:rPr>
                  <a:t>A-Z</a:t>
                </a:r>
                <a:endPara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564" name="TextBox 563">
            <a:extLst>
              <a:ext uri="{FF2B5EF4-FFF2-40B4-BE49-F238E27FC236}">
                <a16:creationId xmlns:a16="http://schemas.microsoft.com/office/drawing/2014/main" id="{78E5979E-9810-4725-8E1E-F57E789B7A5D}"/>
              </a:ext>
            </a:extLst>
          </p:cNvPr>
          <p:cNvSpPr txBox="1"/>
          <p:nvPr/>
        </p:nvSpPr>
        <p:spPr>
          <a:xfrm>
            <a:off x="2725019" y="2567373"/>
            <a:ext cx="170537" cy="196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ㄱ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2A1FCD6D-C7FE-40C7-BE7A-C1D3239EB607}"/>
              </a:ext>
            </a:extLst>
          </p:cNvPr>
          <p:cNvGrpSpPr/>
          <p:nvPr/>
        </p:nvGrpSpPr>
        <p:grpSpPr>
          <a:xfrm>
            <a:off x="2754901" y="2888235"/>
            <a:ext cx="1516239" cy="1048101"/>
            <a:chOff x="1285794" y="2784243"/>
            <a:chExt cx="1516239" cy="1048101"/>
          </a:xfrm>
        </p:grpSpPr>
        <p:grpSp>
          <p:nvGrpSpPr>
            <p:cNvPr id="565" name="그룹 564">
              <a:extLst>
                <a:ext uri="{FF2B5EF4-FFF2-40B4-BE49-F238E27FC236}">
                  <a16:creationId xmlns:a16="http://schemas.microsoft.com/office/drawing/2014/main" id="{D05BB674-AC7D-4BFE-9F60-CBB064794EE9}"/>
                </a:ext>
              </a:extLst>
            </p:cNvPr>
            <p:cNvGrpSpPr/>
            <p:nvPr/>
          </p:nvGrpSpPr>
          <p:grpSpPr>
            <a:xfrm>
              <a:off x="1291093" y="2784243"/>
              <a:ext cx="1510940" cy="142271"/>
              <a:chOff x="408596" y="2267267"/>
              <a:chExt cx="1510940" cy="142271"/>
            </a:xfrm>
          </p:grpSpPr>
          <p:pic>
            <p:nvPicPr>
              <p:cNvPr id="566" name="그림 565">
                <a:extLst>
                  <a:ext uri="{FF2B5EF4-FFF2-40B4-BE49-F238E27FC236}">
                    <a16:creationId xmlns:a16="http://schemas.microsoft.com/office/drawing/2014/main" id="{E7249DCA-7DC7-46C2-8AF5-2747A954EB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567" name="TextBox 566">
                <a:extLst>
                  <a:ext uri="{FF2B5EF4-FFF2-40B4-BE49-F238E27FC236}">
                    <a16:creationId xmlns:a16="http://schemas.microsoft.com/office/drawing/2014/main" id="{0995B611-24BC-4806-A889-ED3238A8B059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국가인권위원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1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568" name="그룹 567">
              <a:extLst>
                <a:ext uri="{FF2B5EF4-FFF2-40B4-BE49-F238E27FC236}">
                  <a16:creationId xmlns:a16="http://schemas.microsoft.com/office/drawing/2014/main" id="{C3EB5ADC-B67A-4A7E-B61C-042825568F13}"/>
                </a:ext>
              </a:extLst>
            </p:cNvPr>
            <p:cNvGrpSpPr/>
            <p:nvPr/>
          </p:nvGrpSpPr>
          <p:grpSpPr>
            <a:xfrm>
              <a:off x="1291093" y="3008907"/>
              <a:ext cx="1510940" cy="142271"/>
              <a:chOff x="408596" y="2468563"/>
              <a:chExt cx="1510940" cy="142271"/>
            </a:xfrm>
          </p:grpSpPr>
          <p:pic>
            <p:nvPicPr>
              <p:cNvPr id="569" name="그림 568">
                <a:extLst>
                  <a:ext uri="{FF2B5EF4-FFF2-40B4-BE49-F238E27FC236}">
                    <a16:creationId xmlns:a16="http://schemas.microsoft.com/office/drawing/2014/main" id="{20FF3316-ACCD-4160-90DB-2F1A563C32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570" name="TextBox 569">
                <a:extLst>
                  <a:ext uri="{FF2B5EF4-FFF2-40B4-BE49-F238E27FC236}">
                    <a16:creationId xmlns:a16="http://schemas.microsoft.com/office/drawing/2014/main" id="{89B20BF8-C1D6-42EF-BBF2-0E7CE2359F89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국가법령정보센터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571" name="그룹 570">
              <a:extLst>
                <a:ext uri="{FF2B5EF4-FFF2-40B4-BE49-F238E27FC236}">
                  <a16:creationId xmlns:a16="http://schemas.microsoft.com/office/drawing/2014/main" id="{B478EFDC-33C0-44CB-A9D2-AE394FCDE69D}"/>
                </a:ext>
              </a:extLst>
            </p:cNvPr>
            <p:cNvGrpSpPr/>
            <p:nvPr/>
          </p:nvGrpSpPr>
          <p:grpSpPr>
            <a:xfrm>
              <a:off x="1291093" y="3238202"/>
              <a:ext cx="1510940" cy="142271"/>
              <a:chOff x="408596" y="2468563"/>
              <a:chExt cx="1510940" cy="142271"/>
            </a:xfrm>
          </p:grpSpPr>
          <p:pic>
            <p:nvPicPr>
              <p:cNvPr id="572" name="그림 571">
                <a:extLst>
                  <a:ext uri="{FF2B5EF4-FFF2-40B4-BE49-F238E27FC236}">
                    <a16:creationId xmlns:a16="http://schemas.microsoft.com/office/drawing/2014/main" id="{E744B08F-0070-4575-9518-34DE67AEC9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573" name="TextBox 572">
                <a:extLst>
                  <a:ext uri="{FF2B5EF4-FFF2-40B4-BE49-F238E27FC236}">
                    <a16:creationId xmlns:a16="http://schemas.microsoft.com/office/drawing/2014/main" id="{43BB587D-CD86-4868-8F38-C45F9C5750C2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감독원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(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위원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574" name="그룹 573">
              <a:extLst>
                <a:ext uri="{FF2B5EF4-FFF2-40B4-BE49-F238E27FC236}">
                  <a16:creationId xmlns:a16="http://schemas.microsoft.com/office/drawing/2014/main" id="{81E8D719-62A1-4641-8DA1-058BCEF30AC1}"/>
                </a:ext>
              </a:extLst>
            </p:cNvPr>
            <p:cNvGrpSpPr/>
            <p:nvPr/>
          </p:nvGrpSpPr>
          <p:grpSpPr>
            <a:xfrm>
              <a:off x="1285794" y="3461737"/>
              <a:ext cx="1510940" cy="142271"/>
              <a:chOff x="408596" y="2468563"/>
              <a:chExt cx="1510940" cy="142271"/>
            </a:xfrm>
          </p:grpSpPr>
          <p:pic>
            <p:nvPicPr>
              <p:cNvPr id="575" name="그림 574">
                <a:extLst>
                  <a:ext uri="{FF2B5EF4-FFF2-40B4-BE49-F238E27FC236}">
                    <a16:creationId xmlns:a16="http://schemas.microsoft.com/office/drawing/2014/main" id="{4EC8F38C-22A7-45BB-A2DF-1D36A65B6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576" name="TextBox 575">
                <a:extLst>
                  <a:ext uri="{FF2B5EF4-FFF2-40B4-BE49-F238E27FC236}">
                    <a16:creationId xmlns:a16="http://schemas.microsoft.com/office/drawing/2014/main" id="{2B84F2AB-CFA1-4743-998B-9A66A97E314A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감독원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(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금융위원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)</a:t>
                </a: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577" name="그룹 576">
              <a:extLst>
                <a:ext uri="{FF2B5EF4-FFF2-40B4-BE49-F238E27FC236}">
                  <a16:creationId xmlns:a16="http://schemas.microsoft.com/office/drawing/2014/main" id="{62F66F20-3713-41D6-9B19-0F206F495104}"/>
                </a:ext>
              </a:extLst>
            </p:cNvPr>
            <p:cNvGrpSpPr/>
            <p:nvPr/>
          </p:nvGrpSpPr>
          <p:grpSpPr>
            <a:xfrm>
              <a:off x="1291084" y="3690073"/>
              <a:ext cx="1510940" cy="142271"/>
              <a:chOff x="408596" y="2468563"/>
              <a:chExt cx="1510940" cy="142271"/>
            </a:xfrm>
          </p:grpSpPr>
          <p:pic>
            <p:nvPicPr>
              <p:cNvPr id="578" name="그림 577">
                <a:extLst>
                  <a:ext uri="{FF2B5EF4-FFF2-40B4-BE49-F238E27FC236}">
                    <a16:creationId xmlns:a16="http://schemas.microsoft.com/office/drawing/2014/main" id="{B23B8324-D3BF-41D6-A0A0-F190705967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579" name="TextBox 578">
                <a:extLst>
                  <a:ext uri="{FF2B5EF4-FFF2-40B4-BE49-F238E27FC236}">
                    <a16:creationId xmlns:a16="http://schemas.microsoft.com/office/drawing/2014/main" id="{E31E4F63-0024-4165-9CA8-CBBC6C63240C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대신경제연구소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2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grpSp>
        <p:nvGrpSpPr>
          <p:cNvPr id="580" name="그룹 579">
            <a:extLst>
              <a:ext uri="{FF2B5EF4-FFF2-40B4-BE49-F238E27FC236}">
                <a16:creationId xmlns:a16="http://schemas.microsoft.com/office/drawing/2014/main" id="{5AAA70BF-BE52-4383-8547-4B567D5690F0}"/>
              </a:ext>
            </a:extLst>
          </p:cNvPr>
          <p:cNvGrpSpPr/>
          <p:nvPr/>
        </p:nvGrpSpPr>
        <p:grpSpPr>
          <a:xfrm>
            <a:off x="5214109" y="2902775"/>
            <a:ext cx="1510940" cy="142271"/>
            <a:chOff x="408596" y="2267267"/>
            <a:chExt cx="1510940" cy="142271"/>
          </a:xfrm>
        </p:grpSpPr>
        <p:pic>
          <p:nvPicPr>
            <p:cNvPr id="581" name="그림 580">
              <a:extLst>
                <a:ext uri="{FF2B5EF4-FFF2-40B4-BE49-F238E27FC236}">
                  <a16:creationId xmlns:a16="http://schemas.microsoft.com/office/drawing/2014/main" id="{2B8403C3-394C-420C-A6C2-AC09C67C70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596" y="2275054"/>
              <a:ext cx="134484" cy="134484"/>
            </a:xfrm>
            <a:prstGeom prst="rect">
              <a:avLst/>
            </a:prstGeom>
          </p:spPr>
        </p:pic>
        <p:sp>
          <p:nvSpPr>
            <p:cNvPr id="582" name="TextBox 581">
              <a:extLst>
                <a:ext uri="{FF2B5EF4-FFF2-40B4-BE49-F238E27FC236}">
                  <a16:creationId xmlns:a16="http://schemas.microsoft.com/office/drawing/2014/main" id="{7F878BB1-A0E7-4558-A658-1C268B200433}"/>
                </a:ext>
              </a:extLst>
            </p:cNvPr>
            <p:cNvSpPr txBox="1"/>
            <p:nvPr/>
          </p:nvSpPr>
          <p:spPr>
            <a:xfrm>
              <a:off x="574816" y="2267267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국가인권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1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583" name="그룹 582">
            <a:extLst>
              <a:ext uri="{FF2B5EF4-FFF2-40B4-BE49-F238E27FC236}">
                <a16:creationId xmlns:a16="http://schemas.microsoft.com/office/drawing/2014/main" id="{C7B51399-BFD8-4DD9-807A-596F235DA6B0}"/>
              </a:ext>
            </a:extLst>
          </p:cNvPr>
          <p:cNvGrpSpPr/>
          <p:nvPr/>
        </p:nvGrpSpPr>
        <p:grpSpPr>
          <a:xfrm>
            <a:off x="5214109" y="3127439"/>
            <a:ext cx="1510940" cy="142271"/>
            <a:chOff x="408596" y="2468563"/>
            <a:chExt cx="1510940" cy="142271"/>
          </a:xfrm>
        </p:grpSpPr>
        <p:pic>
          <p:nvPicPr>
            <p:cNvPr id="584" name="그림 583">
              <a:extLst>
                <a:ext uri="{FF2B5EF4-FFF2-40B4-BE49-F238E27FC236}">
                  <a16:creationId xmlns:a16="http://schemas.microsoft.com/office/drawing/2014/main" id="{296290EA-236D-4A27-A111-69C8E0964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585" name="TextBox 584">
              <a:extLst>
                <a:ext uri="{FF2B5EF4-FFF2-40B4-BE49-F238E27FC236}">
                  <a16:creationId xmlns:a16="http://schemas.microsoft.com/office/drawing/2014/main" id="{5A323AE1-2864-4E9B-BDE5-2B3C5A8A0779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국가법령정보센터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9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586" name="그룹 585">
            <a:extLst>
              <a:ext uri="{FF2B5EF4-FFF2-40B4-BE49-F238E27FC236}">
                <a16:creationId xmlns:a16="http://schemas.microsoft.com/office/drawing/2014/main" id="{BAE275D3-3E29-40F8-B343-A6A83CE1B2B9}"/>
              </a:ext>
            </a:extLst>
          </p:cNvPr>
          <p:cNvGrpSpPr/>
          <p:nvPr/>
        </p:nvGrpSpPr>
        <p:grpSpPr>
          <a:xfrm>
            <a:off x="5214109" y="3356734"/>
            <a:ext cx="1510940" cy="142271"/>
            <a:chOff x="408596" y="2468563"/>
            <a:chExt cx="1510940" cy="142271"/>
          </a:xfrm>
        </p:grpSpPr>
        <p:pic>
          <p:nvPicPr>
            <p:cNvPr id="587" name="그림 586">
              <a:extLst>
                <a:ext uri="{FF2B5EF4-FFF2-40B4-BE49-F238E27FC236}">
                  <a16:creationId xmlns:a16="http://schemas.microsoft.com/office/drawing/2014/main" id="{B620EEE5-0CB0-4233-A2A3-EA51CB70BF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588" name="TextBox 587">
              <a:extLst>
                <a:ext uri="{FF2B5EF4-FFF2-40B4-BE49-F238E27FC236}">
                  <a16:creationId xmlns:a16="http://schemas.microsoft.com/office/drawing/2014/main" id="{0F901E7C-CFE9-4542-8396-7C04F245BB40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감독원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)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589" name="그룹 588">
            <a:extLst>
              <a:ext uri="{FF2B5EF4-FFF2-40B4-BE49-F238E27FC236}">
                <a16:creationId xmlns:a16="http://schemas.microsoft.com/office/drawing/2014/main" id="{6219798B-FDB3-4CBC-A015-F2A7DAE71B4E}"/>
              </a:ext>
            </a:extLst>
          </p:cNvPr>
          <p:cNvGrpSpPr/>
          <p:nvPr/>
        </p:nvGrpSpPr>
        <p:grpSpPr>
          <a:xfrm>
            <a:off x="5208810" y="3580269"/>
            <a:ext cx="1510940" cy="142271"/>
            <a:chOff x="408596" y="2468563"/>
            <a:chExt cx="1510940" cy="142271"/>
          </a:xfrm>
        </p:grpSpPr>
        <p:pic>
          <p:nvPicPr>
            <p:cNvPr id="590" name="그림 589">
              <a:extLst>
                <a:ext uri="{FF2B5EF4-FFF2-40B4-BE49-F238E27FC236}">
                  <a16:creationId xmlns:a16="http://schemas.microsoft.com/office/drawing/2014/main" id="{54D754C2-CA8D-4298-8316-C76522DBC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591" name="TextBox 590">
              <a:extLst>
                <a:ext uri="{FF2B5EF4-FFF2-40B4-BE49-F238E27FC236}">
                  <a16:creationId xmlns:a16="http://schemas.microsoft.com/office/drawing/2014/main" id="{AC014DE7-082C-404C-B7FD-4F9D89BF239D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감독원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(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금융위원회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)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grpSp>
        <p:nvGrpSpPr>
          <p:cNvPr id="592" name="그룹 591">
            <a:extLst>
              <a:ext uri="{FF2B5EF4-FFF2-40B4-BE49-F238E27FC236}">
                <a16:creationId xmlns:a16="http://schemas.microsoft.com/office/drawing/2014/main" id="{A97B70D3-6E31-40AB-8359-DA107C66F853}"/>
              </a:ext>
            </a:extLst>
          </p:cNvPr>
          <p:cNvGrpSpPr/>
          <p:nvPr/>
        </p:nvGrpSpPr>
        <p:grpSpPr>
          <a:xfrm>
            <a:off x="5214100" y="3808605"/>
            <a:ext cx="1510940" cy="142271"/>
            <a:chOff x="408596" y="2468563"/>
            <a:chExt cx="1510940" cy="142271"/>
          </a:xfrm>
        </p:grpSpPr>
        <p:pic>
          <p:nvPicPr>
            <p:cNvPr id="593" name="그림 592">
              <a:extLst>
                <a:ext uri="{FF2B5EF4-FFF2-40B4-BE49-F238E27FC236}">
                  <a16:creationId xmlns:a16="http://schemas.microsoft.com/office/drawing/2014/main" id="{F79FADB7-1680-4805-A483-D3F104567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596" y="2476350"/>
              <a:ext cx="134484" cy="134484"/>
            </a:xfrm>
            <a:prstGeom prst="rect">
              <a:avLst/>
            </a:prstGeom>
          </p:spPr>
        </p:pic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76E93822-4D1E-4FD0-BD07-F2F540A437C4}"/>
                </a:ext>
              </a:extLst>
            </p:cNvPr>
            <p:cNvSpPr txBox="1"/>
            <p:nvPr/>
          </p:nvSpPr>
          <p:spPr>
            <a:xfrm>
              <a:off x="574816" y="2468563"/>
              <a:ext cx="1344720" cy="1342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/>
                </a:rPr>
                <a:t>대신경제연구소  </a:t>
              </a:r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rPr>
                <a:t>12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610" name="TextBox 609">
            <a:extLst>
              <a:ext uri="{FF2B5EF4-FFF2-40B4-BE49-F238E27FC236}">
                <a16:creationId xmlns:a16="http://schemas.microsoft.com/office/drawing/2014/main" id="{518D3106-E7CC-4E8A-853F-3418FA158594}"/>
              </a:ext>
            </a:extLst>
          </p:cNvPr>
          <p:cNvSpPr txBox="1"/>
          <p:nvPr/>
        </p:nvSpPr>
        <p:spPr>
          <a:xfrm>
            <a:off x="2736874" y="4290990"/>
            <a:ext cx="170537" cy="196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ㄷ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611" name="그룹 610">
            <a:extLst>
              <a:ext uri="{FF2B5EF4-FFF2-40B4-BE49-F238E27FC236}">
                <a16:creationId xmlns:a16="http://schemas.microsoft.com/office/drawing/2014/main" id="{094BA69E-DAE5-4E40-8C29-223E07B8B4D1}"/>
              </a:ext>
            </a:extLst>
          </p:cNvPr>
          <p:cNvGrpSpPr/>
          <p:nvPr/>
        </p:nvGrpSpPr>
        <p:grpSpPr>
          <a:xfrm>
            <a:off x="2770072" y="4603984"/>
            <a:ext cx="1510940" cy="366935"/>
            <a:chOff x="1291093" y="2784243"/>
            <a:chExt cx="1510940" cy="366935"/>
          </a:xfrm>
        </p:grpSpPr>
        <p:grpSp>
          <p:nvGrpSpPr>
            <p:cNvPr id="612" name="그룹 611">
              <a:extLst>
                <a:ext uri="{FF2B5EF4-FFF2-40B4-BE49-F238E27FC236}">
                  <a16:creationId xmlns:a16="http://schemas.microsoft.com/office/drawing/2014/main" id="{0CF99B7D-8D83-409A-B093-E43AB493525A}"/>
                </a:ext>
              </a:extLst>
            </p:cNvPr>
            <p:cNvGrpSpPr/>
            <p:nvPr/>
          </p:nvGrpSpPr>
          <p:grpSpPr>
            <a:xfrm>
              <a:off x="1291093" y="2784243"/>
              <a:ext cx="1510940" cy="142271"/>
              <a:chOff x="408596" y="2267267"/>
              <a:chExt cx="1510940" cy="142271"/>
            </a:xfrm>
          </p:grpSpPr>
          <p:pic>
            <p:nvPicPr>
              <p:cNvPr id="625" name="그림 624">
                <a:extLst>
                  <a:ext uri="{FF2B5EF4-FFF2-40B4-BE49-F238E27FC236}">
                    <a16:creationId xmlns:a16="http://schemas.microsoft.com/office/drawing/2014/main" id="{3AB41EEA-DDEA-4A53-BF55-C0EBBD9656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626" name="TextBox 625">
                <a:extLst>
                  <a:ext uri="{FF2B5EF4-FFF2-40B4-BE49-F238E27FC236}">
                    <a16:creationId xmlns:a16="http://schemas.microsoft.com/office/drawing/2014/main" id="{1C097055-D5C4-4598-80C3-16D32C219479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대신경제연구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1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613" name="그룹 612">
              <a:extLst>
                <a:ext uri="{FF2B5EF4-FFF2-40B4-BE49-F238E27FC236}">
                  <a16:creationId xmlns:a16="http://schemas.microsoft.com/office/drawing/2014/main" id="{B2587113-EA66-4852-99F4-EB09F3756A05}"/>
                </a:ext>
              </a:extLst>
            </p:cNvPr>
            <p:cNvGrpSpPr/>
            <p:nvPr/>
          </p:nvGrpSpPr>
          <p:grpSpPr>
            <a:xfrm>
              <a:off x="1291093" y="3008907"/>
              <a:ext cx="1510940" cy="142271"/>
              <a:chOff x="408596" y="2468563"/>
              <a:chExt cx="1510940" cy="142271"/>
            </a:xfrm>
          </p:grpSpPr>
          <p:pic>
            <p:nvPicPr>
              <p:cNvPr id="623" name="그림 622">
                <a:extLst>
                  <a:ext uri="{FF2B5EF4-FFF2-40B4-BE49-F238E27FC236}">
                    <a16:creationId xmlns:a16="http://schemas.microsoft.com/office/drawing/2014/main" id="{82C0AFBB-DE67-4E49-B4A4-604F005BA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624" name="TextBox 623">
                <a:extLst>
                  <a:ext uri="{FF2B5EF4-FFF2-40B4-BE49-F238E27FC236}">
                    <a16:creationId xmlns:a16="http://schemas.microsoft.com/office/drawing/2014/main" id="{22E3A33D-6E8B-4351-ADAD-7B4DF321B340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대한상공회의소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grpSp>
        <p:nvGrpSpPr>
          <p:cNvPr id="627" name="그룹 626">
            <a:extLst>
              <a:ext uri="{FF2B5EF4-FFF2-40B4-BE49-F238E27FC236}">
                <a16:creationId xmlns:a16="http://schemas.microsoft.com/office/drawing/2014/main" id="{1239A77C-E248-42A0-A602-A4C07FAB422D}"/>
              </a:ext>
            </a:extLst>
          </p:cNvPr>
          <p:cNvGrpSpPr/>
          <p:nvPr/>
        </p:nvGrpSpPr>
        <p:grpSpPr>
          <a:xfrm>
            <a:off x="5214109" y="4589728"/>
            <a:ext cx="1510940" cy="366935"/>
            <a:chOff x="1291093" y="2784243"/>
            <a:chExt cx="1510940" cy="366935"/>
          </a:xfrm>
        </p:grpSpPr>
        <p:grpSp>
          <p:nvGrpSpPr>
            <p:cNvPr id="628" name="그룹 627">
              <a:extLst>
                <a:ext uri="{FF2B5EF4-FFF2-40B4-BE49-F238E27FC236}">
                  <a16:creationId xmlns:a16="http://schemas.microsoft.com/office/drawing/2014/main" id="{4E68BDF0-8024-4769-B711-62C5E57CF002}"/>
                </a:ext>
              </a:extLst>
            </p:cNvPr>
            <p:cNvGrpSpPr/>
            <p:nvPr/>
          </p:nvGrpSpPr>
          <p:grpSpPr>
            <a:xfrm>
              <a:off x="1291093" y="2784243"/>
              <a:ext cx="1510940" cy="142271"/>
              <a:chOff x="408596" y="2267267"/>
              <a:chExt cx="1510940" cy="142271"/>
            </a:xfrm>
          </p:grpSpPr>
          <p:pic>
            <p:nvPicPr>
              <p:cNvPr id="632" name="그림 631">
                <a:extLst>
                  <a:ext uri="{FF2B5EF4-FFF2-40B4-BE49-F238E27FC236}">
                    <a16:creationId xmlns:a16="http://schemas.microsoft.com/office/drawing/2014/main" id="{6A85A15D-0401-490B-8B96-E171680B50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275054"/>
                <a:ext cx="134484" cy="134484"/>
              </a:xfrm>
              <a:prstGeom prst="rect">
                <a:avLst/>
              </a:prstGeom>
            </p:spPr>
          </p:pic>
          <p:sp>
            <p:nvSpPr>
              <p:cNvPr id="633" name="TextBox 632">
                <a:extLst>
                  <a:ext uri="{FF2B5EF4-FFF2-40B4-BE49-F238E27FC236}">
                    <a16:creationId xmlns:a16="http://schemas.microsoft.com/office/drawing/2014/main" id="{F8A4E461-B210-4934-9726-3B99F666E104}"/>
                  </a:ext>
                </a:extLst>
              </p:cNvPr>
              <p:cNvSpPr txBox="1"/>
              <p:nvPr/>
            </p:nvSpPr>
            <p:spPr>
              <a:xfrm>
                <a:off x="574816" y="2267267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대신경제연구소</a:t>
                </a:r>
                <a:r>
                  <a:rPr lang="en-US" altLang="ko-KR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11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  <p:grpSp>
          <p:nvGrpSpPr>
            <p:cNvPr id="629" name="그룹 628">
              <a:extLst>
                <a:ext uri="{FF2B5EF4-FFF2-40B4-BE49-F238E27FC236}">
                  <a16:creationId xmlns:a16="http://schemas.microsoft.com/office/drawing/2014/main" id="{5ACE0A26-3AB0-41D1-83CB-A59A2127F155}"/>
                </a:ext>
              </a:extLst>
            </p:cNvPr>
            <p:cNvGrpSpPr/>
            <p:nvPr/>
          </p:nvGrpSpPr>
          <p:grpSpPr>
            <a:xfrm>
              <a:off x="1291093" y="3008907"/>
              <a:ext cx="1510940" cy="142271"/>
              <a:chOff x="408596" y="2468563"/>
              <a:chExt cx="1510940" cy="142271"/>
            </a:xfrm>
          </p:grpSpPr>
          <p:pic>
            <p:nvPicPr>
              <p:cNvPr id="630" name="그림 629">
                <a:extLst>
                  <a:ext uri="{FF2B5EF4-FFF2-40B4-BE49-F238E27FC236}">
                    <a16:creationId xmlns:a16="http://schemas.microsoft.com/office/drawing/2014/main" id="{DA048FCD-BAE6-47AE-BA56-BC7D11872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596" y="2476350"/>
                <a:ext cx="134484" cy="134484"/>
              </a:xfrm>
              <a:prstGeom prst="rect">
                <a:avLst/>
              </a:prstGeom>
            </p:spPr>
          </p:pic>
          <p:sp>
            <p:nvSpPr>
              <p:cNvPr id="631" name="TextBox 630">
                <a:extLst>
                  <a:ext uri="{FF2B5EF4-FFF2-40B4-BE49-F238E27FC236}">
                    <a16:creationId xmlns:a16="http://schemas.microsoft.com/office/drawing/2014/main" id="{8902038F-1DD2-45C9-AB65-D503954F37A3}"/>
                  </a:ext>
                </a:extLst>
              </p:cNvPr>
              <p:cNvSpPr txBox="1"/>
              <p:nvPr/>
            </p:nvSpPr>
            <p:spPr>
              <a:xfrm>
                <a:off x="574816" y="2468563"/>
                <a:ext cx="1344720" cy="1342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lvl="0" indent="0" fontAlgn="auto">
                  <a:lnSpc>
                    <a:spcPct val="13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ko-KR" altLang="en-US" sz="7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대한상공회의소  </a:t>
                </a:r>
                <a:r>
                  <a:rPr lang="en-US" altLang="ko-KR" sz="7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>
                        <a:lumMod val="75000"/>
                      </a:schemeClr>
                    </a:solidFill>
                    <a:latin typeface="Arial" panose="020B0604020202020204" pitchFamily="34" charset="0"/>
                    <a:cs typeface="Arial"/>
                  </a:rPr>
                  <a:t>9</a:t>
                </a:r>
                <a:endPara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634" name="사각형: 둥근 모서리 633">
            <a:extLst>
              <a:ext uri="{FF2B5EF4-FFF2-40B4-BE49-F238E27FC236}">
                <a16:creationId xmlns:a16="http://schemas.microsoft.com/office/drawing/2014/main" id="{14815961-E0E6-4076-97B5-EB4D70D7DA3C}"/>
              </a:ext>
            </a:extLst>
          </p:cNvPr>
          <p:cNvSpPr/>
          <p:nvPr/>
        </p:nvSpPr>
        <p:spPr>
          <a:xfrm>
            <a:off x="2483322" y="174035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5" name="사각형: 둥근 모서리 634">
            <a:extLst>
              <a:ext uri="{FF2B5EF4-FFF2-40B4-BE49-F238E27FC236}">
                <a16:creationId xmlns:a16="http://schemas.microsoft.com/office/drawing/2014/main" id="{B8792C07-0DB0-4AAB-B809-331570DC4B73}"/>
              </a:ext>
            </a:extLst>
          </p:cNvPr>
          <p:cNvSpPr/>
          <p:nvPr/>
        </p:nvSpPr>
        <p:spPr>
          <a:xfrm>
            <a:off x="2483322" y="20530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6" name="직사각형 635">
            <a:extLst>
              <a:ext uri="{FF2B5EF4-FFF2-40B4-BE49-F238E27FC236}">
                <a16:creationId xmlns:a16="http://schemas.microsoft.com/office/drawing/2014/main" id="{B3519064-277A-4847-8F08-B019EF619969}"/>
              </a:ext>
            </a:extLst>
          </p:cNvPr>
          <p:cNvSpPr/>
          <p:nvPr/>
        </p:nvSpPr>
        <p:spPr>
          <a:xfrm>
            <a:off x="2628284" y="2510359"/>
            <a:ext cx="4429520" cy="2482101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37" name="사각형: 둥근 모서리 636">
            <a:extLst>
              <a:ext uri="{FF2B5EF4-FFF2-40B4-BE49-F238E27FC236}">
                <a16:creationId xmlns:a16="http://schemas.microsoft.com/office/drawing/2014/main" id="{3B027F0C-F890-4387-8AEF-2FDD8BAF3D8C}"/>
              </a:ext>
            </a:extLst>
          </p:cNvPr>
          <p:cNvSpPr/>
          <p:nvPr/>
        </p:nvSpPr>
        <p:spPr>
          <a:xfrm>
            <a:off x="4655979" y="36302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8" name="직사각형 637">
            <a:extLst>
              <a:ext uri="{FF2B5EF4-FFF2-40B4-BE49-F238E27FC236}">
                <a16:creationId xmlns:a16="http://schemas.microsoft.com/office/drawing/2014/main" id="{E928E061-E766-4D49-81F2-102670F61DE5}"/>
              </a:ext>
            </a:extLst>
          </p:cNvPr>
          <p:cNvSpPr/>
          <p:nvPr/>
        </p:nvSpPr>
        <p:spPr>
          <a:xfrm>
            <a:off x="4105846" y="5131781"/>
            <a:ext cx="720314" cy="2450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9" name="사각형: 둥근 모서리 638">
            <a:extLst>
              <a:ext uri="{FF2B5EF4-FFF2-40B4-BE49-F238E27FC236}">
                <a16:creationId xmlns:a16="http://schemas.microsoft.com/office/drawing/2014/main" id="{930267EB-243E-46BF-A7D8-6572AB6F9B29}"/>
              </a:ext>
            </a:extLst>
          </p:cNvPr>
          <p:cNvSpPr/>
          <p:nvPr/>
        </p:nvSpPr>
        <p:spPr>
          <a:xfrm>
            <a:off x="4052910" y="50619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0" name="사각형: 둥근 모서리 639">
            <a:extLst>
              <a:ext uri="{FF2B5EF4-FFF2-40B4-BE49-F238E27FC236}">
                <a16:creationId xmlns:a16="http://schemas.microsoft.com/office/drawing/2014/main" id="{35D8922B-277A-4550-BBAC-B659B4015EDB}"/>
              </a:ext>
            </a:extLst>
          </p:cNvPr>
          <p:cNvSpPr/>
          <p:nvPr/>
        </p:nvSpPr>
        <p:spPr>
          <a:xfrm>
            <a:off x="4876961" y="50654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B3998400-A9BC-4613-A0C2-7C02256186DC}"/>
              </a:ext>
            </a:extLst>
          </p:cNvPr>
          <p:cNvSpPr/>
          <p:nvPr/>
        </p:nvSpPr>
        <p:spPr>
          <a:xfrm>
            <a:off x="191344" y="580005"/>
            <a:ext cx="11952575" cy="6096975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C1D21288-1A76-4C7A-A59D-8387C848DE9F}"/>
              </a:ext>
            </a:extLst>
          </p:cNvPr>
          <p:cNvSpPr/>
          <p:nvPr/>
        </p:nvSpPr>
        <p:spPr>
          <a:xfrm>
            <a:off x="5530275" y="3183210"/>
            <a:ext cx="973748" cy="45173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10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09)</a:t>
            </a:r>
            <a:endParaRPr lang="ko-KR" altLang="en-US" sz="10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2860405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사용자가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 사항을 등록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3916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로그인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이 필요한 기능입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”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시지를 출력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時 로그인 페이지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본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등 회원 기본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기준으로 기본정보 입력하여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본정보 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본정보를 확인하여 수정 가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H006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하여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본정보 수정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 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공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류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자료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자료 요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휴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서비스 제공 문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 수집 및 이용방침 약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약관 페이지 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차 정의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물량에 반영하여 작성 예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pic>
        <p:nvPicPr>
          <p:cNvPr id="19" name="그림 18">
            <a:extLst>
              <a:ext uri="{FF2B5EF4-FFF2-40B4-BE49-F238E27FC236}">
                <a16:creationId xmlns:a16="http://schemas.microsoft.com/office/drawing/2014/main" id="{9DAF0ED9-7E1F-42A1-9FDA-A9036B9CA4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70" b="17124"/>
          <a:stretch/>
        </p:blipFill>
        <p:spPr>
          <a:xfrm>
            <a:off x="341695" y="612562"/>
            <a:ext cx="8634625" cy="660404"/>
          </a:xfrm>
          <a:prstGeom prst="rect">
            <a:avLst/>
          </a:prstGeom>
          <a:ln>
            <a:noFill/>
          </a:ln>
        </p:spPr>
      </p:pic>
      <p:sp>
        <p:nvSpPr>
          <p:cNvPr id="7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6518560-5A06-41BF-85C4-C6D6A18CB4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58161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3B1ED6D-DABC-4747-8502-1FA6B5DD8A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33396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GRI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088F32-C7AE-41E9-8323-372421CA5713}"/>
              </a:ext>
            </a:extLst>
          </p:cNvPr>
          <p:cNvSpPr txBox="1"/>
          <p:nvPr/>
        </p:nvSpPr>
        <p:spPr>
          <a:xfrm>
            <a:off x="484864" y="3404579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100" b="1" dirty="0"/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구성 및 원문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DE4F343-0E16-4659-A017-C009F0060DEF}"/>
              </a:ext>
            </a:extLst>
          </p:cNvPr>
          <p:cNvGrpSpPr/>
          <p:nvPr/>
        </p:nvGrpSpPr>
        <p:grpSpPr>
          <a:xfrm>
            <a:off x="555762" y="2017267"/>
            <a:ext cx="8098544" cy="1349885"/>
            <a:chOff x="555762" y="1902571"/>
            <a:chExt cx="8307022" cy="1429477"/>
          </a:xfrm>
        </p:grpSpPr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61719CEC-7151-481A-827D-4F127313B402}"/>
                </a:ext>
              </a:extLst>
            </p:cNvPr>
            <p:cNvSpPr/>
            <p:nvPr/>
          </p:nvSpPr>
          <p:spPr>
            <a:xfrm>
              <a:off x="2010439" y="1902571"/>
              <a:ext cx="5400600" cy="28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Standards</a:t>
              </a:r>
              <a:endPara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33C72F84-D1BB-493D-BAF8-DC8DCC542D91}"/>
                </a:ext>
              </a:extLst>
            </p:cNvPr>
            <p:cNvGrpSpPr/>
            <p:nvPr/>
          </p:nvGrpSpPr>
          <p:grpSpPr>
            <a:xfrm>
              <a:off x="555762" y="2387635"/>
              <a:ext cx="8307022" cy="288000"/>
              <a:chOff x="812838" y="2791714"/>
              <a:chExt cx="7097753" cy="288000"/>
            </a:xfrm>
            <a:solidFill>
              <a:schemeClr val="bg1">
                <a:lumMod val="50000"/>
              </a:schemeClr>
            </a:solidFill>
          </p:grpSpPr>
          <p:sp>
            <p:nvSpPr>
              <p:cNvPr id="80" name="사각형: 둥근 모서리 79">
                <a:extLst>
                  <a:ext uri="{FF2B5EF4-FFF2-40B4-BE49-F238E27FC236}">
                    <a16:creationId xmlns:a16="http://schemas.microsoft.com/office/drawing/2014/main" id="{BDD260C4-2E03-4A3B-9B09-52AD736D55A7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Universal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통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2B04336A-B8B0-4009-9F09-DFC58E82485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ector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2" name="사각형: 둥근 모서리 81">
                <a:extLst>
                  <a:ext uri="{FF2B5EF4-FFF2-40B4-BE49-F238E27FC236}">
                    <a16:creationId xmlns:a16="http://schemas.microsoft.com/office/drawing/2014/main" id="{5A8655A7-6A30-40AE-BCA6-72724AD1CAD8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opic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주제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7778854E-3F14-4EB8-83E5-800DC3088F86}"/>
                </a:ext>
              </a:extLst>
            </p:cNvPr>
            <p:cNvGrpSpPr/>
            <p:nvPr/>
          </p:nvGrpSpPr>
          <p:grpSpPr>
            <a:xfrm>
              <a:off x="555762" y="2643873"/>
              <a:ext cx="8307022" cy="688175"/>
              <a:chOff x="812838" y="2791714"/>
              <a:chExt cx="7097753" cy="379763"/>
            </a:xfrm>
            <a:solidFill>
              <a:schemeClr val="bg1"/>
            </a:solidFill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8BB1477B-3CE2-468A-9C8F-F55839B48296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모든 조직에 공통적으로 적용되는 표준</a:t>
                </a:r>
              </a:p>
            </p:txBody>
          </p:sp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A854FBD1-563D-4DCD-A3E8-DF199EF1AF7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부분의 조직에 영향을 주는 사항에 대한 보고 기준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* 40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부문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F0DF5935-E251-4FF1-8AA2-F107DB2D0747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주제와 관련된 보고 기준</a:t>
                </a:r>
                <a:b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</a:b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* 31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주제 영역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E0C449A6-12F4-46BB-AA9E-E2087CCEC021}"/>
                  </a:ext>
                </a:extLst>
              </p:cNvPr>
              <p:cNvSpPr/>
              <p:nvPr/>
            </p:nvSpPr>
            <p:spPr>
              <a:xfrm>
                <a:off x="812838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1, 102, 103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7BC99FFE-BCFC-4AA2-A702-0DEF43D532CD}"/>
                  </a:ext>
                </a:extLst>
              </p:cNvPr>
              <p:cNvSpPr/>
              <p:nvPr/>
            </p:nvSpPr>
            <p:spPr>
              <a:xfrm>
                <a:off x="3246324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 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현재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11~13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공개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5147B592-9197-45E5-B57A-90C665602A37}"/>
                  </a:ext>
                </a:extLst>
              </p:cNvPr>
              <p:cNvSpPr/>
              <p:nvPr/>
            </p:nvSpPr>
            <p:spPr>
              <a:xfrm>
                <a:off x="5679809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200 ~ 40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</a:t>
                </a:r>
              </a:p>
            </p:txBody>
          </p:sp>
        </p:grpSp>
        <p:cxnSp>
          <p:nvCxnSpPr>
            <p:cNvPr id="96" name="연결선: 꺾임 95">
              <a:extLst>
                <a:ext uri="{FF2B5EF4-FFF2-40B4-BE49-F238E27FC236}">
                  <a16:creationId xmlns:a16="http://schemas.microsoft.com/office/drawing/2014/main" id="{6CC48343-B7C4-49E4-B203-FDA1F743A341}"/>
                </a:ext>
              </a:extLst>
            </p:cNvPr>
            <p:cNvCxnSpPr>
              <a:cxnSpLocks/>
              <a:stCxn id="77" idx="2"/>
              <a:endCxn id="80" idx="0"/>
            </p:cNvCxnSpPr>
            <p:nvPr/>
          </p:nvCxnSpPr>
          <p:spPr>
            <a:xfrm rot="5400000">
              <a:off x="3187432" y="864327"/>
              <a:ext cx="197064" cy="2849553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7" name="연결선: 꺾임 96">
              <a:extLst>
                <a:ext uri="{FF2B5EF4-FFF2-40B4-BE49-F238E27FC236}">
                  <a16:creationId xmlns:a16="http://schemas.microsoft.com/office/drawing/2014/main" id="{A38E710B-C375-48A8-8EE5-6F383417DDD1}"/>
                </a:ext>
              </a:extLst>
            </p:cNvPr>
            <p:cNvCxnSpPr>
              <a:cxnSpLocks/>
              <a:stCxn id="77" idx="2"/>
              <a:endCxn id="82" idx="0"/>
            </p:cNvCxnSpPr>
            <p:nvPr/>
          </p:nvCxnSpPr>
          <p:spPr>
            <a:xfrm rot="16200000" flipH="1">
              <a:off x="6035518" y="865793"/>
              <a:ext cx="197064" cy="284662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8" name="연결선: 꺾임 97">
              <a:extLst>
                <a:ext uri="{FF2B5EF4-FFF2-40B4-BE49-F238E27FC236}">
                  <a16:creationId xmlns:a16="http://schemas.microsoft.com/office/drawing/2014/main" id="{3036C050-0345-4CA8-BD01-F9C579F961AE}"/>
                </a:ext>
              </a:extLst>
            </p:cNvPr>
            <p:cNvCxnSpPr>
              <a:cxnSpLocks/>
              <a:stCxn id="77" idx="2"/>
              <a:endCxn id="81" idx="0"/>
            </p:cNvCxnSpPr>
            <p:nvPr/>
          </p:nvCxnSpPr>
          <p:spPr>
            <a:xfrm rot="5400000">
              <a:off x="4611475" y="2288371"/>
              <a:ext cx="197064" cy="1466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99" name="표 6">
            <a:extLst>
              <a:ext uri="{FF2B5EF4-FFF2-40B4-BE49-F238E27FC236}">
                <a16:creationId xmlns:a16="http://schemas.microsoft.com/office/drawing/2014/main" id="{0F2F5DEC-0F6C-4BF8-A02F-8E555C688F84}"/>
              </a:ext>
            </a:extLst>
          </p:cNvPr>
          <p:cNvGraphicFramePr>
            <a:graphicFrameLocks noGrp="1"/>
          </p:cNvGraphicFramePr>
          <p:nvPr/>
        </p:nvGraphicFramePr>
        <p:xfrm>
          <a:off x="555761" y="3635525"/>
          <a:ext cx="8098545" cy="2698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424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457030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025416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968675">
                  <a:extLst>
                    <a:ext uri="{9D8B030D-6E8A-4147-A177-3AD203B41FA5}">
                      <a16:colId xmlns:a16="http://schemas.microsoft.com/office/drawing/2014/main" val="3334921234"/>
                    </a:ext>
                  </a:extLst>
                </a:gridCol>
              </a:tblGrid>
              <a:tr h="206299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Standard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ontent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niversal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건 및 원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u="sng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부문별 보고 기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1 ~ 13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conomic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주제별 보고 기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330079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0</a:t>
                      </a:r>
                      <a:b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1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Economic Performa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적 경제가치 발생과 분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가 미치는 채무적 영향과 위험 및 기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금제도 채무충당 등</a:t>
                      </a: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183072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2 : Market Prese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 내 최저임금과 비교한 기본초임 임금기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저임금 보상평가 방안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지 고용된 고위 경영진 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00884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3 : Indirect Economic Impact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기반시설 투자와 지원 서비스의 개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요한 간접 경제효과 영향의 예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23518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4 : Procurement Practice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사업장에서 현지 공급업체에 지급하는 구매비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866562"/>
                  </a:ext>
                </a:extLst>
              </a:tr>
              <a:tr h="2337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84195"/>
                  </a:ext>
                </a:extLst>
              </a:tr>
            </a:tbl>
          </a:graphicData>
        </a:graphic>
      </p:graphicFrame>
      <p:pic>
        <p:nvPicPr>
          <p:cNvPr id="100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D2F31465-D2F8-45A1-923B-B3620D64C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4818360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2E5F7C7C-DF56-4D68-8F35-A1C805A12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171025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03291E45-2C4C-48CF-8E47-606E11C3F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4818360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A5CB58AB-68D2-4EFB-B1B0-645C481B9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171025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EE6B807F-5C32-4E66-A861-83B2421A1A1B}"/>
              </a:ext>
            </a:extLst>
          </p:cNvPr>
          <p:cNvSpPr/>
          <p:nvPr/>
        </p:nvSpPr>
        <p:spPr>
          <a:xfrm>
            <a:off x="3973786" y="3790589"/>
            <a:ext cx="144016" cy="15516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+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FA21B882-907B-4E24-B31F-DA3EC2866358}"/>
              </a:ext>
            </a:extLst>
          </p:cNvPr>
          <p:cNvSpPr/>
          <p:nvPr/>
        </p:nvSpPr>
        <p:spPr>
          <a:xfrm>
            <a:off x="3973786" y="4086731"/>
            <a:ext cx="144016" cy="15516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+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D374F3E4-0246-4791-8091-46BC36ABE8C6}"/>
              </a:ext>
            </a:extLst>
          </p:cNvPr>
          <p:cNvSpPr/>
          <p:nvPr/>
        </p:nvSpPr>
        <p:spPr>
          <a:xfrm>
            <a:off x="3973786" y="4350705"/>
            <a:ext cx="144016" cy="15516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b="1" dirty="0">
              <a:solidFill>
                <a:schemeClr val="bg1"/>
              </a:solidFill>
            </a:endParaRPr>
          </a:p>
        </p:txBody>
      </p:sp>
      <p:cxnSp>
        <p:nvCxnSpPr>
          <p:cNvPr id="108" name="직선 연결선 107">
            <a:extLst>
              <a:ext uri="{FF2B5EF4-FFF2-40B4-BE49-F238E27FC236}">
                <a16:creationId xmlns:a16="http://schemas.microsoft.com/office/drawing/2014/main" id="{836C76D8-B192-4DD5-B46A-7BB16E751433}"/>
              </a:ext>
            </a:extLst>
          </p:cNvPr>
          <p:cNvCxnSpPr>
            <a:cxnSpLocks/>
          </p:cNvCxnSpPr>
          <p:nvPr/>
        </p:nvCxnSpPr>
        <p:spPr>
          <a:xfrm>
            <a:off x="4011886" y="4426484"/>
            <a:ext cx="64800" cy="1802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09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79F35148-2B40-4676-8F82-BAC5F5E55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524126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32BB39F1-61FB-4BE9-9CC2-6AB388632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95F52443-180E-42E4-AFC5-6F3C78309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524126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2CFE5197-4817-4C31-AF42-1EC67C733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0792" y="1552688"/>
            <a:ext cx="730938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26840A-1535-492C-83CC-F662D406CF69}"/>
              </a:ext>
            </a:extLst>
          </p:cNvPr>
          <p:cNvSpPr txBox="1"/>
          <p:nvPr/>
        </p:nvSpPr>
        <p:spPr>
          <a:xfrm>
            <a:off x="484864" y="1899265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 프레임워크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3F4A460-79F7-42EB-9A2E-8FF0A74D1FF6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FD9675A7-711C-4030-B497-610238A41F48}"/>
              </a:ext>
            </a:extLst>
          </p:cNvPr>
          <p:cNvSpPr/>
          <p:nvPr/>
        </p:nvSpPr>
        <p:spPr>
          <a:xfrm>
            <a:off x="911830" y="1211122"/>
            <a:ext cx="7183959" cy="476508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AE46562-6F0B-4FD3-B508-9EDCC76F9328}"/>
              </a:ext>
            </a:extLst>
          </p:cNvPr>
          <p:cNvSpPr/>
          <p:nvPr/>
        </p:nvSpPr>
        <p:spPr>
          <a:xfrm>
            <a:off x="911830" y="1211122"/>
            <a:ext cx="7183959" cy="27366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Segoe UI" panose="020B0502040204020203" pitchFamily="34" charset="0"/>
              </a:rPr>
              <a:t>문의 및 요청 등록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68C14A7-F6EB-4547-8F4F-664387A0952D}"/>
              </a:ext>
            </a:extLst>
          </p:cNvPr>
          <p:cNvSpPr txBox="1"/>
          <p:nvPr/>
        </p:nvSpPr>
        <p:spPr>
          <a:xfrm>
            <a:off x="7824216" y="1223262"/>
            <a:ext cx="21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X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1F3F1CE-F808-49DA-9679-DE0CFBE0D4DA}"/>
              </a:ext>
            </a:extLst>
          </p:cNvPr>
          <p:cNvSpPr txBox="1"/>
          <p:nvPr/>
        </p:nvSpPr>
        <p:spPr>
          <a:xfrm>
            <a:off x="1199456" y="1556792"/>
            <a:ext cx="1008112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dirty="0">
                <a:latin typeface="+mn-ea"/>
              </a:rPr>
              <a:t>기본정보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3C89DD0-B51A-4839-9E95-14115B1A9F7C}"/>
              </a:ext>
            </a:extLst>
          </p:cNvPr>
          <p:cNvSpPr txBox="1"/>
          <p:nvPr/>
        </p:nvSpPr>
        <p:spPr>
          <a:xfrm>
            <a:off x="1199456" y="2927689"/>
            <a:ext cx="1008112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dirty="0">
                <a:latin typeface="+mn-ea"/>
              </a:rPr>
              <a:t>문의</a:t>
            </a:r>
            <a:r>
              <a:rPr lang="en-US" altLang="ko-KR" sz="800" b="1" dirty="0">
                <a:latin typeface="+mn-ea"/>
              </a:rPr>
              <a:t>/</a:t>
            </a:r>
            <a:r>
              <a:rPr lang="ko-KR" altLang="en-US" sz="800" b="1" dirty="0">
                <a:latin typeface="+mn-ea"/>
              </a:rPr>
              <a:t>질의 내용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15FF156-8580-467A-A9D0-89EF0529F12B}"/>
              </a:ext>
            </a:extLst>
          </p:cNvPr>
          <p:cNvSpPr txBox="1"/>
          <p:nvPr/>
        </p:nvSpPr>
        <p:spPr>
          <a:xfrm>
            <a:off x="1207845" y="2270037"/>
            <a:ext cx="1008112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dirty="0">
                <a:latin typeface="+mn-ea"/>
              </a:rPr>
              <a:t>문의</a:t>
            </a:r>
            <a:r>
              <a:rPr lang="en-US" altLang="ko-KR" sz="800" b="1" dirty="0">
                <a:latin typeface="+mn-ea"/>
              </a:rPr>
              <a:t>/</a:t>
            </a:r>
            <a:r>
              <a:rPr lang="ko-KR" altLang="en-US" sz="800" b="1" dirty="0">
                <a:latin typeface="+mn-ea"/>
              </a:rPr>
              <a:t>질의 제목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078A6AE-1920-4D04-84EB-81B189E07F47}"/>
              </a:ext>
            </a:extLst>
          </p:cNvPr>
          <p:cNvSpPr/>
          <p:nvPr/>
        </p:nvSpPr>
        <p:spPr>
          <a:xfrm>
            <a:off x="1199456" y="3175601"/>
            <a:ext cx="6680333" cy="229444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528DDFD4-FE57-4760-BB70-E768A1C9C4D3}"/>
              </a:ext>
            </a:extLst>
          </p:cNvPr>
          <p:cNvSpPr/>
          <p:nvPr/>
        </p:nvSpPr>
        <p:spPr>
          <a:xfrm>
            <a:off x="1539225" y="1846822"/>
            <a:ext cx="1200226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홍길동</a:t>
            </a: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B215BA92-DDBD-415F-AB3F-C92DCFB3B1FA}"/>
              </a:ext>
            </a:extLst>
          </p:cNvPr>
          <p:cNvSpPr/>
          <p:nvPr/>
        </p:nvSpPr>
        <p:spPr>
          <a:xfrm>
            <a:off x="1222129" y="2541063"/>
            <a:ext cx="4180527" cy="28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4FE3520B-43F9-49F7-9351-8A7F6A956D0D}"/>
              </a:ext>
            </a:extLst>
          </p:cNvPr>
          <p:cNvSpPr/>
          <p:nvPr/>
        </p:nvSpPr>
        <p:spPr>
          <a:xfrm>
            <a:off x="3632151" y="1846822"/>
            <a:ext cx="1316618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O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화학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0CF4FEA6-D87B-4420-9AE9-D9D08C02483B}"/>
              </a:ext>
            </a:extLst>
          </p:cNvPr>
          <p:cNvSpPr/>
          <p:nvPr/>
        </p:nvSpPr>
        <p:spPr>
          <a:xfrm>
            <a:off x="5583063" y="1846822"/>
            <a:ext cx="2330282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ng123@chem.com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3E83844-2481-494F-8649-0585432C5E4F}"/>
              </a:ext>
            </a:extLst>
          </p:cNvPr>
          <p:cNvSpPr txBox="1"/>
          <p:nvPr/>
        </p:nvSpPr>
        <p:spPr>
          <a:xfrm>
            <a:off x="1199456" y="1875292"/>
            <a:ext cx="100811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r>
              <a:rPr lang="ko-KR" altLang="en-US" sz="800" dirty="0">
                <a:latin typeface="+mn-ea"/>
              </a:rPr>
              <a:t>이름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D3D578A-48E3-4E52-9F2A-BB462EBA67AF}"/>
              </a:ext>
            </a:extLst>
          </p:cNvPr>
          <p:cNvSpPr txBox="1"/>
          <p:nvPr/>
        </p:nvSpPr>
        <p:spPr>
          <a:xfrm>
            <a:off x="2974072" y="1828198"/>
            <a:ext cx="100811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dirty="0">
                <a:latin typeface="+mn-ea"/>
              </a:rPr>
              <a:t>소속</a:t>
            </a:r>
            <a:br>
              <a:rPr lang="en-US" altLang="ko-KR" sz="800" dirty="0">
                <a:latin typeface="+mn-ea"/>
              </a:rPr>
            </a:br>
            <a:r>
              <a:rPr lang="en-US" altLang="ko-KR" sz="800" dirty="0">
                <a:latin typeface="+mn-ea"/>
              </a:rPr>
              <a:t>(</a:t>
            </a:r>
            <a:r>
              <a:rPr lang="ko-KR" altLang="en-US" sz="800" dirty="0">
                <a:latin typeface="+mn-ea"/>
              </a:rPr>
              <a:t>회사</a:t>
            </a:r>
            <a:r>
              <a:rPr lang="en-US" altLang="ko-KR" sz="800" dirty="0">
                <a:latin typeface="+mn-ea"/>
              </a:rPr>
              <a:t>/</a:t>
            </a:r>
            <a:r>
              <a:rPr lang="ko-KR" altLang="en-US" sz="800" dirty="0">
                <a:latin typeface="+mn-ea"/>
              </a:rPr>
              <a:t>기관명</a:t>
            </a:r>
            <a:r>
              <a:rPr lang="en-US" altLang="ko-KR" sz="800" dirty="0">
                <a:latin typeface="+mn-ea"/>
              </a:rPr>
              <a:t>)</a:t>
            </a:r>
            <a:endParaRPr lang="ko-KR" altLang="en-US" sz="800" dirty="0">
              <a:latin typeface="+mn-ea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0820277-60A7-453C-AAA6-4829F4B3A87D}"/>
              </a:ext>
            </a:extLst>
          </p:cNvPr>
          <p:cNvSpPr txBox="1"/>
          <p:nvPr/>
        </p:nvSpPr>
        <p:spPr>
          <a:xfrm>
            <a:off x="5191882" y="1875292"/>
            <a:ext cx="636250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dirty="0">
                <a:latin typeface="+mn-ea"/>
              </a:rPr>
              <a:t>이메일</a:t>
            </a:r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B62EFE2B-AA01-4512-9ADC-6942256CEEC3}"/>
              </a:ext>
            </a:extLst>
          </p:cNvPr>
          <p:cNvSpPr/>
          <p:nvPr/>
        </p:nvSpPr>
        <p:spPr>
          <a:xfrm>
            <a:off x="1219776" y="5600466"/>
            <a:ext cx="144000" cy="144000"/>
          </a:xfrm>
          <a:prstGeom prst="ellipse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D7B0B2F8-6600-4EF4-B0F3-464115418169}"/>
              </a:ext>
            </a:extLst>
          </p:cNvPr>
          <p:cNvSpPr/>
          <p:nvPr/>
        </p:nvSpPr>
        <p:spPr>
          <a:xfrm>
            <a:off x="1255776" y="5636466"/>
            <a:ext cx="72000" cy="7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4C751BE-7EF2-4169-A53E-5C3CF77D35D9}"/>
              </a:ext>
            </a:extLst>
          </p:cNvPr>
          <p:cNvSpPr txBox="1"/>
          <p:nvPr/>
        </p:nvSpPr>
        <p:spPr>
          <a:xfrm>
            <a:off x="1436002" y="5569500"/>
            <a:ext cx="2613294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dirty="0">
                <a:latin typeface="+mn-ea"/>
              </a:rPr>
              <a:t>개인정보 수집 및 이용방침에 동의합니다</a:t>
            </a:r>
            <a:r>
              <a:rPr lang="en-US" altLang="ko-KR" sz="800" b="1" dirty="0">
                <a:latin typeface="+mn-ea"/>
              </a:rPr>
              <a:t>.</a:t>
            </a:r>
            <a:endParaRPr lang="ko-KR" altLang="en-US" sz="800" b="1" dirty="0">
              <a:latin typeface="+mn-ea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BF858A-8E17-461D-AC12-537C3D79C4F8}"/>
              </a:ext>
            </a:extLst>
          </p:cNvPr>
          <p:cNvSpPr txBox="1"/>
          <p:nvPr/>
        </p:nvSpPr>
        <p:spPr>
          <a:xfrm>
            <a:off x="3521433" y="5569500"/>
            <a:ext cx="1440000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u="sng" dirty="0">
                <a:solidFill>
                  <a:schemeClr val="accent1"/>
                </a:solidFill>
                <a:latin typeface="+mn-ea"/>
              </a:rPr>
              <a:t>자세히 보기</a:t>
            </a: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40E010ED-1584-4C8E-983D-6D3D43A5C368}"/>
              </a:ext>
            </a:extLst>
          </p:cNvPr>
          <p:cNvSpPr/>
          <p:nvPr/>
        </p:nvSpPr>
        <p:spPr>
          <a:xfrm>
            <a:off x="6996200" y="5589819"/>
            <a:ext cx="900000" cy="2880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n-ea"/>
                <a:cs typeface="Segoe UI" panose="020B0502040204020203" pitchFamily="34" charset="0"/>
              </a:rPr>
              <a:t>등록</a:t>
            </a:r>
          </a:p>
        </p:txBody>
      </p:sp>
      <p:pic>
        <p:nvPicPr>
          <p:cNvPr id="15362" name="Picture 2" descr="search, strong ">
            <a:extLst>
              <a:ext uri="{FF2B5EF4-FFF2-40B4-BE49-F238E27FC236}">
                <a16:creationId xmlns:a16="http://schemas.microsoft.com/office/drawing/2014/main" id="{6F50C832-4678-4C0C-9F48-A37583DA9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393" y="1895114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E87A84F7-3F7A-4525-B176-4B993124EF09}"/>
              </a:ext>
            </a:extLst>
          </p:cNvPr>
          <p:cNvSpPr txBox="1"/>
          <p:nvPr/>
        </p:nvSpPr>
        <p:spPr>
          <a:xfrm>
            <a:off x="5583555" y="2270037"/>
            <a:ext cx="1008112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800" b="1" dirty="0">
                <a:latin typeface="+mn-ea"/>
              </a:rPr>
              <a:t>문의유형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0E98A51B-EBAF-4468-8916-3E38E5ACFB62}"/>
              </a:ext>
            </a:extLst>
          </p:cNvPr>
          <p:cNvSpPr/>
          <p:nvPr/>
        </p:nvSpPr>
        <p:spPr>
          <a:xfrm>
            <a:off x="5583555" y="2541063"/>
            <a:ext cx="2321977" cy="28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삼일 서비스 제공 문의</a:t>
            </a:r>
          </a:p>
        </p:txBody>
      </p:sp>
      <p:sp>
        <p:nvSpPr>
          <p:cNvPr id="95" name="이등변 삼각형 94">
            <a:extLst>
              <a:ext uri="{FF2B5EF4-FFF2-40B4-BE49-F238E27FC236}">
                <a16:creationId xmlns:a16="http://schemas.microsoft.com/office/drawing/2014/main" id="{B7F64E80-912C-45F7-9EAD-A438CC903ABF}"/>
              </a:ext>
            </a:extLst>
          </p:cNvPr>
          <p:cNvSpPr/>
          <p:nvPr/>
        </p:nvSpPr>
        <p:spPr>
          <a:xfrm flipV="1">
            <a:off x="7702283" y="2614144"/>
            <a:ext cx="144000" cy="14400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B4C4E73D-1F17-4AFE-8F69-771DE911ECD4}"/>
              </a:ext>
            </a:extLst>
          </p:cNvPr>
          <p:cNvSpPr/>
          <p:nvPr/>
        </p:nvSpPr>
        <p:spPr>
          <a:xfrm>
            <a:off x="989261" y="15642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3C76CC8B-6E05-48A0-BCC8-2C60BB04FA57}"/>
              </a:ext>
            </a:extLst>
          </p:cNvPr>
          <p:cNvSpPr/>
          <p:nvPr/>
        </p:nvSpPr>
        <p:spPr>
          <a:xfrm>
            <a:off x="7175174" y="14847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FB6ED92E-AA7B-4E7D-B010-191A40937958}"/>
              </a:ext>
            </a:extLst>
          </p:cNvPr>
          <p:cNvSpPr/>
          <p:nvPr/>
        </p:nvSpPr>
        <p:spPr>
          <a:xfrm>
            <a:off x="5384499" y="231105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CDA2A217-D812-4B82-8421-099863C537A5}"/>
              </a:ext>
            </a:extLst>
          </p:cNvPr>
          <p:cNvSpPr/>
          <p:nvPr/>
        </p:nvSpPr>
        <p:spPr>
          <a:xfrm>
            <a:off x="3405647" y="54450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0A5C9EB-F0C1-49C3-99A7-43C8B9E9A6D1}"/>
              </a:ext>
            </a:extLst>
          </p:cNvPr>
          <p:cNvSpPr txBox="1"/>
          <p:nvPr/>
        </p:nvSpPr>
        <p:spPr>
          <a:xfrm>
            <a:off x="6933736" y="1550899"/>
            <a:ext cx="100811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r"/>
            <a:r>
              <a:rPr lang="ko-KR" altLang="en-US" sz="800" u="sng" dirty="0">
                <a:latin typeface="+mn-ea"/>
              </a:rPr>
              <a:t>기본정보 변경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5D9B1CAA-8D4A-4B7B-B331-9DD99E6B7A6B}"/>
              </a:ext>
            </a:extLst>
          </p:cNvPr>
          <p:cNvSpPr/>
          <p:nvPr/>
        </p:nvSpPr>
        <p:spPr>
          <a:xfrm>
            <a:off x="5583555" y="2833102"/>
            <a:ext cx="2321977" cy="131771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시스템 기능</a:t>
            </a:r>
            <a:r>
              <a:rPr lang="en-US" altLang="ko-KR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·</a:t>
            </a: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오류 문의</a:t>
            </a:r>
            <a:endParaRPr lang="en-US" altLang="ko-KR" sz="9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회원 가입</a:t>
            </a:r>
            <a:r>
              <a:rPr lang="en-US" altLang="ko-KR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·</a:t>
            </a: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해지 문의</a:t>
            </a:r>
            <a:endParaRPr lang="en-US" altLang="ko-KR" sz="9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게시자료 문의</a:t>
            </a:r>
            <a:endParaRPr lang="en-US" altLang="ko-KR" sz="9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추가자료 요청</a:t>
            </a:r>
            <a:endParaRPr lang="en-US" altLang="ko-KR" sz="9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서비스 제휴 문의</a:t>
            </a:r>
            <a:endParaRPr lang="en-US" altLang="ko-KR" sz="9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9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기타</a:t>
            </a:r>
          </a:p>
        </p:txBody>
      </p:sp>
    </p:spTree>
    <p:extLst>
      <p:ext uri="{BB962C8B-B14F-4D97-AF65-F5344CB8AC3E}">
        <p14:creationId xmlns:p14="http://schemas.microsoft.com/office/powerpoint/2010/main" val="1734393857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문의사항 진행현황을 확인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821130"/>
              </p:ext>
            </p:extLst>
          </p:nvPr>
        </p:nvGraphicFramePr>
        <p:xfrm>
          <a:off x="9336360" y="759198"/>
          <a:ext cx="2853916" cy="5877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9515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 기준으로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 기준으로 기간설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늘 날짜 기준으로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중 택일하여 조회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,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 확인 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부서 전달 상태인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에게는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표시하여 출력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 중 복수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값을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공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류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자료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자료 요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휴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를 입력 時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로 문의사항을 조회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기준은 제목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사항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된 문의사항과 관련 상태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, 5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첫 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 ~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 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질의 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문의사항 상세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Q003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질의 답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문의사항 상세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Q003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라인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하기 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요청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Q00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40029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페이지당 문의요청사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0306420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HOME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 조회</a:t>
            </a:r>
          </a:p>
        </p:txBody>
      </p:sp>
      <p:graphicFrame>
        <p:nvGraphicFramePr>
          <p:cNvPr id="87" name="표 66">
            <a:extLst>
              <a:ext uri="{FF2B5EF4-FFF2-40B4-BE49-F238E27FC236}">
                <a16:creationId xmlns:a16="http://schemas.microsoft.com/office/drawing/2014/main" id="{2408A37E-7CFA-4164-B82E-730352DCFE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671604"/>
              </p:ext>
            </p:extLst>
          </p:nvPr>
        </p:nvGraphicFramePr>
        <p:xfrm>
          <a:off x="434296" y="3846880"/>
          <a:ext cx="8291957" cy="22575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0860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444736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3047258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1091157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</a:tblGrid>
              <a:tr h="277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유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일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 답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삼일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시스템 기능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웹뷰어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6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처리 중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IT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603217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회원 가입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2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보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139922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265754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7251981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9519756"/>
                  </a:ext>
                </a:extLst>
              </a:tr>
              <a:tr h="282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824963"/>
                  </a:ext>
                </a:extLst>
              </a:tr>
            </a:tbl>
          </a:graphicData>
        </a:graphic>
      </p:graphicFrame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3A5A76D-2A1B-4980-892B-EAC494032F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484784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나의 문의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황 조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8" name="표 12">
            <a:extLst>
              <a:ext uri="{FF2B5EF4-FFF2-40B4-BE49-F238E27FC236}">
                <a16:creationId xmlns:a16="http://schemas.microsoft.com/office/drawing/2014/main" id="{E702C1DB-4CD3-46D0-AEAA-ECE918AB7DD4}"/>
              </a:ext>
            </a:extLst>
          </p:cNvPr>
          <p:cNvGraphicFramePr>
            <a:graphicFrameLocks noGrp="1"/>
          </p:cNvGraphicFramePr>
          <p:nvPr/>
        </p:nvGraphicFramePr>
        <p:xfrm>
          <a:off x="427900" y="2377357"/>
          <a:ext cx="8298354" cy="89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31255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512162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594050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560887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 일자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 상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○ 담당부서 확인 중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답변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유형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제공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스템 기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류 문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 자료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 자료 요청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휴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</a:tbl>
          </a:graphicData>
        </a:graphic>
      </p:graphicFrame>
      <p:grpSp>
        <p:nvGrpSpPr>
          <p:cNvPr id="20" name="그룹 19">
            <a:extLst>
              <a:ext uri="{FF2B5EF4-FFF2-40B4-BE49-F238E27FC236}">
                <a16:creationId xmlns:a16="http://schemas.microsoft.com/office/drawing/2014/main" id="{FAF789B6-3117-438B-9FDC-1D8DA099CA6D}"/>
              </a:ext>
            </a:extLst>
          </p:cNvPr>
          <p:cNvGrpSpPr/>
          <p:nvPr/>
        </p:nvGrpSpPr>
        <p:grpSpPr>
          <a:xfrm>
            <a:off x="1138385" y="2453577"/>
            <a:ext cx="1697790" cy="180527"/>
            <a:chOff x="1260033" y="1514945"/>
            <a:chExt cx="1697790" cy="180527"/>
          </a:xfrm>
        </p:grpSpPr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C35CE56E-598B-4D32-B2F3-80D6C576ADCD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3D3DE3FD-0576-49D4-ABC3-CD3C620987C9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2F0CFDC5-1BC9-4BDB-B14E-E938666E9BE0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32" name="그림 31">
                <a:extLst>
                  <a:ext uri="{FF2B5EF4-FFF2-40B4-BE49-F238E27FC236}">
                    <a16:creationId xmlns:a16="http://schemas.microsoft.com/office/drawing/2014/main" id="{3626BEDE-F6E3-45DB-BED0-9B63334F8C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5787AB59-55F9-446B-B273-7224BF93AE52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27" name="직사각형 26">
                <a:extLst>
                  <a:ext uri="{FF2B5EF4-FFF2-40B4-BE49-F238E27FC236}">
                    <a16:creationId xmlns:a16="http://schemas.microsoft.com/office/drawing/2014/main" id="{C8D1DA50-36F7-4139-9D2E-DDBE4C478E66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id="{C2098383-1571-456F-8C79-3019539F7177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DF0CFB39-AA16-47F0-AE4F-6DFCD28976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A679553A-19EE-4329-8E28-DF3BF39742B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91D8143B-A43A-482D-92B3-89411D923F46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4791A469-0A50-405E-A5C6-B761E9BBBC54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7BA52941-D67F-427E-9312-EF8666D71EAF}"/>
              </a:ext>
            </a:extLst>
          </p:cNvPr>
          <p:cNvSpPr/>
          <p:nvPr/>
        </p:nvSpPr>
        <p:spPr>
          <a:xfrm>
            <a:off x="1166217" y="3067608"/>
            <a:ext cx="230091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제목 입력</a:t>
            </a: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50DCCEFF-CE52-43BE-A837-4300C69E0FDA}"/>
              </a:ext>
            </a:extLst>
          </p:cNvPr>
          <p:cNvSpPr/>
          <p:nvPr/>
        </p:nvSpPr>
        <p:spPr>
          <a:xfrm>
            <a:off x="2938570" y="2461113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5BDDD124-60F5-4897-AD41-FCD4A7A526E5}"/>
              </a:ext>
            </a:extLst>
          </p:cNvPr>
          <p:cNvSpPr/>
          <p:nvPr/>
        </p:nvSpPr>
        <p:spPr>
          <a:xfrm>
            <a:off x="3569072" y="2461113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60FF7FBB-9D52-446F-A68C-A131C983DD60}"/>
              </a:ext>
            </a:extLst>
          </p:cNvPr>
          <p:cNvSpPr/>
          <p:nvPr/>
        </p:nvSpPr>
        <p:spPr>
          <a:xfrm>
            <a:off x="1000774" y="25011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CCFEBD08-6910-4C77-B902-66931713CD53}"/>
              </a:ext>
            </a:extLst>
          </p:cNvPr>
          <p:cNvSpPr/>
          <p:nvPr/>
        </p:nvSpPr>
        <p:spPr>
          <a:xfrm>
            <a:off x="5106176" y="23294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FD9D877A-B26A-4BFF-A508-71F522332514}"/>
              </a:ext>
            </a:extLst>
          </p:cNvPr>
          <p:cNvSpPr/>
          <p:nvPr/>
        </p:nvSpPr>
        <p:spPr>
          <a:xfrm>
            <a:off x="1000774" y="28165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74111A2E-4372-462F-8E22-3214A708B4B7}"/>
              </a:ext>
            </a:extLst>
          </p:cNvPr>
          <p:cNvSpPr/>
          <p:nvPr/>
        </p:nvSpPr>
        <p:spPr>
          <a:xfrm>
            <a:off x="1000774" y="31046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0A0E35F-A1A5-4444-963B-C0E5F29DAD97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등록한 문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과 이에 대한 진행현황을 확인할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FBD4F246-880D-4167-B798-97B36ECE097C}"/>
              </a:ext>
            </a:extLst>
          </p:cNvPr>
          <p:cNvSpPr/>
          <p:nvPr/>
        </p:nvSpPr>
        <p:spPr>
          <a:xfrm>
            <a:off x="8028215" y="3328787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7483897-C99C-48F2-91B0-4CB031D4D14D}"/>
              </a:ext>
            </a:extLst>
          </p:cNvPr>
          <p:cNvSpPr/>
          <p:nvPr/>
        </p:nvSpPr>
        <p:spPr>
          <a:xfrm>
            <a:off x="144528" y="3420881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 목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AB14D2AC-D983-419C-A2C0-74D2DA30066E}"/>
              </a:ext>
            </a:extLst>
          </p:cNvPr>
          <p:cNvSpPr/>
          <p:nvPr/>
        </p:nvSpPr>
        <p:spPr>
          <a:xfrm>
            <a:off x="2711624" y="41453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F7F49ABE-50BC-48C3-822D-17D01BEF3F8B}"/>
              </a:ext>
            </a:extLst>
          </p:cNvPr>
          <p:cNvSpPr/>
          <p:nvPr/>
        </p:nvSpPr>
        <p:spPr>
          <a:xfrm>
            <a:off x="7752184" y="46964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1162002C-97D7-4253-802C-FB24F466AB4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5" name="그림 64">
              <a:extLst>
                <a:ext uri="{FF2B5EF4-FFF2-40B4-BE49-F238E27FC236}">
                  <a16:creationId xmlns:a16="http://schemas.microsoft.com/office/drawing/2014/main" id="{4ABBDE53-B4D5-4EA9-A932-AAA671ABA3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D3050A81-CAC2-4390-882F-9FF053ABDFC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0" name="그림 69">
              <a:extLst>
                <a:ext uri="{FF2B5EF4-FFF2-40B4-BE49-F238E27FC236}">
                  <a16:creationId xmlns:a16="http://schemas.microsoft.com/office/drawing/2014/main" id="{E83710E1-57C1-4F28-A950-45ACC7728F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202083EC-A273-481C-A6A5-5D8850B70C1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5F2183F0-F38B-4AF4-A25B-88570BBDAF21}"/>
              </a:ext>
            </a:extLst>
          </p:cNvPr>
          <p:cNvSpPr/>
          <p:nvPr/>
        </p:nvSpPr>
        <p:spPr>
          <a:xfrm>
            <a:off x="7392144" y="3591285"/>
            <a:ext cx="131795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 문의</a:t>
            </a:r>
            <a:r>
              <a:rPr lang="en-US" altLang="ko-KR" sz="8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하기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6DB1C4CC-0EEA-4DE5-A03F-3E7F239FA105}"/>
              </a:ext>
            </a:extLst>
          </p:cNvPr>
          <p:cNvSpPr/>
          <p:nvPr/>
        </p:nvSpPr>
        <p:spPr>
          <a:xfrm>
            <a:off x="7327942" y="352330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3CBED3B7-279D-4D4C-9A81-6D00A80880DA}"/>
              </a:ext>
            </a:extLst>
          </p:cNvPr>
          <p:cNvSpPr/>
          <p:nvPr/>
        </p:nvSpPr>
        <p:spPr>
          <a:xfrm>
            <a:off x="8966920" y="-30430"/>
            <a:ext cx="3218221" cy="10282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8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온라인 문의요청하기 버튼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조회키 중 처리상태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유형 삭제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페이지네이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기능 하단으로 이동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2C460437-7192-4DB7-A824-B9728360DAA0}"/>
              </a:ext>
            </a:extLst>
          </p:cNvPr>
          <p:cNvGrpSpPr/>
          <p:nvPr/>
        </p:nvGrpSpPr>
        <p:grpSpPr>
          <a:xfrm>
            <a:off x="4565643" y="2375182"/>
            <a:ext cx="4175396" cy="405745"/>
            <a:chOff x="199908" y="580005"/>
            <a:chExt cx="11944011" cy="5212586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14CE665E-6BE1-46C5-9704-CCFD3102E9C5}"/>
                </a:ext>
              </a:extLst>
            </p:cNvPr>
            <p:cNvSpPr/>
            <p:nvPr/>
          </p:nvSpPr>
          <p:spPr>
            <a:xfrm>
              <a:off x="199908" y="580005"/>
              <a:ext cx="11944011" cy="5212586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598226E0-90E5-4C0F-A07F-38A49449E5B5}"/>
                </a:ext>
              </a:extLst>
            </p:cNvPr>
            <p:cNvSpPr/>
            <p:nvPr/>
          </p:nvSpPr>
          <p:spPr>
            <a:xfrm>
              <a:off x="4971192" y="2006453"/>
              <a:ext cx="2981151" cy="1844758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삭제 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(23.08.29)</a:t>
              </a:r>
              <a:endPara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D3A9D35C-7118-427A-809E-F4B334B962B5}"/>
              </a:ext>
            </a:extLst>
          </p:cNvPr>
          <p:cNvGrpSpPr/>
          <p:nvPr/>
        </p:nvGrpSpPr>
        <p:grpSpPr>
          <a:xfrm>
            <a:off x="434295" y="3018492"/>
            <a:ext cx="8298353" cy="259211"/>
            <a:chOff x="199908" y="580005"/>
            <a:chExt cx="11944011" cy="5212586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85A2A957-71CC-4EFE-800F-B1A342BA0BFF}"/>
                </a:ext>
              </a:extLst>
            </p:cNvPr>
            <p:cNvSpPr/>
            <p:nvPr/>
          </p:nvSpPr>
          <p:spPr>
            <a:xfrm>
              <a:off x="199908" y="580005"/>
              <a:ext cx="11944011" cy="5212586"/>
            </a:xfrm>
            <a:prstGeom prst="rect">
              <a:avLst/>
            </a:prstGeom>
            <a:solidFill>
              <a:srgbClr val="BFBFBF">
                <a:alpha val="69804"/>
              </a:srgb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06AAF92C-2A52-488E-8322-BA9ABB23AF33}"/>
                </a:ext>
              </a:extLst>
            </p:cNvPr>
            <p:cNvSpPr/>
            <p:nvPr/>
          </p:nvSpPr>
          <p:spPr>
            <a:xfrm>
              <a:off x="4971192" y="2006453"/>
              <a:ext cx="2981151" cy="1844758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 defTabSz="914400">
                <a:lnSpc>
                  <a:spcPct val="120000"/>
                </a:lnSpc>
              </a:pP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삭제 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(23.08.29)</a:t>
              </a:r>
              <a:endPara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</p:grpSp>
      <p:graphicFrame>
        <p:nvGraphicFramePr>
          <p:cNvPr id="86" name="표 21">
            <a:extLst>
              <a:ext uri="{FF2B5EF4-FFF2-40B4-BE49-F238E27FC236}">
                <a16:creationId xmlns:a16="http://schemas.microsoft.com/office/drawing/2014/main" id="{9266B9F7-DD16-4D2F-A6CE-6062409D0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913959"/>
              </p:ext>
            </p:extLst>
          </p:nvPr>
        </p:nvGraphicFramePr>
        <p:xfrm>
          <a:off x="3503710" y="6147058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88" name="직사각형 87">
            <a:extLst>
              <a:ext uri="{FF2B5EF4-FFF2-40B4-BE49-F238E27FC236}">
                <a16:creationId xmlns:a16="http://schemas.microsoft.com/office/drawing/2014/main" id="{B0750F70-AF63-4428-9013-6BA2D887DAB7}"/>
              </a:ext>
            </a:extLst>
          </p:cNvPr>
          <p:cNvSpPr/>
          <p:nvPr/>
        </p:nvSpPr>
        <p:spPr>
          <a:xfrm>
            <a:off x="2937483" y="616067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E588CE37-FD3B-485D-8DFA-A1E259FA8BFF}"/>
              </a:ext>
            </a:extLst>
          </p:cNvPr>
          <p:cNvSpPr/>
          <p:nvPr/>
        </p:nvSpPr>
        <p:spPr>
          <a:xfrm flipV="1">
            <a:off x="6102528" y="614705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D7B1C73E-3F08-429F-B26E-5A0A15332811}"/>
              </a:ext>
            </a:extLst>
          </p:cNvPr>
          <p:cNvSpPr/>
          <p:nvPr/>
        </p:nvSpPr>
        <p:spPr>
          <a:xfrm>
            <a:off x="2912814" y="60272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DE9AB1A1-1A76-423B-8AC7-E8AD991B53F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745326304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948132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상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이에 대한 답변을 확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27649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한 문의사항의 기 작성 정보를 조회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비활성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내용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사항 처리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담당부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에만 버튼 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비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[2]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온라인 문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처리상태가 미확인인 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경우에만 수정 버튼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활성화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미확인 상태의 문의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문의유형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제목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 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문의사항 수정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가능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pic>
        <p:nvPicPr>
          <p:cNvPr id="19" name="그림 18">
            <a:extLst>
              <a:ext uri="{FF2B5EF4-FFF2-40B4-BE49-F238E27FC236}">
                <a16:creationId xmlns:a16="http://schemas.microsoft.com/office/drawing/2014/main" id="{9DAF0ED9-7E1F-42A1-9FDA-A9036B9CA4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70" b="17124"/>
          <a:stretch/>
        </p:blipFill>
        <p:spPr>
          <a:xfrm>
            <a:off x="341695" y="612562"/>
            <a:ext cx="8634625" cy="660404"/>
          </a:xfrm>
          <a:prstGeom prst="rect">
            <a:avLst/>
          </a:prstGeom>
          <a:ln>
            <a:noFill/>
          </a:ln>
        </p:spPr>
      </p:pic>
      <p:sp>
        <p:nvSpPr>
          <p:cNvPr id="7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6518560-5A06-41BF-85C4-C6D6A18CB4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58161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3B1ED6D-DABC-4747-8502-1FA6B5DD8A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33396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GRI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088F32-C7AE-41E9-8323-372421CA5713}"/>
              </a:ext>
            </a:extLst>
          </p:cNvPr>
          <p:cNvSpPr txBox="1"/>
          <p:nvPr/>
        </p:nvSpPr>
        <p:spPr>
          <a:xfrm>
            <a:off x="484864" y="3404579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100" b="1" dirty="0"/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구성 및 원문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DE4F343-0E16-4659-A017-C009F0060DEF}"/>
              </a:ext>
            </a:extLst>
          </p:cNvPr>
          <p:cNvGrpSpPr/>
          <p:nvPr/>
        </p:nvGrpSpPr>
        <p:grpSpPr>
          <a:xfrm>
            <a:off x="555762" y="2017267"/>
            <a:ext cx="8098544" cy="1349885"/>
            <a:chOff x="555762" y="1902571"/>
            <a:chExt cx="8307022" cy="1429477"/>
          </a:xfrm>
        </p:grpSpPr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61719CEC-7151-481A-827D-4F127313B402}"/>
                </a:ext>
              </a:extLst>
            </p:cNvPr>
            <p:cNvSpPr/>
            <p:nvPr/>
          </p:nvSpPr>
          <p:spPr>
            <a:xfrm>
              <a:off x="2010439" y="1902571"/>
              <a:ext cx="5400600" cy="28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Standards</a:t>
              </a:r>
              <a:endPara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33C72F84-D1BB-493D-BAF8-DC8DCC542D91}"/>
                </a:ext>
              </a:extLst>
            </p:cNvPr>
            <p:cNvGrpSpPr/>
            <p:nvPr/>
          </p:nvGrpSpPr>
          <p:grpSpPr>
            <a:xfrm>
              <a:off x="555762" y="2387635"/>
              <a:ext cx="8307022" cy="288000"/>
              <a:chOff x="812838" y="2791714"/>
              <a:chExt cx="7097753" cy="288000"/>
            </a:xfrm>
            <a:solidFill>
              <a:schemeClr val="bg1">
                <a:lumMod val="50000"/>
              </a:schemeClr>
            </a:solidFill>
          </p:grpSpPr>
          <p:sp>
            <p:nvSpPr>
              <p:cNvPr id="80" name="사각형: 둥근 모서리 79">
                <a:extLst>
                  <a:ext uri="{FF2B5EF4-FFF2-40B4-BE49-F238E27FC236}">
                    <a16:creationId xmlns:a16="http://schemas.microsoft.com/office/drawing/2014/main" id="{BDD260C4-2E03-4A3B-9B09-52AD736D55A7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Universal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통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2B04336A-B8B0-4009-9F09-DFC58E82485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ector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2" name="사각형: 둥근 모서리 81">
                <a:extLst>
                  <a:ext uri="{FF2B5EF4-FFF2-40B4-BE49-F238E27FC236}">
                    <a16:creationId xmlns:a16="http://schemas.microsoft.com/office/drawing/2014/main" id="{5A8655A7-6A30-40AE-BCA6-72724AD1CAD8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opic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주제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7778854E-3F14-4EB8-83E5-800DC3088F86}"/>
                </a:ext>
              </a:extLst>
            </p:cNvPr>
            <p:cNvGrpSpPr/>
            <p:nvPr/>
          </p:nvGrpSpPr>
          <p:grpSpPr>
            <a:xfrm>
              <a:off x="555762" y="2643873"/>
              <a:ext cx="8307022" cy="688175"/>
              <a:chOff x="812838" y="2791714"/>
              <a:chExt cx="7097753" cy="379763"/>
            </a:xfrm>
            <a:solidFill>
              <a:schemeClr val="bg1"/>
            </a:solidFill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8BB1477B-3CE2-468A-9C8F-F55839B48296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모든 조직에 공통적으로 적용되는 표준</a:t>
                </a:r>
              </a:p>
            </p:txBody>
          </p:sp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A854FBD1-563D-4DCD-A3E8-DF199EF1AF7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부분의 조직에 영향을 주는 사항에 대한 보고 기준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* 40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부문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F0DF5935-E251-4FF1-8AA2-F107DB2D0747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주제와 관련된 보고 기준</a:t>
                </a:r>
                <a:b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</a:b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* 31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주제 영역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E0C449A6-12F4-46BB-AA9E-E2087CCEC021}"/>
                  </a:ext>
                </a:extLst>
              </p:cNvPr>
              <p:cNvSpPr/>
              <p:nvPr/>
            </p:nvSpPr>
            <p:spPr>
              <a:xfrm>
                <a:off x="812838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1, 102, 103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7BC99FFE-BCFC-4AA2-A702-0DEF43D532CD}"/>
                  </a:ext>
                </a:extLst>
              </p:cNvPr>
              <p:cNvSpPr/>
              <p:nvPr/>
            </p:nvSpPr>
            <p:spPr>
              <a:xfrm>
                <a:off x="3246324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 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현재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11~13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공개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5147B592-9197-45E5-B57A-90C665602A37}"/>
                  </a:ext>
                </a:extLst>
              </p:cNvPr>
              <p:cNvSpPr/>
              <p:nvPr/>
            </p:nvSpPr>
            <p:spPr>
              <a:xfrm>
                <a:off x="5679809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200 ~ 40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</a:t>
                </a:r>
              </a:p>
            </p:txBody>
          </p:sp>
        </p:grpSp>
        <p:cxnSp>
          <p:nvCxnSpPr>
            <p:cNvPr id="96" name="연결선: 꺾임 95">
              <a:extLst>
                <a:ext uri="{FF2B5EF4-FFF2-40B4-BE49-F238E27FC236}">
                  <a16:creationId xmlns:a16="http://schemas.microsoft.com/office/drawing/2014/main" id="{6CC48343-B7C4-49E4-B203-FDA1F743A341}"/>
                </a:ext>
              </a:extLst>
            </p:cNvPr>
            <p:cNvCxnSpPr>
              <a:cxnSpLocks/>
              <a:stCxn id="77" idx="2"/>
              <a:endCxn id="80" idx="0"/>
            </p:cNvCxnSpPr>
            <p:nvPr/>
          </p:nvCxnSpPr>
          <p:spPr>
            <a:xfrm rot="5400000">
              <a:off x="3187432" y="864327"/>
              <a:ext cx="197064" cy="2849553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7" name="연결선: 꺾임 96">
              <a:extLst>
                <a:ext uri="{FF2B5EF4-FFF2-40B4-BE49-F238E27FC236}">
                  <a16:creationId xmlns:a16="http://schemas.microsoft.com/office/drawing/2014/main" id="{A38E710B-C375-48A8-8EE5-6F383417DDD1}"/>
                </a:ext>
              </a:extLst>
            </p:cNvPr>
            <p:cNvCxnSpPr>
              <a:cxnSpLocks/>
              <a:stCxn id="77" idx="2"/>
              <a:endCxn id="82" idx="0"/>
            </p:cNvCxnSpPr>
            <p:nvPr/>
          </p:nvCxnSpPr>
          <p:spPr>
            <a:xfrm rot="16200000" flipH="1">
              <a:off x="6035518" y="865793"/>
              <a:ext cx="197064" cy="284662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8" name="연결선: 꺾임 97">
              <a:extLst>
                <a:ext uri="{FF2B5EF4-FFF2-40B4-BE49-F238E27FC236}">
                  <a16:creationId xmlns:a16="http://schemas.microsoft.com/office/drawing/2014/main" id="{3036C050-0345-4CA8-BD01-F9C579F961AE}"/>
                </a:ext>
              </a:extLst>
            </p:cNvPr>
            <p:cNvCxnSpPr>
              <a:cxnSpLocks/>
              <a:stCxn id="77" idx="2"/>
              <a:endCxn id="81" idx="0"/>
            </p:cNvCxnSpPr>
            <p:nvPr/>
          </p:nvCxnSpPr>
          <p:spPr>
            <a:xfrm rot="5400000">
              <a:off x="4611475" y="2288371"/>
              <a:ext cx="197064" cy="1466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99" name="표 6">
            <a:extLst>
              <a:ext uri="{FF2B5EF4-FFF2-40B4-BE49-F238E27FC236}">
                <a16:creationId xmlns:a16="http://schemas.microsoft.com/office/drawing/2014/main" id="{0F2F5DEC-0F6C-4BF8-A02F-8E555C688F84}"/>
              </a:ext>
            </a:extLst>
          </p:cNvPr>
          <p:cNvGraphicFramePr>
            <a:graphicFrameLocks noGrp="1"/>
          </p:cNvGraphicFramePr>
          <p:nvPr/>
        </p:nvGraphicFramePr>
        <p:xfrm>
          <a:off x="555761" y="3635525"/>
          <a:ext cx="8098545" cy="2698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424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457030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025416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968675">
                  <a:extLst>
                    <a:ext uri="{9D8B030D-6E8A-4147-A177-3AD203B41FA5}">
                      <a16:colId xmlns:a16="http://schemas.microsoft.com/office/drawing/2014/main" val="3334921234"/>
                    </a:ext>
                  </a:extLst>
                </a:gridCol>
              </a:tblGrid>
              <a:tr h="206299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Standard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ontent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niversal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건 및 원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u="sng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부문별 보고 기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1 ~ 13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conomic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주제별 보고 기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330079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0</a:t>
                      </a:r>
                      <a:b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1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Economic Performa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적 경제가치 발생과 분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가 미치는 채무적 영향과 위험 및 기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금제도 채무충당 등</a:t>
                      </a: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183072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2 : Market Prese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 내 최저임금과 비교한 기본초임 임금기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저임금 보상평가 방안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지 고용된 고위 경영진 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00884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3 : Indirect Economic Impact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기반시설 투자와 지원 서비스의 개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요한 간접 경제효과 영향의 예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23518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4 : Procurement Practice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사업장에서 현지 공급업체에 지급하는 구매비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866562"/>
                  </a:ext>
                </a:extLst>
              </a:tr>
              <a:tr h="2337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84195"/>
                  </a:ext>
                </a:extLst>
              </a:tr>
            </a:tbl>
          </a:graphicData>
        </a:graphic>
      </p:graphicFrame>
      <p:pic>
        <p:nvPicPr>
          <p:cNvPr id="103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03291E45-2C4C-48CF-8E47-606E11C3F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4818360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A5CB58AB-68D2-4EFB-B1B0-645C481B9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171025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32BB39F1-61FB-4BE9-9CC2-6AB388632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95F52443-180E-42E4-AFC5-6F3C78309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524126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2CFE5197-4817-4C31-AF42-1EC67C733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0792" y="1552688"/>
            <a:ext cx="730938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26840A-1535-492C-83CC-F662D406CF69}"/>
              </a:ext>
            </a:extLst>
          </p:cNvPr>
          <p:cNvSpPr txBox="1"/>
          <p:nvPr/>
        </p:nvSpPr>
        <p:spPr>
          <a:xfrm>
            <a:off x="484864" y="1899265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 프레임워크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3F4A460-79F7-42EB-9A2E-8FF0A74D1FF6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1253D76A-DE72-4780-9454-72E4FFEFB57B}"/>
              </a:ext>
            </a:extLst>
          </p:cNvPr>
          <p:cNvGrpSpPr/>
          <p:nvPr/>
        </p:nvGrpSpPr>
        <p:grpSpPr>
          <a:xfrm>
            <a:off x="1055440" y="908720"/>
            <a:ext cx="7291679" cy="5308223"/>
            <a:chOff x="1274139" y="1023155"/>
            <a:chExt cx="6833233" cy="6570201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2EC76A2-30D2-4564-8AB1-2981FAE3E190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2C43B6F3-9B22-48E3-A247-E79A4050A4B3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문의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·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요청 상세 조회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F842040E-DBC9-48FF-9C9E-41E0BFE9D948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59CFDE20-5B5C-4D4A-9F43-8BDC59A8D497}"/>
              </a:ext>
            </a:extLst>
          </p:cNvPr>
          <p:cNvSpPr/>
          <p:nvPr/>
        </p:nvSpPr>
        <p:spPr>
          <a:xfrm>
            <a:off x="1079179" y="1297876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문의사항 상세 조회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+mn-ea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FB470AF4-1717-44D4-B5DB-3CE0C66A07A5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 정</a:t>
            </a: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7E2EAC34-C249-477C-A124-6B279FF22BF4}"/>
              </a:ext>
            </a:extLst>
          </p:cNvPr>
          <p:cNvSpPr/>
          <p:nvPr/>
        </p:nvSpPr>
        <p:spPr>
          <a:xfrm>
            <a:off x="1199527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2DA196E-A7E3-4081-8A7D-EFCA227D1715}"/>
              </a:ext>
            </a:extLst>
          </p:cNvPr>
          <p:cNvSpPr/>
          <p:nvPr/>
        </p:nvSpPr>
        <p:spPr>
          <a:xfrm>
            <a:off x="2999656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4A9BAE05-18CF-497A-9FD2-ACF940450C0D}"/>
              </a:ext>
            </a:extLst>
          </p:cNvPr>
          <p:cNvSpPr/>
          <p:nvPr/>
        </p:nvSpPr>
        <p:spPr>
          <a:xfrm>
            <a:off x="1785992" y="1662942"/>
            <a:ext cx="97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3.07.25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31C73B33-A910-49C8-8DB5-BF4B5A781E8B}"/>
              </a:ext>
            </a:extLst>
          </p:cNvPr>
          <p:cNvSpPr/>
          <p:nvPr/>
        </p:nvSpPr>
        <p:spPr>
          <a:xfrm>
            <a:off x="3482439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홍길동</a:t>
            </a: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A403D605-FE69-4005-ABE4-0A0B0BAC8A9E}"/>
              </a:ext>
            </a:extLst>
          </p:cNvPr>
          <p:cNvSpPr/>
          <p:nvPr/>
        </p:nvSpPr>
        <p:spPr>
          <a:xfrm>
            <a:off x="4647451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39FF2DE-43F9-4C34-A28C-FC94965E4080}"/>
              </a:ext>
            </a:extLst>
          </p:cNvPr>
          <p:cNvSpPr/>
          <p:nvPr/>
        </p:nvSpPr>
        <p:spPr>
          <a:xfrm>
            <a:off x="5045943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O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화학</a:t>
            </a: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2848A371-2C83-49F2-AE00-30CABC88D1D3}"/>
              </a:ext>
            </a:extLst>
          </p:cNvPr>
          <p:cNvSpPr/>
          <p:nvPr/>
        </p:nvSpPr>
        <p:spPr>
          <a:xfrm>
            <a:off x="7464152" y="1320504"/>
            <a:ext cx="684000" cy="180000"/>
          </a:xfrm>
          <a:prstGeom prst="rect">
            <a:avLst/>
          </a:prstGeom>
          <a:solidFill>
            <a:srgbClr val="C046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solidFill>
                  <a:schemeClr val="bg1"/>
                </a:solidFill>
              </a:rPr>
              <a:t>미확인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345247A1-E218-482B-AB7C-159ED6A24428}"/>
              </a:ext>
            </a:extLst>
          </p:cNvPr>
          <p:cNvSpPr/>
          <p:nvPr/>
        </p:nvSpPr>
        <p:spPr>
          <a:xfrm>
            <a:off x="1318154" y="202424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90FFBE52-5FB9-4AE8-BC84-6E98721975B7}"/>
              </a:ext>
            </a:extLst>
          </p:cNvPr>
          <p:cNvSpPr/>
          <p:nvPr/>
        </p:nvSpPr>
        <p:spPr>
          <a:xfrm>
            <a:off x="1791088" y="2024241"/>
            <a:ext cx="4176000" cy="2160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경영전략 및 중장기 계획 수립 문의</a:t>
            </a: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3A4B193-A7C1-4C57-990E-224A8BA2A8EF}"/>
              </a:ext>
            </a:extLst>
          </p:cNvPr>
          <p:cNvSpPr/>
          <p:nvPr/>
        </p:nvSpPr>
        <p:spPr>
          <a:xfrm>
            <a:off x="1199527" y="236789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500F8FA6-01A1-43C9-88F2-C80791C8FFF3}"/>
              </a:ext>
            </a:extLst>
          </p:cNvPr>
          <p:cNvSpPr/>
          <p:nvPr/>
        </p:nvSpPr>
        <p:spPr>
          <a:xfrm>
            <a:off x="1785992" y="2367892"/>
            <a:ext cx="6339429" cy="2897209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ko-KR" alt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안녕하십니까</a:t>
            </a:r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…. </a:t>
            </a:r>
            <a:r>
              <a:rPr lang="ko-KR" altLang="en-US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이하 생략 </a:t>
            </a:r>
            <a:r>
              <a:rPr lang="en-US" altLang="ko-KR" sz="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….</a:t>
            </a:r>
          </a:p>
        </p:txBody>
      </p: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EF92600-2C16-4B00-A21E-513012E6B234}"/>
              </a:ext>
            </a:extLst>
          </p:cNvPr>
          <p:cNvGrpSpPr/>
          <p:nvPr/>
        </p:nvGrpSpPr>
        <p:grpSpPr>
          <a:xfrm>
            <a:off x="7973330" y="2367894"/>
            <a:ext cx="152360" cy="2897207"/>
            <a:chOff x="9201470" y="1601344"/>
            <a:chExt cx="188139" cy="4198758"/>
          </a:xfrm>
        </p:grpSpPr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9BE84FB-1E80-4908-A807-90BA04A2854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44817A9E-3F35-4CFD-9F3E-43C8FACB9AB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1864734C-99DB-4A44-80E8-D51F765AAA12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4C50587F-A153-4AE1-9A27-0E5394D62B4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7C5A5C96-E028-4B12-A218-D3760CCC74A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2CA2CE2A-3084-427E-9C97-3004962DAF1C}"/>
              </a:ext>
            </a:extLst>
          </p:cNvPr>
          <p:cNvSpPr/>
          <p:nvPr/>
        </p:nvSpPr>
        <p:spPr>
          <a:xfrm>
            <a:off x="6062515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0FA32CB5-CCF2-46B0-9781-58C1917A20BE}"/>
              </a:ext>
            </a:extLst>
          </p:cNvPr>
          <p:cNvSpPr/>
          <p:nvPr/>
        </p:nvSpPr>
        <p:spPr>
          <a:xfrm>
            <a:off x="6650095" y="1662942"/>
            <a:ext cx="1475326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ng123@chem.com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032A47F7-C927-4921-AA06-F8A4CF30BB2B}"/>
              </a:ext>
            </a:extLst>
          </p:cNvPr>
          <p:cNvSpPr/>
          <p:nvPr/>
        </p:nvSpPr>
        <p:spPr>
          <a:xfrm>
            <a:off x="6063630" y="202185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유형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20CACCF1-81D0-4CFD-B53D-841BB45362FA}"/>
              </a:ext>
            </a:extLst>
          </p:cNvPr>
          <p:cNvSpPr/>
          <p:nvPr/>
        </p:nvSpPr>
        <p:spPr>
          <a:xfrm>
            <a:off x="6650094" y="2021852"/>
            <a:ext cx="1476000" cy="2160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ko-KR" altLang="en-US" sz="900" spc="-6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삼일 서비스 제공 문의 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A6CEB391-B852-42C4-8730-FB2BFE5F1F7C}"/>
              </a:ext>
            </a:extLst>
          </p:cNvPr>
          <p:cNvSpPr/>
          <p:nvPr/>
        </p:nvSpPr>
        <p:spPr>
          <a:xfrm>
            <a:off x="7376808" y="12790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C90DE0FE-67EB-49A4-A313-9AC7EB232312}"/>
              </a:ext>
            </a:extLst>
          </p:cNvPr>
          <p:cNvSpPr/>
          <p:nvPr/>
        </p:nvSpPr>
        <p:spPr>
          <a:xfrm>
            <a:off x="7085043" y="57684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BB83A16-9FB9-4E7A-9421-E4ED805FC3D0}"/>
              </a:ext>
            </a:extLst>
          </p:cNvPr>
          <p:cNvSpPr/>
          <p:nvPr/>
        </p:nvSpPr>
        <p:spPr>
          <a:xfrm>
            <a:off x="8966920" y="256686"/>
            <a:ext cx="3218221" cy="577798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1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사항 처리상태가 미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확인인 경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정의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제목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유형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사항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버튼 활성화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0" name="이등변 삼각형 89">
            <a:extLst>
              <a:ext uri="{FF2B5EF4-FFF2-40B4-BE49-F238E27FC236}">
                <a16:creationId xmlns:a16="http://schemas.microsoft.com/office/drawing/2014/main" id="{FE7C467D-4B99-4D53-B6AB-C27F767B0E46}"/>
              </a:ext>
            </a:extLst>
          </p:cNvPr>
          <p:cNvSpPr/>
          <p:nvPr/>
        </p:nvSpPr>
        <p:spPr>
          <a:xfrm flipV="1">
            <a:off x="7922001" y="2093511"/>
            <a:ext cx="152340" cy="10315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555289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62305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상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이에 대한 답변을 확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27649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한 문의사항의 기 작성 정보를 조회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비활성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내용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사항 처리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담당부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에만 버튼 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비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[2]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온라인 문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처리상태가 미확인인 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경우에만 수정 버튼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활성화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미확인 상태의 문의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문의유형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제목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 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문의사항 수정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가능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pic>
        <p:nvPicPr>
          <p:cNvPr id="19" name="그림 18">
            <a:extLst>
              <a:ext uri="{FF2B5EF4-FFF2-40B4-BE49-F238E27FC236}">
                <a16:creationId xmlns:a16="http://schemas.microsoft.com/office/drawing/2014/main" id="{9DAF0ED9-7E1F-42A1-9FDA-A9036B9CA4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70" b="17124"/>
          <a:stretch/>
        </p:blipFill>
        <p:spPr>
          <a:xfrm>
            <a:off x="341695" y="612562"/>
            <a:ext cx="8634625" cy="660404"/>
          </a:xfrm>
          <a:prstGeom prst="rect">
            <a:avLst/>
          </a:prstGeom>
          <a:ln>
            <a:noFill/>
          </a:ln>
        </p:spPr>
      </p:pic>
      <p:sp>
        <p:nvSpPr>
          <p:cNvPr id="7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6518560-5A06-41BF-85C4-C6D6A18CB4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58161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3B1ED6D-DABC-4747-8502-1FA6B5DD8A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33396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GRI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088F32-C7AE-41E9-8323-372421CA5713}"/>
              </a:ext>
            </a:extLst>
          </p:cNvPr>
          <p:cNvSpPr txBox="1"/>
          <p:nvPr/>
        </p:nvSpPr>
        <p:spPr>
          <a:xfrm>
            <a:off x="484864" y="3404579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100" b="1" dirty="0"/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구성 및 원문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DE4F343-0E16-4659-A017-C009F0060DEF}"/>
              </a:ext>
            </a:extLst>
          </p:cNvPr>
          <p:cNvGrpSpPr/>
          <p:nvPr/>
        </p:nvGrpSpPr>
        <p:grpSpPr>
          <a:xfrm>
            <a:off x="555762" y="2017267"/>
            <a:ext cx="8098544" cy="1349885"/>
            <a:chOff x="555762" y="1902571"/>
            <a:chExt cx="8307022" cy="1429477"/>
          </a:xfrm>
        </p:grpSpPr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61719CEC-7151-481A-827D-4F127313B402}"/>
                </a:ext>
              </a:extLst>
            </p:cNvPr>
            <p:cNvSpPr/>
            <p:nvPr/>
          </p:nvSpPr>
          <p:spPr>
            <a:xfrm>
              <a:off x="2010439" y="1902571"/>
              <a:ext cx="5400600" cy="28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Standards</a:t>
              </a:r>
              <a:endPara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33C72F84-D1BB-493D-BAF8-DC8DCC542D91}"/>
                </a:ext>
              </a:extLst>
            </p:cNvPr>
            <p:cNvGrpSpPr/>
            <p:nvPr/>
          </p:nvGrpSpPr>
          <p:grpSpPr>
            <a:xfrm>
              <a:off x="555762" y="2387635"/>
              <a:ext cx="8307022" cy="288000"/>
              <a:chOff x="812838" y="2791714"/>
              <a:chExt cx="7097753" cy="288000"/>
            </a:xfrm>
            <a:solidFill>
              <a:schemeClr val="bg1">
                <a:lumMod val="50000"/>
              </a:schemeClr>
            </a:solidFill>
          </p:grpSpPr>
          <p:sp>
            <p:nvSpPr>
              <p:cNvPr id="80" name="사각형: 둥근 모서리 79">
                <a:extLst>
                  <a:ext uri="{FF2B5EF4-FFF2-40B4-BE49-F238E27FC236}">
                    <a16:creationId xmlns:a16="http://schemas.microsoft.com/office/drawing/2014/main" id="{BDD260C4-2E03-4A3B-9B09-52AD736D55A7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Universal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통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2B04336A-B8B0-4009-9F09-DFC58E82485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ector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2" name="사각형: 둥근 모서리 81">
                <a:extLst>
                  <a:ext uri="{FF2B5EF4-FFF2-40B4-BE49-F238E27FC236}">
                    <a16:creationId xmlns:a16="http://schemas.microsoft.com/office/drawing/2014/main" id="{5A8655A7-6A30-40AE-BCA6-72724AD1CAD8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opic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주제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7778854E-3F14-4EB8-83E5-800DC3088F86}"/>
                </a:ext>
              </a:extLst>
            </p:cNvPr>
            <p:cNvGrpSpPr/>
            <p:nvPr/>
          </p:nvGrpSpPr>
          <p:grpSpPr>
            <a:xfrm>
              <a:off x="555762" y="2643873"/>
              <a:ext cx="8307022" cy="688175"/>
              <a:chOff x="812838" y="2791714"/>
              <a:chExt cx="7097753" cy="379763"/>
            </a:xfrm>
            <a:solidFill>
              <a:schemeClr val="bg1"/>
            </a:solidFill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8BB1477B-3CE2-468A-9C8F-F55839B48296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모든 조직에 공통적으로 적용되는 표준</a:t>
                </a:r>
              </a:p>
            </p:txBody>
          </p:sp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A854FBD1-563D-4DCD-A3E8-DF199EF1AF7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부분의 조직에 영향을 주는 사항에 대한 보고 기준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* 40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부문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F0DF5935-E251-4FF1-8AA2-F107DB2D0747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주제와 관련된 보고 기준</a:t>
                </a:r>
                <a:b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</a:b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* 31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주제 영역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E0C449A6-12F4-46BB-AA9E-E2087CCEC021}"/>
                  </a:ext>
                </a:extLst>
              </p:cNvPr>
              <p:cNvSpPr/>
              <p:nvPr/>
            </p:nvSpPr>
            <p:spPr>
              <a:xfrm>
                <a:off x="812838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1, 102, 103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7BC99FFE-BCFC-4AA2-A702-0DEF43D532CD}"/>
                  </a:ext>
                </a:extLst>
              </p:cNvPr>
              <p:cNvSpPr/>
              <p:nvPr/>
            </p:nvSpPr>
            <p:spPr>
              <a:xfrm>
                <a:off x="3246324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 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현재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11~13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공개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5147B592-9197-45E5-B57A-90C665602A37}"/>
                  </a:ext>
                </a:extLst>
              </p:cNvPr>
              <p:cNvSpPr/>
              <p:nvPr/>
            </p:nvSpPr>
            <p:spPr>
              <a:xfrm>
                <a:off x="5679809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200 ~ 40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</a:t>
                </a:r>
              </a:p>
            </p:txBody>
          </p:sp>
        </p:grpSp>
        <p:cxnSp>
          <p:nvCxnSpPr>
            <p:cNvPr id="96" name="연결선: 꺾임 95">
              <a:extLst>
                <a:ext uri="{FF2B5EF4-FFF2-40B4-BE49-F238E27FC236}">
                  <a16:creationId xmlns:a16="http://schemas.microsoft.com/office/drawing/2014/main" id="{6CC48343-B7C4-49E4-B203-FDA1F743A341}"/>
                </a:ext>
              </a:extLst>
            </p:cNvPr>
            <p:cNvCxnSpPr>
              <a:cxnSpLocks/>
              <a:stCxn id="77" idx="2"/>
              <a:endCxn id="80" idx="0"/>
            </p:cNvCxnSpPr>
            <p:nvPr/>
          </p:nvCxnSpPr>
          <p:spPr>
            <a:xfrm rot="5400000">
              <a:off x="3187432" y="864327"/>
              <a:ext cx="197064" cy="2849553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7" name="연결선: 꺾임 96">
              <a:extLst>
                <a:ext uri="{FF2B5EF4-FFF2-40B4-BE49-F238E27FC236}">
                  <a16:creationId xmlns:a16="http://schemas.microsoft.com/office/drawing/2014/main" id="{A38E710B-C375-48A8-8EE5-6F383417DDD1}"/>
                </a:ext>
              </a:extLst>
            </p:cNvPr>
            <p:cNvCxnSpPr>
              <a:cxnSpLocks/>
              <a:stCxn id="77" idx="2"/>
              <a:endCxn id="82" idx="0"/>
            </p:cNvCxnSpPr>
            <p:nvPr/>
          </p:nvCxnSpPr>
          <p:spPr>
            <a:xfrm rot="16200000" flipH="1">
              <a:off x="6035518" y="865793"/>
              <a:ext cx="197064" cy="284662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8" name="연결선: 꺾임 97">
              <a:extLst>
                <a:ext uri="{FF2B5EF4-FFF2-40B4-BE49-F238E27FC236}">
                  <a16:creationId xmlns:a16="http://schemas.microsoft.com/office/drawing/2014/main" id="{3036C050-0345-4CA8-BD01-F9C579F961AE}"/>
                </a:ext>
              </a:extLst>
            </p:cNvPr>
            <p:cNvCxnSpPr>
              <a:cxnSpLocks/>
              <a:stCxn id="77" idx="2"/>
              <a:endCxn id="81" idx="0"/>
            </p:cNvCxnSpPr>
            <p:nvPr/>
          </p:nvCxnSpPr>
          <p:spPr>
            <a:xfrm rot="5400000">
              <a:off x="4611475" y="2288371"/>
              <a:ext cx="197064" cy="1466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99" name="표 6">
            <a:extLst>
              <a:ext uri="{FF2B5EF4-FFF2-40B4-BE49-F238E27FC236}">
                <a16:creationId xmlns:a16="http://schemas.microsoft.com/office/drawing/2014/main" id="{0F2F5DEC-0F6C-4BF8-A02F-8E555C688F84}"/>
              </a:ext>
            </a:extLst>
          </p:cNvPr>
          <p:cNvGraphicFramePr>
            <a:graphicFrameLocks noGrp="1"/>
          </p:cNvGraphicFramePr>
          <p:nvPr/>
        </p:nvGraphicFramePr>
        <p:xfrm>
          <a:off x="555761" y="3635525"/>
          <a:ext cx="8098545" cy="2698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424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457030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025416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968675">
                  <a:extLst>
                    <a:ext uri="{9D8B030D-6E8A-4147-A177-3AD203B41FA5}">
                      <a16:colId xmlns:a16="http://schemas.microsoft.com/office/drawing/2014/main" val="3334921234"/>
                    </a:ext>
                  </a:extLst>
                </a:gridCol>
              </a:tblGrid>
              <a:tr h="206299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Standard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ontent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niversal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건 및 원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u="sng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부문별 보고 기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1 ~ 13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conomic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주제별 보고 기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330079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0</a:t>
                      </a:r>
                      <a:b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1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Economic Performa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적 경제가치 발생과 분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가 미치는 채무적 영향과 위험 및 기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금제도 채무충당 등</a:t>
                      </a: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183072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2 : Market Prese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 내 최저임금과 비교한 기본초임 임금기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저임금 보상평가 방안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지 고용된 고위 경영진 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00884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3 : Indirect Economic Impact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기반시설 투자와 지원 서비스의 개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요한 간접 경제효과 영향의 예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23518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4 : Procurement Practice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사업장에서 현지 공급업체에 지급하는 구매비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866562"/>
                  </a:ext>
                </a:extLst>
              </a:tr>
              <a:tr h="2337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84195"/>
                  </a:ext>
                </a:extLst>
              </a:tr>
            </a:tbl>
          </a:graphicData>
        </a:graphic>
      </p:graphicFrame>
      <p:pic>
        <p:nvPicPr>
          <p:cNvPr id="103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03291E45-2C4C-48CF-8E47-606E11C3F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4818360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A5CB58AB-68D2-4EFB-B1B0-645C481B9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171025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32BB39F1-61FB-4BE9-9CC2-6AB388632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95F52443-180E-42E4-AFC5-6F3C78309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524126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2CFE5197-4817-4C31-AF42-1EC67C733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0792" y="1552688"/>
            <a:ext cx="730938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26840A-1535-492C-83CC-F662D406CF69}"/>
              </a:ext>
            </a:extLst>
          </p:cNvPr>
          <p:cNvSpPr txBox="1"/>
          <p:nvPr/>
        </p:nvSpPr>
        <p:spPr>
          <a:xfrm>
            <a:off x="484864" y="1899265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 프레임워크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3F4A460-79F7-42EB-9A2E-8FF0A74D1FF6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1253D76A-DE72-4780-9454-72E4FFEFB57B}"/>
              </a:ext>
            </a:extLst>
          </p:cNvPr>
          <p:cNvGrpSpPr/>
          <p:nvPr/>
        </p:nvGrpSpPr>
        <p:grpSpPr>
          <a:xfrm>
            <a:off x="1055440" y="908720"/>
            <a:ext cx="7291679" cy="5308223"/>
            <a:chOff x="1274139" y="1023155"/>
            <a:chExt cx="6833233" cy="6570201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2EC76A2-30D2-4564-8AB1-2981FAE3E190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2C43B6F3-9B22-48E3-A247-E79A4050A4B3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문의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·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요청 상세 조회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F842040E-DBC9-48FF-9C9E-41E0BFE9D948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59CFDE20-5B5C-4D4A-9F43-8BDC59A8D497}"/>
              </a:ext>
            </a:extLst>
          </p:cNvPr>
          <p:cNvSpPr/>
          <p:nvPr/>
        </p:nvSpPr>
        <p:spPr>
          <a:xfrm>
            <a:off x="1079179" y="1297876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문의사항 상세 조회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+mn-ea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7E2EAC34-C249-477C-A124-6B279FF22BF4}"/>
              </a:ext>
            </a:extLst>
          </p:cNvPr>
          <p:cNvSpPr/>
          <p:nvPr/>
        </p:nvSpPr>
        <p:spPr>
          <a:xfrm>
            <a:off x="1199527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2DA196E-A7E3-4081-8A7D-EFCA227D1715}"/>
              </a:ext>
            </a:extLst>
          </p:cNvPr>
          <p:cNvSpPr/>
          <p:nvPr/>
        </p:nvSpPr>
        <p:spPr>
          <a:xfrm>
            <a:off x="2999656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4A9BAE05-18CF-497A-9FD2-ACF940450C0D}"/>
              </a:ext>
            </a:extLst>
          </p:cNvPr>
          <p:cNvSpPr/>
          <p:nvPr/>
        </p:nvSpPr>
        <p:spPr>
          <a:xfrm>
            <a:off x="1785992" y="1662942"/>
            <a:ext cx="97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3.07.25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31C73B33-A910-49C8-8DB5-BF4B5A781E8B}"/>
              </a:ext>
            </a:extLst>
          </p:cNvPr>
          <p:cNvSpPr/>
          <p:nvPr/>
        </p:nvSpPr>
        <p:spPr>
          <a:xfrm>
            <a:off x="3482439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홍길동</a:t>
            </a: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A403D605-FE69-4005-ABE4-0A0B0BAC8A9E}"/>
              </a:ext>
            </a:extLst>
          </p:cNvPr>
          <p:cNvSpPr/>
          <p:nvPr/>
        </p:nvSpPr>
        <p:spPr>
          <a:xfrm>
            <a:off x="4647451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39FF2DE-43F9-4C34-A28C-FC94965E4080}"/>
              </a:ext>
            </a:extLst>
          </p:cNvPr>
          <p:cNvSpPr/>
          <p:nvPr/>
        </p:nvSpPr>
        <p:spPr>
          <a:xfrm>
            <a:off x="5045943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O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화학</a:t>
            </a: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2848A371-2C83-49F2-AE00-30CABC88D1D3}"/>
              </a:ext>
            </a:extLst>
          </p:cNvPr>
          <p:cNvSpPr/>
          <p:nvPr/>
        </p:nvSpPr>
        <p:spPr>
          <a:xfrm>
            <a:off x="7464152" y="1320504"/>
            <a:ext cx="684000" cy="180000"/>
          </a:xfrm>
          <a:prstGeom prst="rect">
            <a:avLst/>
          </a:prstGeom>
          <a:solidFill>
            <a:srgbClr val="C046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err="1">
                <a:solidFill>
                  <a:schemeClr val="bg1"/>
                </a:solidFill>
              </a:rPr>
              <a:t>처리중</a:t>
            </a:r>
            <a:endParaRPr lang="ko-KR" altLang="en-US" sz="900" b="1" dirty="0">
              <a:solidFill>
                <a:schemeClr val="bg1"/>
              </a:solidFill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345247A1-E218-482B-AB7C-159ED6A24428}"/>
              </a:ext>
            </a:extLst>
          </p:cNvPr>
          <p:cNvSpPr/>
          <p:nvPr/>
        </p:nvSpPr>
        <p:spPr>
          <a:xfrm>
            <a:off x="1318154" y="202424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90FFBE52-5FB9-4AE8-BC84-6E98721975B7}"/>
              </a:ext>
            </a:extLst>
          </p:cNvPr>
          <p:cNvSpPr/>
          <p:nvPr/>
        </p:nvSpPr>
        <p:spPr>
          <a:xfrm>
            <a:off x="1791088" y="2024241"/>
            <a:ext cx="417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 및 중장기 계획 수립 문의</a:t>
            </a: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3A4B193-A7C1-4C57-990E-224A8BA2A8EF}"/>
              </a:ext>
            </a:extLst>
          </p:cNvPr>
          <p:cNvSpPr/>
          <p:nvPr/>
        </p:nvSpPr>
        <p:spPr>
          <a:xfrm>
            <a:off x="1199527" y="236789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500F8FA6-01A1-43C9-88F2-C80791C8FFF3}"/>
              </a:ext>
            </a:extLst>
          </p:cNvPr>
          <p:cNvSpPr/>
          <p:nvPr/>
        </p:nvSpPr>
        <p:spPr>
          <a:xfrm>
            <a:off x="1785992" y="2367892"/>
            <a:ext cx="6339429" cy="289720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안녕하십니까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이하 생략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</a:t>
            </a:r>
          </a:p>
        </p:txBody>
      </p: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EF92600-2C16-4B00-A21E-513012E6B234}"/>
              </a:ext>
            </a:extLst>
          </p:cNvPr>
          <p:cNvGrpSpPr/>
          <p:nvPr/>
        </p:nvGrpSpPr>
        <p:grpSpPr>
          <a:xfrm>
            <a:off x="7973330" y="2367894"/>
            <a:ext cx="152360" cy="2897207"/>
            <a:chOff x="9201470" y="1601344"/>
            <a:chExt cx="188139" cy="4198758"/>
          </a:xfrm>
        </p:grpSpPr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9BE84FB-1E80-4908-A807-90BA04A2854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44817A9E-3F35-4CFD-9F3E-43C8FACB9AB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1864734C-99DB-4A44-80E8-D51F765AAA12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4C50587F-A153-4AE1-9A27-0E5394D62B4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7C5A5C96-E028-4B12-A218-D3760CCC74A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2CA2CE2A-3084-427E-9C97-3004962DAF1C}"/>
              </a:ext>
            </a:extLst>
          </p:cNvPr>
          <p:cNvSpPr/>
          <p:nvPr/>
        </p:nvSpPr>
        <p:spPr>
          <a:xfrm>
            <a:off x="6062515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0FA32CB5-CCF2-46B0-9781-58C1917A20BE}"/>
              </a:ext>
            </a:extLst>
          </p:cNvPr>
          <p:cNvSpPr/>
          <p:nvPr/>
        </p:nvSpPr>
        <p:spPr>
          <a:xfrm>
            <a:off x="6650095" y="1662942"/>
            <a:ext cx="1475326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ng123@chem.com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032A47F7-C927-4921-AA06-F8A4CF30BB2B}"/>
              </a:ext>
            </a:extLst>
          </p:cNvPr>
          <p:cNvSpPr/>
          <p:nvPr/>
        </p:nvSpPr>
        <p:spPr>
          <a:xfrm>
            <a:off x="6063630" y="202185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유형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20CACCF1-81D0-4CFD-B53D-841BB45362FA}"/>
              </a:ext>
            </a:extLst>
          </p:cNvPr>
          <p:cNvSpPr/>
          <p:nvPr/>
        </p:nvSpPr>
        <p:spPr>
          <a:xfrm>
            <a:off x="6650094" y="2021852"/>
            <a:ext cx="147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ko-KR" altLang="en-US" sz="900" spc="-6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삼일 서비스 제공 문의 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A6CEB391-B852-42C4-8730-FB2BFE5F1F7C}"/>
              </a:ext>
            </a:extLst>
          </p:cNvPr>
          <p:cNvSpPr/>
          <p:nvPr/>
        </p:nvSpPr>
        <p:spPr>
          <a:xfrm>
            <a:off x="7376808" y="12790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BB83A16-9FB9-4E7A-9421-E4ED805FC3D0}"/>
              </a:ext>
            </a:extLst>
          </p:cNvPr>
          <p:cNvSpPr/>
          <p:nvPr/>
        </p:nvSpPr>
        <p:spPr>
          <a:xfrm>
            <a:off x="8966920" y="256686"/>
            <a:ext cx="3218221" cy="687264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1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사항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처리상태가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처리중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IT),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처리중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BIZ)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담당부서전달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 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 경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정의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제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문의유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문의사항 비활성화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버튼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비노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0" name="이등변 삼각형 89">
            <a:extLst>
              <a:ext uri="{FF2B5EF4-FFF2-40B4-BE49-F238E27FC236}">
                <a16:creationId xmlns:a16="http://schemas.microsoft.com/office/drawing/2014/main" id="{FE7C467D-4B99-4D53-B6AB-C27F767B0E46}"/>
              </a:ext>
            </a:extLst>
          </p:cNvPr>
          <p:cNvSpPr/>
          <p:nvPr/>
        </p:nvSpPr>
        <p:spPr>
          <a:xfrm flipV="1">
            <a:off x="7922001" y="2093511"/>
            <a:ext cx="152340" cy="10315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77EB982D-DFAC-446C-86C3-02F77C2A3EB8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 정</a:t>
            </a: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A16ED2B5-3A07-4ED2-B8F4-F1741EE33D19}"/>
              </a:ext>
            </a:extLst>
          </p:cNvPr>
          <p:cNvSpPr/>
          <p:nvPr/>
        </p:nvSpPr>
        <p:spPr>
          <a:xfrm>
            <a:off x="7085043" y="57684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7D9111A1-BC34-41C3-8D86-00805B2FB2D5}"/>
              </a:ext>
            </a:extLst>
          </p:cNvPr>
          <p:cNvSpPr/>
          <p:nvPr/>
        </p:nvSpPr>
        <p:spPr>
          <a:xfrm>
            <a:off x="6906975" y="5750397"/>
            <a:ext cx="1380952" cy="386658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제거 </a:t>
            </a: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2)</a:t>
            </a:r>
            <a:endParaRPr lang="ko-KR" altLang="en-US" sz="10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567413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74407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상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이에 대한 답변을 확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4615235"/>
              </p:ext>
            </p:extLst>
          </p:nvPr>
        </p:nvGraphicFramePr>
        <p:xfrm>
          <a:off x="9267391" y="759198"/>
          <a:ext cx="2922885" cy="27649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한 문의사항의 기 작성 정보를 조회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비활성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 내용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사항 처리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담당부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에만 버튼 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비활성화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[2]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온라인 문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처리상태가 미확인인 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경우에만 수정 버튼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활성화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미확인 상태의 문의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/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요청은 문의유형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제목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 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문의사항 수정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가능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pic>
        <p:nvPicPr>
          <p:cNvPr id="19" name="그림 18">
            <a:extLst>
              <a:ext uri="{FF2B5EF4-FFF2-40B4-BE49-F238E27FC236}">
                <a16:creationId xmlns:a16="http://schemas.microsoft.com/office/drawing/2014/main" id="{9DAF0ED9-7E1F-42A1-9FDA-A9036B9CA4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70" b="17124"/>
          <a:stretch/>
        </p:blipFill>
        <p:spPr>
          <a:xfrm>
            <a:off x="341695" y="612562"/>
            <a:ext cx="8634625" cy="660404"/>
          </a:xfrm>
          <a:prstGeom prst="rect">
            <a:avLst/>
          </a:prstGeom>
          <a:ln>
            <a:noFill/>
          </a:ln>
        </p:spPr>
      </p:pic>
      <p:sp>
        <p:nvSpPr>
          <p:cNvPr id="7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6518560-5A06-41BF-85C4-C6D6A18CB49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58161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3B1ED6D-DABC-4747-8502-1FA6B5DD8A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33396" y="1024955"/>
            <a:ext cx="742022" cy="16789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50" b="1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50" b="1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GRI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1088F32-C7AE-41E9-8323-372421CA5713}"/>
              </a:ext>
            </a:extLst>
          </p:cNvPr>
          <p:cNvSpPr txBox="1"/>
          <p:nvPr/>
        </p:nvSpPr>
        <p:spPr>
          <a:xfrm>
            <a:off x="484864" y="3404579"/>
            <a:ext cx="28803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100" b="1" dirty="0"/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구성 및 원문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DE4F343-0E16-4659-A017-C009F0060DEF}"/>
              </a:ext>
            </a:extLst>
          </p:cNvPr>
          <p:cNvGrpSpPr/>
          <p:nvPr/>
        </p:nvGrpSpPr>
        <p:grpSpPr>
          <a:xfrm>
            <a:off x="555762" y="2017267"/>
            <a:ext cx="8098544" cy="1349885"/>
            <a:chOff x="555762" y="1902571"/>
            <a:chExt cx="8307022" cy="1429477"/>
          </a:xfrm>
        </p:grpSpPr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61719CEC-7151-481A-827D-4F127313B402}"/>
                </a:ext>
              </a:extLst>
            </p:cNvPr>
            <p:cNvSpPr/>
            <p:nvPr/>
          </p:nvSpPr>
          <p:spPr>
            <a:xfrm>
              <a:off x="2010439" y="1902571"/>
              <a:ext cx="5400600" cy="288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 Standards</a:t>
              </a:r>
              <a:endPara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33C72F84-D1BB-493D-BAF8-DC8DCC542D91}"/>
                </a:ext>
              </a:extLst>
            </p:cNvPr>
            <p:cNvGrpSpPr/>
            <p:nvPr/>
          </p:nvGrpSpPr>
          <p:grpSpPr>
            <a:xfrm>
              <a:off x="555762" y="2387635"/>
              <a:ext cx="8307022" cy="288000"/>
              <a:chOff x="812838" y="2791714"/>
              <a:chExt cx="7097753" cy="288000"/>
            </a:xfrm>
            <a:solidFill>
              <a:schemeClr val="bg1">
                <a:lumMod val="50000"/>
              </a:schemeClr>
            </a:solidFill>
          </p:grpSpPr>
          <p:sp>
            <p:nvSpPr>
              <p:cNvPr id="80" name="사각형: 둥근 모서리 79">
                <a:extLst>
                  <a:ext uri="{FF2B5EF4-FFF2-40B4-BE49-F238E27FC236}">
                    <a16:creationId xmlns:a16="http://schemas.microsoft.com/office/drawing/2014/main" id="{BDD260C4-2E03-4A3B-9B09-52AD736D55A7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Universal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통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2B04336A-B8B0-4009-9F09-DFC58E82485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ector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분야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2" name="사각형: 둥근 모서리 81">
                <a:extLst>
                  <a:ext uri="{FF2B5EF4-FFF2-40B4-BE49-F238E27FC236}">
                    <a16:creationId xmlns:a16="http://schemas.microsoft.com/office/drawing/2014/main" id="{5A8655A7-6A30-40AE-BCA6-72724AD1CAD8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880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opic Standards (</a:t>
                </a:r>
                <a:r>
                  <a:rPr lang="ko-KR" altLang="en-US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주제별</a:t>
                </a:r>
                <a:r>
                  <a:rPr lang="en-US" altLang="ko-KR" sz="11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1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7778854E-3F14-4EB8-83E5-800DC3088F86}"/>
                </a:ext>
              </a:extLst>
            </p:cNvPr>
            <p:cNvGrpSpPr/>
            <p:nvPr/>
          </p:nvGrpSpPr>
          <p:grpSpPr>
            <a:xfrm>
              <a:off x="555762" y="2643873"/>
              <a:ext cx="8307022" cy="688175"/>
              <a:chOff x="812838" y="2791714"/>
              <a:chExt cx="7097753" cy="379763"/>
            </a:xfrm>
            <a:solidFill>
              <a:schemeClr val="bg1"/>
            </a:solidFill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8BB1477B-3CE2-468A-9C8F-F55839B48296}"/>
                  </a:ext>
                </a:extLst>
              </p:cNvPr>
              <p:cNvSpPr/>
              <p:nvPr/>
            </p:nvSpPr>
            <p:spPr>
              <a:xfrm>
                <a:off x="812838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모든 조직에 공통적으로 적용되는 표준</a:t>
                </a:r>
              </a:p>
            </p:txBody>
          </p:sp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A854FBD1-563D-4DCD-A3E8-DF199EF1AF72}"/>
                  </a:ext>
                </a:extLst>
              </p:cNvPr>
              <p:cNvSpPr/>
              <p:nvPr/>
            </p:nvSpPr>
            <p:spPr>
              <a:xfrm>
                <a:off x="3246324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부분의 조직에 영향을 주는 사항에 대한 보고 기준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(* 40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부문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F0DF5935-E251-4FF1-8AA2-F107DB2D0747}"/>
                  </a:ext>
                </a:extLst>
              </p:cNvPr>
              <p:cNvSpPr/>
              <p:nvPr/>
            </p:nvSpPr>
            <p:spPr>
              <a:xfrm>
                <a:off x="5679809" y="2791714"/>
                <a:ext cx="2230782" cy="238395"/>
              </a:xfrm>
              <a:prstGeom prst="roundRect">
                <a:avLst>
                  <a:gd name="adj" fmla="val 0"/>
                </a:avLst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특정 주제와 관련된 보고 기준</a:t>
                </a:r>
                <a:b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</a:b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* 31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 주제 영역으로 구성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E0C449A6-12F4-46BB-AA9E-E2087CCEC021}"/>
                  </a:ext>
                </a:extLst>
              </p:cNvPr>
              <p:cNvSpPr/>
              <p:nvPr/>
            </p:nvSpPr>
            <p:spPr>
              <a:xfrm>
                <a:off x="812838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1, 102, 103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7BC99FFE-BCFC-4AA2-A702-0DEF43D532CD}"/>
                  </a:ext>
                </a:extLst>
              </p:cNvPr>
              <p:cNvSpPr/>
              <p:nvPr/>
            </p:nvSpPr>
            <p:spPr>
              <a:xfrm>
                <a:off x="3246324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1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 </a:t>
                </a: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현재 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11~13</a:t>
                </a:r>
                <a:r>
                  <a:rPr lang="ko-KR" altLang="en-US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공개</a:t>
                </a:r>
                <a:r>
                  <a:rPr lang="en-US" altLang="ko-KR" sz="90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)</a:t>
                </a:r>
                <a:endPara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5147B592-9197-45E5-B57A-90C665602A37}"/>
                  </a:ext>
                </a:extLst>
              </p:cNvPr>
              <p:cNvSpPr/>
              <p:nvPr/>
            </p:nvSpPr>
            <p:spPr>
              <a:xfrm>
                <a:off x="5679809" y="3032413"/>
                <a:ext cx="2230782" cy="139064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 200 ~ 400 </a:t>
                </a:r>
                <a:r>
                  <a:rPr lang="ko-KR" altLang="en-US" sz="105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영역</a:t>
                </a:r>
              </a:p>
            </p:txBody>
          </p:sp>
        </p:grpSp>
        <p:cxnSp>
          <p:nvCxnSpPr>
            <p:cNvPr id="96" name="연결선: 꺾임 95">
              <a:extLst>
                <a:ext uri="{FF2B5EF4-FFF2-40B4-BE49-F238E27FC236}">
                  <a16:creationId xmlns:a16="http://schemas.microsoft.com/office/drawing/2014/main" id="{6CC48343-B7C4-49E4-B203-FDA1F743A341}"/>
                </a:ext>
              </a:extLst>
            </p:cNvPr>
            <p:cNvCxnSpPr>
              <a:cxnSpLocks/>
              <a:stCxn id="77" idx="2"/>
              <a:endCxn id="80" idx="0"/>
            </p:cNvCxnSpPr>
            <p:nvPr/>
          </p:nvCxnSpPr>
          <p:spPr>
            <a:xfrm rot="5400000">
              <a:off x="3187432" y="864327"/>
              <a:ext cx="197064" cy="2849553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7" name="연결선: 꺾임 96">
              <a:extLst>
                <a:ext uri="{FF2B5EF4-FFF2-40B4-BE49-F238E27FC236}">
                  <a16:creationId xmlns:a16="http://schemas.microsoft.com/office/drawing/2014/main" id="{A38E710B-C375-48A8-8EE5-6F383417DDD1}"/>
                </a:ext>
              </a:extLst>
            </p:cNvPr>
            <p:cNvCxnSpPr>
              <a:cxnSpLocks/>
              <a:stCxn id="77" idx="2"/>
              <a:endCxn id="82" idx="0"/>
            </p:cNvCxnSpPr>
            <p:nvPr/>
          </p:nvCxnSpPr>
          <p:spPr>
            <a:xfrm rot="16200000" flipH="1">
              <a:off x="6035518" y="865793"/>
              <a:ext cx="197064" cy="284662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98" name="연결선: 꺾임 97">
              <a:extLst>
                <a:ext uri="{FF2B5EF4-FFF2-40B4-BE49-F238E27FC236}">
                  <a16:creationId xmlns:a16="http://schemas.microsoft.com/office/drawing/2014/main" id="{3036C050-0345-4CA8-BD01-F9C579F961AE}"/>
                </a:ext>
              </a:extLst>
            </p:cNvPr>
            <p:cNvCxnSpPr>
              <a:cxnSpLocks/>
              <a:stCxn id="77" idx="2"/>
              <a:endCxn id="81" idx="0"/>
            </p:cNvCxnSpPr>
            <p:nvPr/>
          </p:nvCxnSpPr>
          <p:spPr>
            <a:xfrm rot="5400000">
              <a:off x="4611475" y="2288371"/>
              <a:ext cx="197064" cy="1466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99" name="표 6">
            <a:extLst>
              <a:ext uri="{FF2B5EF4-FFF2-40B4-BE49-F238E27FC236}">
                <a16:creationId xmlns:a16="http://schemas.microsoft.com/office/drawing/2014/main" id="{0F2F5DEC-0F6C-4BF8-A02F-8E555C688F84}"/>
              </a:ext>
            </a:extLst>
          </p:cNvPr>
          <p:cNvGraphicFramePr>
            <a:graphicFrameLocks noGrp="1"/>
          </p:cNvGraphicFramePr>
          <p:nvPr/>
        </p:nvGraphicFramePr>
        <p:xfrm>
          <a:off x="555761" y="3635525"/>
          <a:ext cx="8098545" cy="2698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424">
                  <a:extLst>
                    <a:ext uri="{9D8B030D-6E8A-4147-A177-3AD203B41FA5}">
                      <a16:colId xmlns:a16="http://schemas.microsoft.com/office/drawing/2014/main" val="1823965035"/>
                    </a:ext>
                  </a:extLst>
                </a:gridCol>
                <a:gridCol w="2457030">
                  <a:extLst>
                    <a:ext uri="{9D8B030D-6E8A-4147-A177-3AD203B41FA5}">
                      <a16:colId xmlns:a16="http://schemas.microsoft.com/office/drawing/2014/main" val="1340357435"/>
                    </a:ext>
                  </a:extLst>
                </a:gridCol>
                <a:gridCol w="3025416">
                  <a:extLst>
                    <a:ext uri="{9D8B030D-6E8A-4147-A177-3AD203B41FA5}">
                      <a16:colId xmlns:a16="http://schemas.microsoft.com/office/drawing/2014/main" val="2996175165"/>
                    </a:ext>
                  </a:extLst>
                </a:gridCol>
                <a:gridCol w="968675">
                  <a:extLst>
                    <a:ext uri="{9D8B030D-6E8A-4147-A177-3AD203B41FA5}">
                      <a16:colId xmlns:a16="http://schemas.microsoft.com/office/drawing/2014/main" val="3334921234"/>
                    </a:ext>
                  </a:extLst>
                </a:gridCol>
              </a:tblGrid>
              <a:tr h="206299">
                <a:tc gridSpan="2"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Standard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ontents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문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852592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niversal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건 및 원칙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항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 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침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u="sng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76936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tor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부문별 보고 기준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1 ~ 13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44670"/>
                  </a:ext>
                </a:extLst>
              </a:tr>
              <a:tr h="27886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Standard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conomic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,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주제별 보고 기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6874"/>
                  </a:ext>
                </a:extLst>
              </a:tr>
              <a:tr h="330079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0</a:t>
                      </a:r>
                      <a:b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제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1</a:t>
                      </a:r>
                      <a:r>
                        <a:rPr lang="ko-KR" altLang="en-US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Economic Performa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적 경제가치 발생과 분배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가 미치는 채무적 영향과 위험 및 기회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금제도 채무충당 등</a:t>
                      </a: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183072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2 : Market Presence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 내 최저임금과 비교한 기본초임 임금기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저임금 보상평가 방안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지 고용된 고위 경영진 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00884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3 : Indirect Economic Impact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기반시설 투자와 지원 서비스의 개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중요한 간접 경제효과 영향의 예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23518"/>
                  </a:ext>
                </a:extLst>
              </a:tr>
              <a:tr h="3025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204 : Procurement Practices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사업장에서 현지 공급업체에 지급하는 구매비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866562"/>
                  </a:ext>
                </a:extLst>
              </a:tr>
              <a:tr h="2337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rgbClr val="0089EB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84195"/>
                  </a:ext>
                </a:extLst>
              </a:tr>
            </a:tbl>
          </a:graphicData>
        </a:graphic>
      </p:graphicFrame>
      <p:pic>
        <p:nvPicPr>
          <p:cNvPr id="103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03291E45-2C4C-48CF-8E47-606E11C3F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4818360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A5CB58AB-68D2-4EFB-B1B0-645C481B9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171025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32BB39F1-61FB-4BE9-9CC2-6AB388632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88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95F52443-180E-42E4-AFC5-6F3C78309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524126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2" descr="Library, book, books, education, study icon - Free download">
            <a:extLst>
              <a:ext uri="{FF2B5EF4-FFF2-40B4-BE49-F238E27FC236}">
                <a16:creationId xmlns:a16="http://schemas.microsoft.com/office/drawing/2014/main" id="{2CFE5197-4817-4C31-AF42-1EC67C733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040" y="5876791"/>
            <a:ext cx="216000" cy="17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2EC1252-E78F-4DCD-AF56-091E4E3BCE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0792" y="1552688"/>
            <a:ext cx="7309384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26840A-1535-492C-83CC-F662D406CF69}"/>
              </a:ext>
            </a:extLst>
          </p:cNvPr>
          <p:cNvSpPr txBox="1"/>
          <p:nvPr/>
        </p:nvSpPr>
        <p:spPr>
          <a:xfrm>
            <a:off x="484864" y="1899265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◆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 프레임워크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3F4A460-79F7-42EB-9A2E-8FF0A74D1FF6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1253D76A-DE72-4780-9454-72E4FFEFB57B}"/>
              </a:ext>
            </a:extLst>
          </p:cNvPr>
          <p:cNvGrpSpPr/>
          <p:nvPr/>
        </p:nvGrpSpPr>
        <p:grpSpPr>
          <a:xfrm>
            <a:off x="1055440" y="908720"/>
            <a:ext cx="7291679" cy="5308223"/>
            <a:chOff x="1274139" y="1023155"/>
            <a:chExt cx="6833233" cy="6570201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2EC76A2-30D2-4564-8AB1-2981FAE3E190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2C43B6F3-9B22-48E3-A247-E79A4050A4B3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문의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·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요청 상세 조회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F842040E-DBC9-48FF-9C9E-41E0BFE9D948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59CFDE20-5B5C-4D4A-9F43-8BDC59A8D497}"/>
              </a:ext>
            </a:extLst>
          </p:cNvPr>
          <p:cNvSpPr/>
          <p:nvPr/>
        </p:nvSpPr>
        <p:spPr>
          <a:xfrm>
            <a:off x="1079179" y="1297876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문의사항 상세 조회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+mn-ea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FB470AF4-1717-44D4-B5DB-3CE0C66A07A5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 정</a:t>
            </a: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7E2EAC34-C249-477C-A124-6B279FF22BF4}"/>
              </a:ext>
            </a:extLst>
          </p:cNvPr>
          <p:cNvSpPr/>
          <p:nvPr/>
        </p:nvSpPr>
        <p:spPr>
          <a:xfrm>
            <a:off x="1199527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2DA196E-A7E3-4081-8A7D-EFCA227D1715}"/>
              </a:ext>
            </a:extLst>
          </p:cNvPr>
          <p:cNvSpPr/>
          <p:nvPr/>
        </p:nvSpPr>
        <p:spPr>
          <a:xfrm>
            <a:off x="2999656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4A9BAE05-18CF-497A-9FD2-ACF940450C0D}"/>
              </a:ext>
            </a:extLst>
          </p:cNvPr>
          <p:cNvSpPr/>
          <p:nvPr/>
        </p:nvSpPr>
        <p:spPr>
          <a:xfrm>
            <a:off x="1785992" y="1662942"/>
            <a:ext cx="97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3.07.25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31C73B33-A910-49C8-8DB5-BF4B5A781E8B}"/>
              </a:ext>
            </a:extLst>
          </p:cNvPr>
          <p:cNvSpPr/>
          <p:nvPr/>
        </p:nvSpPr>
        <p:spPr>
          <a:xfrm>
            <a:off x="3482439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홍길동</a:t>
            </a: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A403D605-FE69-4005-ABE4-0A0B0BAC8A9E}"/>
              </a:ext>
            </a:extLst>
          </p:cNvPr>
          <p:cNvSpPr/>
          <p:nvPr/>
        </p:nvSpPr>
        <p:spPr>
          <a:xfrm>
            <a:off x="4647451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39FF2DE-43F9-4C34-A28C-FC94965E4080}"/>
              </a:ext>
            </a:extLst>
          </p:cNvPr>
          <p:cNvSpPr/>
          <p:nvPr/>
        </p:nvSpPr>
        <p:spPr>
          <a:xfrm>
            <a:off x="5045943" y="1662942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O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화학</a:t>
            </a: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2848A371-2C83-49F2-AE00-30CABC88D1D3}"/>
              </a:ext>
            </a:extLst>
          </p:cNvPr>
          <p:cNvSpPr/>
          <p:nvPr/>
        </p:nvSpPr>
        <p:spPr>
          <a:xfrm>
            <a:off x="7464152" y="1320504"/>
            <a:ext cx="684000" cy="180000"/>
          </a:xfrm>
          <a:prstGeom prst="rect">
            <a:avLst/>
          </a:prstGeom>
          <a:solidFill>
            <a:srgbClr val="C046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solidFill>
                  <a:schemeClr val="bg1"/>
                </a:solidFill>
              </a:rPr>
              <a:t>답변완료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345247A1-E218-482B-AB7C-159ED6A24428}"/>
              </a:ext>
            </a:extLst>
          </p:cNvPr>
          <p:cNvSpPr/>
          <p:nvPr/>
        </p:nvSpPr>
        <p:spPr>
          <a:xfrm>
            <a:off x="1318154" y="202424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90FFBE52-5FB9-4AE8-BC84-6E98721975B7}"/>
              </a:ext>
            </a:extLst>
          </p:cNvPr>
          <p:cNvSpPr/>
          <p:nvPr/>
        </p:nvSpPr>
        <p:spPr>
          <a:xfrm>
            <a:off x="1791088" y="2024241"/>
            <a:ext cx="417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 및 중장기 계획 수립 문의</a:t>
            </a: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3A4B193-A7C1-4C57-990E-224A8BA2A8EF}"/>
              </a:ext>
            </a:extLst>
          </p:cNvPr>
          <p:cNvSpPr/>
          <p:nvPr/>
        </p:nvSpPr>
        <p:spPr>
          <a:xfrm>
            <a:off x="1199527" y="236789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500F8FA6-01A1-43C9-88F2-C80791C8FFF3}"/>
              </a:ext>
            </a:extLst>
          </p:cNvPr>
          <p:cNvSpPr/>
          <p:nvPr/>
        </p:nvSpPr>
        <p:spPr>
          <a:xfrm>
            <a:off x="1785992" y="2367893"/>
            <a:ext cx="6339429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안녕하십니까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이하 생략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</a:t>
            </a:r>
          </a:p>
        </p:txBody>
      </p: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EF92600-2C16-4B00-A21E-513012E6B234}"/>
              </a:ext>
            </a:extLst>
          </p:cNvPr>
          <p:cNvGrpSpPr/>
          <p:nvPr/>
        </p:nvGrpSpPr>
        <p:grpSpPr>
          <a:xfrm>
            <a:off x="7973330" y="2367895"/>
            <a:ext cx="152360" cy="1440000"/>
            <a:chOff x="9201470" y="1601344"/>
            <a:chExt cx="188139" cy="4198758"/>
          </a:xfrm>
        </p:grpSpPr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9BE84FB-1E80-4908-A807-90BA04A2854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44817A9E-3F35-4CFD-9F3E-43C8FACB9AB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1864734C-99DB-4A44-80E8-D51F765AAA12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4C50587F-A153-4AE1-9A27-0E5394D62B4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7C5A5C96-E028-4B12-A218-D3760CCC74A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6023A723-DEDA-4113-80A3-2EB0045D3ABA}"/>
              </a:ext>
            </a:extLst>
          </p:cNvPr>
          <p:cNvSpPr/>
          <p:nvPr/>
        </p:nvSpPr>
        <p:spPr>
          <a:xfrm>
            <a:off x="1199527" y="3925594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47A61DDB-F1FD-4DE8-8C29-8CAC405189A8}"/>
              </a:ext>
            </a:extLst>
          </p:cNvPr>
          <p:cNvSpPr/>
          <p:nvPr/>
        </p:nvSpPr>
        <p:spPr>
          <a:xfrm>
            <a:off x="1785992" y="3933214"/>
            <a:ext cx="6339429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과 중장기 계획 수립을 위해서는 다음과 같은 업무가 필요합니다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endParaRPr lang="en-US" altLang="ko-KR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현황 분석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기업의 현재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성과와 위험을 평가하고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내부 및 외부 데이터를 분석하여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영향을 식별</a:t>
            </a:r>
            <a:endParaRPr lang="en-US" altLang="ko-KR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목표 수립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기업의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우선순위와 중요한 영향을 미치는 분야를 식별하고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각 분야에 대한 구체적인 목표와 계획을 수립</a:t>
            </a:r>
            <a:endParaRPr lang="en-US" altLang="ko-KR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운영관리체계 수립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책임과 업무를 담당할 내부 팀을 구성하고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데이터 수집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모니터링 및 보고를</a:t>
            </a:r>
            <a:b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위한 내부 시스템을 구축</a:t>
            </a:r>
            <a:endParaRPr lang="en-US" altLang="ko-KR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9A9657CC-6C1F-4D15-9A23-55621BA6DC92}"/>
              </a:ext>
            </a:extLst>
          </p:cNvPr>
          <p:cNvGrpSpPr/>
          <p:nvPr/>
        </p:nvGrpSpPr>
        <p:grpSpPr>
          <a:xfrm>
            <a:off x="7973330" y="3933216"/>
            <a:ext cx="152360" cy="1440000"/>
            <a:chOff x="9201470" y="1601344"/>
            <a:chExt cx="188139" cy="4198758"/>
          </a:xfrm>
        </p:grpSpPr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0A476FAC-8587-47D1-B316-9F3BA101DC6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37" name="그룹 136">
              <a:extLst>
                <a:ext uri="{FF2B5EF4-FFF2-40B4-BE49-F238E27FC236}">
                  <a16:creationId xmlns:a16="http://schemas.microsoft.com/office/drawing/2014/main" id="{34671198-8858-4AC1-B099-97326F99FF9D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C51A3D91-BF89-45AB-8159-E041B5A45F95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B398C0AA-9FB2-43B4-8874-BFDD783B304A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0C1F7295-B687-4A8D-AAEB-4BF7DDDD9B63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2CA2CE2A-3084-427E-9C97-3004962DAF1C}"/>
              </a:ext>
            </a:extLst>
          </p:cNvPr>
          <p:cNvSpPr/>
          <p:nvPr/>
        </p:nvSpPr>
        <p:spPr>
          <a:xfrm>
            <a:off x="6062515" y="166294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0FA32CB5-CCF2-46B0-9781-58C1917A20BE}"/>
              </a:ext>
            </a:extLst>
          </p:cNvPr>
          <p:cNvSpPr/>
          <p:nvPr/>
        </p:nvSpPr>
        <p:spPr>
          <a:xfrm>
            <a:off x="6650095" y="1662942"/>
            <a:ext cx="1475326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ng123@chem.com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032A47F7-C927-4921-AA06-F8A4CF30BB2B}"/>
              </a:ext>
            </a:extLst>
          </p:cNvPr>
          <p:cNvSpPr/>
          <p:nvPr/>
        </p:nvSpPr>
        <p:spPr>
          <a:xfrm>
            <a:off x="6063630" y="202185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유형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20CACCF1-81D0-4CFD-B53D-841BB45362FA}"/>
              </a:ext>
            </a:extLst>
          </p:cNvPr>
          <p:cNvSpPr/>
          <p:nvPr/>
        </p:nvSpPr>
        <p:spPr>
          <a:xfrm>
            <a:off x="6650094" y="2021852"/>
            <a:ext cx="147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6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삼일 서비스 제공 문의 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A6CEB391-B852-42C4-8730-FB2BFE5F1F7C}"/>
              </a:ext>
            </a:extLst>
          </p:cNvPr>
          <p:cNvSpPr/>
          <p:nvPr/>
        </p:nvSpPr>
        <p:spPr>
          <a:xfrm>
            <a:off x="7376808" y="12790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C90DE0FE-67EB-49A4-A313-9AC7EB232312}"/>
              </a:ext>
            </a:extLst>
          </p:cNvPr>
          <p:cNvSpPr/>
          <p:nvPr/>
        </p:nvSpPr>
        <p:spPr>
          <a:xfrm>
            <a:off x="7085043" y="57684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BB83A16-9FB9-4E7A-9421-E4ED805FC3D0}"/>
              </a:ext>
            </a:extLst>
          </p:cNvPr>
          <p:cNvSpPr/>
          <p:nvPr/>
        </p:nvSpPr>
        <p:spPr>
          <a:xfrm>
            <a:off x="8966920" y="251459"/>
            <a:ext cx="3218221" cy="1291737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2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온라인 문의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요청은 처리상태가 미확인인 경우에만 수정 버튼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활성화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미확인 상태의 문의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요청은 문의유형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제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문의사항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가능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lvl="0" defTabSz="914400">
              <a:lnSpc>
                <a:spcPct val="110000"/>
              </a:lnSpc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1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문의사항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답변완료인 경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정의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제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문의유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문의사항 비활성화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버튼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비노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7339985D-2635-4CC9-A442-EEEC4B8D8C67}"/>
              </a:ext>
            </a:extLst>
          </p:cNvPr>
          <p:cNvSpPr/>
          <p:nvPr/>
        </p:nvSpPr>
        <p:spPr>
          <a:xfrm>
            <a:off x="6906975" y="5750397"/>
            <a:ext cx="1380952" cy="386658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제거 </a:t>
            </a:r>
            <a:r>
              <a: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2)</a:t>
            </a:r>
            <a:endParaRPr lang="ko-KR" altLang="en-US" sz="10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7730906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326021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페이지 이용약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425079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7F1A0D4-867F-4392-824B-C029FFC55FAD}"/>
              </a:ext>
            </a:extLst>
          </p:cNvPr>
          <p:cNvSpPr/>
          <p:nvPr/>
        </p:nvSpPr>
        <p:spPr>
          <a:xfrm>
            <a:off x="501642" y="4410184"/>
            <a:ext cx="8049080" cy="13141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847BB8-BBE9-49D4-AAB9-6CBED88B5EC5}"/>
              </a:ext>
            </a:extLst>
          </p:cNvPr>
          <p:cNvSpPr/>
          <p:nvPr/>
        </p:nvSpPr>
        <p:spPr>
          <a:xfrm>
            <a:off x="501642" y="1701023"/>
            <a:ext cx="8049080" cy="22522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A1FD3-7679-46D5-8349-D11EC14979F4}"/>
              </a:ext>
            </a:extLst>
          </p:cNvPr>
          <p:cNvSpPr txBox="1"/>
          <p:nvPr/>
        </p:nvSpPr>
        <p:spPr>
          <a:xfrm>
            <a:off x="484864" y="150260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3EF91A-3FE4-4120-B3BF-0C09C80BCF9A}"/>
              </a:ext>
            </a:extLst>
          </p:cNvPr>
          <p:cNvSpPr txBox="1"/>
          <p:nvPr/>
        </p:nvSpPr>
        <p:spPr>
          <a:xfrm>
            <a:off x="484864" y="417716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20761DF-E18A-45DD-8000-D2AAD1587641}"/>
              </a:ext>
            </a:extLst>
          </p:cNvPr>
          <p:cNvSpPr/>
          <p:nvPr/>
        </p:nvSpPr>
        <p:spPr>
          <a:xfrm>
            <a:off x="4461186" y="5836076"/>
            <a:ext cx="756000" cy="26583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646954" y="5836076"/>
            <a:ext cx="756000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59" y="1836084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1080073" y="185144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1080073" y="2097497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787" y="2343372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1107871" y="2367710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3215680" y="234337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503" y="2849979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1117586" y="2874317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93" y="3361571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1132376" y="3385909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3215680" y="2862123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3215680" y="3396016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1F5C5807-F24C-4027-A342-98B226BFE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62" y="4490973"/>
            <a:ext cx="209865" cy="209865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A3AAC32-44EA-450B-80E5-E5E0F88A5722}"/>
              </a:ext>
            </a:extLst>
          </p:cNvPr>
          <p:cNvSpPr txBox="1"/>
          <p:nvPr/>
        </p:nvSpPr>
        <p:spPr>
          <a:xfrm>
            <a:off x="1132376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AB31885-78A9-4825-86F9-4004C0D25B48}"/>
              </a:ext>
            </a:extLst>
          </p:cNvPr>
          <p:cNvSpPr/>
          <p:nvPr/>
        </p:nvSpPr>
        <p:spPr>
          <a:xfrm>
            <a:off x="753862" y="4769451"/>
            <a:ext cx="7502378" cy="793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566F37-5CD7-489D-8879-57688ECC8F04}"/>
              </a:ext>
            </a:extLst>
          </p:cNvPr>
          <p:cNvSpPr txBox="1"/>
          <p:nvPr/>
        </p:nvSpPr>
        <p:spPr>
          <a:xfrm>
            <a:off x="784843" y="4773556"/>
            <a:ext cx="7768086" cy="546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광고성 정보 수신 및 마케팅 활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이메일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2D65BE70-6723-4954-B30C-C75637EDE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4846834"/>
            <a:ext cx="195709" cy="195709"/>
          </a:xfrm>
          <a:prstGeom prst="rect">
            <a:avLst/>
          </a:prstGeom>
        </p:spPr>
      </p:pic>
      <p:pic>
        <p:nvPicPr>
          <p:cNvPr id="88" name="그림 87">
            <a:extLst>
              <a:ext uri="{FF2B5EF4-FFF2-40B4-BE49-F238E27FC236}">
                <a16:creationId xmlns:a16="http://schemas.microsoft.com/office/drawing/2014/main" id="{CDAE42B1-DA14-433E-A39A-391DB9E88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5096312"/>
            <a:ext cx="195709" cy="195709"/>
          </a:xfrm>
          <a:prstGeom prst="rect">
            <a:avLst/>
          </a:prstGeom>
        </p:spPr>
      </p:pic>
      <p:pic>
        <p:nvPicPr>
          <p:cNvPr id="89" name="그림 88">
            <a:extLst>
              <a:ext uri="{FF2B5EF4-FFF2-40B4-BE49-F238E27FC236}">
                <a16:creationId xmlns:a16="http://schemas.microsoft.com/office/drawing/2014/main" id="{E66E550D-83F7-4065-B590-47B2A495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5393" y="5108954"/>
            <a:ext cx="195709" cy="195709"/>
          </a:xfrm>
          <a:prstGeom prst="rect">
            <a:avLst/>
          </a:prstGeom>
        </p:spPr>
      </p:pic>
      <p:pic>
        <p:nvPicPr>
          <p:cNvPr id="90" name="그림 89">
            <a:extLst>
              <a:ext uri="{FF2B5EF4-FFF2-40B4-BE49-F238E27FC236}">
                <a16:creationId xmlns:a16="http://schemas.microsoft.com/office/drawing/2014/main" id="{4BC7493C-89D4-4DB3-86E9-6B24914EA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527" y="4490973"/>
            <a:ext cx="209865" cy="20986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5E0BF18-6816-4C71-B78E-9FEDAC814A1A}"/>
              </a:ext>
            </a:extLst>
          </p:cNvPr>
          <p:cNvSpPr txBox="1"/>
          <p:nvPr/>
        </p:nvSpPr>
        <p:spPr>
          <a:xfrm>
            <a:off x="3031041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11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60D2C95B-3698-4FEF-AC58-F605012551FB}"/>
              </a:ext>
            </a:extLst>
          </p:cNvPr>
          <p:cNvSpPr/>
          <p:nvPr/>
        </p:nvSpPr>
        <p:spPr>
          <a:xfrm>
            <a:off x="3806102" y="4846834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1117586" y="3127369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1112388" y="2614715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1112388" y="3665008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D89B4D8-7A4D-4470-9CC7-FE114A958C68}"/>
              </a:ext>
            </a:extLst>
          </p:cNvPr>
          <p:cNvSpPr txBox="1"/>
          <p:nvPr/>
        </p:nvSpPr>
        <p:spPr>
          <a:xfrm>
            <a:off x="852694" y="5369791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마케팅 동의 항목에 동의하셔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 뉴스레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문자 등 서비스를 제공받을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BAB06164-333A-4203-8F19-BE948B365ED2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39CBEB84-043B-4283-B6C5-A8691854F455}"/>
              </a:ext>
            </a:extLst>
          </p:cNvPr>
          <p:cNvSpPr/>
          <p:nvPr/>
        </p:nvSpPr>
        <p:spPr>
          <a:xfrm>
            <a:off x="1080073" y="1551030"/>
            <a:ext cx="7059773" cy="462133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9A6591-978C-4A77-874D-D6971A190D6F}"/>
              </a:ext>
            </a:extLst>
          </p:cNvPr>
          <p:cNvSpPr/>
          <p:nvPr/>
        </p:nvSpPr>
        <p:spPr>
          <a:xfrm>
            <a:off x="1117586" y="1593992"/>
            <a:ext cx="6706606" cy="4508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3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ESG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FB3390D-3A6F-4872-BA71-35E1AC96CAC3}"/>
              </a:ext>
            </a:extLst>
          </p:cNvPr>
          <p:cNvSpPr txBox="1"/>
          <p:nvPr/>
        </p:nvSpPr>
        <p:spPr>
          <a:xfrm>
            <a:off x="1206103" y="2163728"/>
            <a:ext cx="6637036" cy="32650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조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약관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SamilESG.com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하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한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을 운영하는 삼일회계법인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하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’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한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에서 제공하는 인터넷 관련 서비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하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’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하며 접속 가능한 유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무선 단말기의 종류와 상관없이 이용 가능한 사이트가 제공하는 모든 서비스를 의미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를 이용함에 있어 회원의 권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•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의무 및 책임사항을 규정함을 목적으로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>
              <a:lnSpc>
                <a:spcPct val="120000"/>
              </a:lnSpc>
              <a:spcAft>
                <a:spcPts val="800"/>
              </a:spcAft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2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조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정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.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’가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운영하는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는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 제공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플랫폼”이며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더불어 서비스하는 모바일 웹을 포함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2.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’이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함은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에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개인정보를 제공하여 회원등록을 한 자로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에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정해진 회원 가입 방침에 따라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정보를 지속적으로 제공받으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가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제공하는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’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계속적으로 이용할 수 있는 자를 말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3.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비밀번호’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함은 회원의 동일성 확인과 회원의 권익 및 비밀보호를 위하여 회원 스스로가 설정하여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에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등록한 영문과 숫자의 조합을 말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4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약관에서 정의되지 않은 용어는 관계법령이 정하는 바에 따르며 그 외에는 일반적인 상관례에 의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조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약관의 명시와 설명 및 개정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. ‘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’는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이 약관의 내용과 상호를 회원이 쉽게 알 수 있도록 ‘본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사이트’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초기 ‘서비스’ 화면에 게시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다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약관의 구체적 내용은 회원이 연결화면을 통하여 볼 수 있습니다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2167101C-93DE-45E7-B449-AF7A372DF235}"/>
              </a:ext>
            </a:extLst>
          </p:cNvPr>
          <p:cNvCxnSpPr>
            <a:cxnSpLocks/>
          </p:cNvCxnSpPr>
          <p:nvPr/>
        </p:nvCxnSpPr>
        <p:spPr>
          <a:xfrm>
            <a:off x="1206103" y="1986464"/>
            <a:ext cx="68400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71BA24D2-BBE7-4BC1-B198-8FC5C67C3FCC}"/>
              </a:ext>
            </a:extLst>
          </p:cNvPr>
          <p:cNvGrpSpPr/>
          <p:nvPr/>
        </p:nvGrpSpPr>
        <p:grpSpPr>
          <a:xfrm>
            <a:off x="7976757" y="1982107"/>
            <a:ext cx="152360" cy="4176309"/>
            <a:chOff x="9201470" y="1601344"/>
            <a:chExt cx="188139" cy="3581559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50029DBB-C194-4D01-BCBA-C2C6D1414820}"/>
                </a:ext>
              </a:extLst>
            </p:cNvPr>
            <p:cNvSpPr/>
            <p:nvPr/>
          </p:nvSpPr>
          <p:spPr>
            <a:xfrm>
              <a:off x="9201472" y="1956585"/>
              <a:ext cx="188114" cy="30979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6883B5E3-4052-4E82-BFB1-9D60FF2CE792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3581559"/>
              <a:chOff x="9201470" y="1601344"/>
              <a:chExt cx="188139" cy="3581559"/>
            </a:xfrm>
          </p:grpSpPr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10031E88-91F7-48F8-9D64-A116C8E7F4D1}"/>
                  </a:ext>
                </a:extLst>
              </p:cNvPr>
              <p:cNvSpPr/>
              <p:nvPr/>
            </p:nvSpPr>
            <p:spPr>
              <a:xfrm>
                <a:off x="9201495" y="171642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05084301-8D0C-4914-8F47-0186EE9FE577}"/>
                  </a:ext>
                </a:extLst>
              </p:cNvPr>
              <p:cNvSpPr/>
              <p:nvPr/>
            </p:nvSpPr>
            <p:spPr>
              <a:xfrm rot="10800000">
                <a:off x="9201470" y="5055003"/>
                <a:ext cx="188114" cy="1279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C64F3399-810A-4DEB-87EB-E8F05C4B748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1150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62" name="직선 연결선 61">
            <a:extLst>
              <a:ext uri="{FF2B5EF4-FFF2-40B4-BE49-F238E27FC236}">
                <a16:creationId xmlns:a16="http://schemas.microsoft.com/office/drawing/2014/main" id="{E2445EEB-7C14-47F5-9DE2-EC9644AF6079}"/>
              </a:ext>
            </a:extLst>
          </p:cNvPr>
          <p:cNvCxnSpPr>
            <a:cxnSpLocks/>
          </p:cNvCxnSpPr>
          <p:nvPr/>
        </p:nvCxnSpPr>
        <p:spPr>
          <a:xfrm>
            <a:off x="1126722" y="5582151"/>
            <a:ext cx="682945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DA2A9A8F-6A80-473D-A5E0-80E01BB785D2}"/>
              </a:ext>
            </a:extLst>
          </p:cNvPr>
          <p:cNvSpPr/>
          <p:nvPr/>
        </p:nvSpPr>
        <p:spPr>
          <a:xfrm>
            <a:off x="4286528" y="5392648"/>
            <a:ext cx="528626" cy="360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중략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4122E23C-7805-4ED4-98B7-144F11781FC1}"/>
              </a:ext>
            </a:extLst>
          </p:cNvPr>
          <p:cNvSpPr/>
          <p:nvPr/>
        </p:nvSpPr>
        <p:spPr>
          <a:xfrm>
            <a:off x="4043808" y="578090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01540D0E-A518-4BB0-9F78-6313BBE348EC}"/>
              </a:ext>
            </a:extLst>
          </p:cNvPr>
          <p:cNvSpPr/>
          <p:nvPr/>
        </p:nvSpPr>
        <p:spPr>
          <a:xfrm>
            <a:off x="9303999" y="776136"/>
            <a:ext cx="2862495" cy="12103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홈페이지 이용약관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 버튼 클릭 시 팝업 닫힘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전문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wor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 별도 전달 예정</a:t>
            </a:r>
          </a:p>
        </p:txBody>
      </p:sp>
    </p:spTree>
    <p:extLst>
      <p:ext uri="{BB962C8B-B14F-4D97-AF65-F5344CB8AC3E}">
        <p14:creationId xmlns:p14="http://schemas.microsoft.com/office/powerpoint/2010/main" val="429816853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285618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처리방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1/3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425079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7F1A0D4-867F-4392-824B-C029FFC55FAD}"/>
              </a:ext>
            </a:extLst>
          </p:cNvPr>
          <p:cNvSpPr/>
          <p:nvPr/>
        </p:nvSpPr>
        <p:spPr>
          <a:xfrm>
            <a:off x="501642" y="4410184"/>
            <a:ext cx="8049080" cy="13141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847BB8-BBE9-49D4-AAB9-6CBED88B5EC5}"/>
              </a:ext>
            </a:extLst>
          </p:cNvPr>
          <p:cNvSpPr/>
          <p:nvPr/>
        </p:nvSpPr>
        <p:spPr>
          <a:xfrm>
            <a:off x="501642" y="1701023"/>
            <a:ext cx="8049080" cy="22522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A1FD3-7679-46D5-8349-D11EC14979F4}"/>
              </a:ext>
            </a:extLst>
          </p:cNvPr>
          <p:cNvSpPr txBox="1"/>
          <p:nvPr/>
        </p:nvSpPr>
        <p:spPr>
          <a:xfrm>
            <a:off x="484864" y="150260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3EF91A-3FE4-4120-B3BF-0C09C80BCF9A}"/>
              </a:ext>
            </a:extLst>
          </p:cNvPr>
          <p:cNvSpPr txBox="1"/>
          <p:nvPr/>
        </p:nvSpPr>
        <p:spPr>
          <a:xfrm>
            <a:off x="484864" y="417716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20761DF-E18A-45DD-8000-D2AAD1587641}"/>
              </a:ext>
            </a:extLst>
          </p:cNvPr>
          <p:cNvSpPr/>
          <p:nvPr/>
        </p:nvSpPr>
        <p:spPr>
          <a:xfrm>
            <a:off x="4461186" y="5836076"/>
            <a:ext cx="756000" cy="26583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646954" y="5836076"/>
            <a:ext cx="756000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59" y="1836084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1080073" y="185144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1080073" y="2097497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787" y="2343372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1107871" y="2367710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3215680" y="234337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503" y="2849979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1117586" y="2874317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93" y="3361571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1132376" y="3385909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3215680" y="2862123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3215680" y="3396016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1F5C5807-F24C-4027-A342-98B226BFE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62" y="4490973"/>
            <a:ext cx="209865" cy="209865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A3AAC32-44EA-450B-80E5-E5E0F88A5722}"/>
              </a:ext>
            </a:extLst>
          </p:cNvPr>
          <p:cNvSpPr txBox="1"/>
          <p:nvPr/>
        </p:nvSpPr>
        <p:spPr>
          <a:xfrm>
            <a:off x="1132376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AB31885-78A9-4825-86F9-4004C0D25B48}"/>
              </a:ext>
            </a:extLst>
          </p:cNvPr>
          <p:cNvSpPr/>
          <p:nvPr/>
        </p:nvSpPr>
        <p:spPr>
          <a:xfrm>
            <a:off x="753862" y="4769451"/>
            <a:ext cx="7502378" cy="793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566F37-5CD7-489D-8879-57688ECC8F04}"/>
              </a:ext>
            </a:extLst>
          </p:cNvPr>
          <p:cNvSpPr txBox="1"/>
          <p:nvPr/>
        </p:nvSpPr>
        <p:spPr>
          <a:xfrm>
            <a:off x="784843" y="4773556"/>
            <a:ext cx="7768086" cy="546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광고성 정보 수신 및 마케팅 활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이메일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2D65BE70-6723-4954-B30C-C75637EDE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4846834"/>
            <a:ext cx="195709" cy="195709"/>
          </a:xfrm>
          <a:prstGeom prst="rect">
            <a:avLst/>
          </a:prstGeom>
        </p:spPr>
      </p:pic>
      <p:pic>
        <p:nvPicPr>
          <p:cNvPr id="88" name="그림 87">
            <a:extLst>
              <a:ext uri="{FF2B5EF4-FFF2-40B4-BE49-F238E27FC236}">
                <a16:creationId xmlns:a16="http://schemas.microsoft.com/office/drawing/2014/main" id="{CDAE42B1-DA14-433E-A39A-391DB9E88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5096312"/>
            <a:ext cx="195709" cy="195709"/>
          </a:xfrm>
          <a:prstGeom prst="rect">
            <a:avLst/>
          </a:prstGeom>
        </p:spPr>
      </p:pic>
      <p:pic>
        <p:nvPicPr>
          <p:cNvPr id="89" name="그림 88">
            <a:extLst>
              <a:ext uri="{FF2B5EF4-FFF2-40B4-BE49-F238E27FC236}">
                <a16:creationId xmlns:a16="http://schemas.microsoft.com/office/drawing/2014/main" id="{E66E550D-83F7-4065-B590-47B2A495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5393" y="5108954"/>
            <a:ext cx="195709" cy="195709"/>
          </a:xfrm>
          <a:prstGeom prst="rect">
            <a:avLst/>
          </a:prstGeom>
        </p:spPr>
      </p:pic>
      <p:pic>
        <p:nvPicPr>
          <p:cNvPr id="90" name="그림 89">
            <a:extLst>
              <a:ext uri="{FF2B5EF4-FFF2-40B4-BE49-F238E27FC236}">
                <a16:creationId xmlns:a16="http://schemas.microsoft.com/office/drawing/2014/main" id="{4BC7493C-89D4-4DB3-86E9-6B24914EA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527" y="4490973"/>
            <a:ext cx="209865" cy="20986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5E0BF18-6816-4C71-B78E-9FEDAC814A1A}"/>
              </a:ext>
            </a:extLst>
          </p:cNvPr>
          <p:cNvSpPr txBox="1"/>
          <p:nvPr/>
        </p:nvSpPr>
        <p:spPr>
          <a:xfrm>
            <a:off x="3031041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11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60D2C95B-3698-4FEF-AC58-F605012551FB}"/>
              </a:ext>
            </a:extLst>
          </p:cNvPr>
          <p:cNvSpPr/>
          <p:nvPr/>
        </p:nvSpPr>
        <p:spPr>
          <a:xfrm>
            <a:off x="3806102" y="4846834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1117586" y="3127369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1112388" y="2614715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1112388" y="3665008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D89B4D8-7A4D-4470-9CC7-FE114A958C68}"/>
              </a:ext>
            </a:extLst>
          </p:cNvPr>
          <p:cNvSpPr txBox="1"/>
          <p:nvPr/>
        </p:nvSpPr>
        <p:spPr>
          <a:xfrm>
            <a:off x="852694" y="5369791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마케팅 동의 항목에 동의하셔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 뉴스레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문자 등 서비스를 제공받을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BAB06164-333A-4203-8F19-BE948B365ED2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39CBEB84-043B-4283-B6C5-A8691854F455}"/>
              </a:ext>
            </a:extLst>
          </p:cNvPr>
          <p:cNvSpPr/>
          <p:nvPr/>
        </p:nvSpPr>
        <p:spPr>
          <a:xfrm>
            <a:off x="1080073" y="1551030"/>
            <a:ext cx="7059773" cy="462133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9A6591-978C-4A77-874D-D6971A190D6F}"/>
              </a:ext>
            </a:extLst>
          </p:cNvPr>
          <p:cNvSpPr/>
          <p:nvPr/>
        </p:nvSpPr>
        <p:spPr>
          <a:xfrm>
            <a:off x="1117586" y="1593992"/>
            <a:ext cx="6706606" cy="4508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3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ESG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FB3390D-3A6F-4872-BA71-35E1AC96CAC3}"/>
              </a:ext>
            </a:extLst>
          </p:cNvPr>
          <p:cNvSpPr txBox="1"/>
          <p:nvPr/>
        </p:nvSpPr>
        <p:spPr>
          <a:xfrm>
            <a:off x="1206103" y="2163728"/>
            <a:ext cx="6637036" cy="3238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사이트의 운영사인 삼일회계법인과 관계사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프라이스워터하우스쿠퍼스컨설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인포마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아카데미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하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운영사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및 관계사를 통칭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“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”)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는 『개인정보보호법』 등 준수하고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그에 의거한 개인정보처리방침을 정하여 이용자의 권익보호에 최선을 다하고 있습니다</a:t>
            </a:r>
            <a:r>
              <a:rPr lang="en-US" altLang="ko-KR" sz="800" kern="0" dirty="0">
                <a:solidFill>
                  <a:srgbClr val="5A5A5A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sz="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ko-KR" altLang="ko-KR" sz="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[</a:t>
            </a:r>
            <a:r>
              <a:rPr lang="ko-KR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 수집항목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]</a:t>
            </a:r>
            <a:endParaRPr lang="ko-KR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가입 시 이용자로부터 수집하는 개인정보는 아래와 같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필수항목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아이디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비밀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전화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소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기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부서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직급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소속 이메일</a:t>
            </a:r>
          </a:p>
          <a:p>
            <a:pPr lvl="0"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선택항목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팩스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소속 전화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관심영역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 이용 과정에서 추가 정보를 수집할 경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수집 시점에서 이용자에게 별도의 개인정보 수집 동의를 받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PC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웹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모바일 웹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앱 이용 과정에서 단말기정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OS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화면사이즈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디바이스 아이디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폰기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단말기 모델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, IP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주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쿠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방문일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부정이용기록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 이용 기록 등의 정보가 자동으로 생성되어 수집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ko-KR" altLang="ko-KR" sz="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[</a:t>
            </a:r>
            <a:r>
              <a:rPr lang="ko-KR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 수집이용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]</a:t>
            </a:r>
            <a:endParaRPr lang="ko-KR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는 다음의 목적을 위하여 개인정보를 처리하고 있으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는 다음의 목적 이외의 용도로는 이용하지 않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용 목적이 변경 및 추가될 경우에는 사전에 이용자의 동의를 받은 후 처리 및 이용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lvl="0" algn="just" latinLnBrk="0">
              <a:lnSpc>
                <a:spcPct val="120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 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 가입 의사와 확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용자의 본인 확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용자 식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탈퇴 의사 확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 오류 및 부정이용 방지 등 회원관리</a:t>
            </a: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2167101C-93DE-45E7-B449-AF7A372DF235}"/>
              </a:ext>
            </a:extLst>
          </p:cNvPr>
          <p:cNvCxnSpPr>
            <a:cxnSpLocks/>
          </p:cNvCxnSpPr>
          <p:nvPr/>
        </p:nvCxnSpPr>
        <p:spPr>
          <a:xfrm>
            <a:off x="1206103" y="1986464"/>
            <a:ext cx="68400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71BA24D2-BBE7-4BC1-B198-8FC5C67C3FCC}"/>
              </a:ext>
            </a:extLst>
          </p:cNvPr>
          <p:cNvGrpSpPr/>
          <p:nvPr/>
        </p:nvGrpSpPr>
        <p:grpSpPr>
          <a:xfrm>
            <a:off x="7976757" y="1982107"/>
            <a:ext cx="152360" cy="4176309"/>
            <a:chOff x="9201470" y="1601344"/>
            <a:chExt cx="188139" cy="3581559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50029DBB-C194-4D01-BCBA-C2C6D1414820}"/>
                </a:ext>
              </a:extLst>
            </p:cNvPr>
            <p:cNvSpPr/>
            <p:nvPr/>
          </p:nvSpPr>
          <p:spPr>
            <a:xfrm>
              <a:off x="9201472" y="1956585"/>
              <a:ext cx="188114" cy="30979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6883B5E3-4052-4E82-BFB1-9D60FF2CE792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3581559"/>
              <a:chOff x="9201470" y="1601344"/>
              <a:chExt cx="188139" cy="3581559"/>
            </a:xfrm>
          </p:grpSpPr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10031E88-91F7-48F8-9D64-A116C8E7F4D1}"/>
                  </a:ext>
                </a:extLst>
              </p:cNvPr>
              <p:cNvSpPr/>
              <p:nvPr/>
            </p:nvSpPr>
            <p:spPr>
              <a:xfrm>
                <a:off x="9201495" y="171642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05084301-8D0C-4914-8F47-0186EE9FE577}"/>
                  </a:ext>
                </a:extLst>
              </p:cNvPr>
              <p:cNvSpPr/>
              <p:nvPr/>
            </p:nvSpPr>
            <p:spPr>
              <a:xfrm rot="10800000">
                <a:off x="9201470" y="5055003"/>
                <a:ext cx="188114" cy="1279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C64F3399-810A-4DEB-87EB-E8F05C4B748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1150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104" name="직선 연결선 103">
            <a:extLst>
              <a:ext uri="{FF2B5EF4-FFF2-40B4-BE49-F238E27FC236}">
                <a16:creationId xmlns:a16="http://schemas.microsoft.com/office/drawing/2014/main" id="{2D1EE4A9-58D0-49C6-99E5-E422AAA68618}"/>
              </a:ext>
            </a:extLst>
          </p:cNvPr>
          <p:cNvCxnSpPr>
            <a:cxnSpLocks/>
          </p:cNvCxnSpPr>
          <p:nvPr/>
        </p:nvCxnSpPr>
        <p:spPr>
          <a:xfrm>
            <a:off x="1126722" y="5582151"/>
            <a:ext cx="682945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5353ABA1-0CAD-4DEE-9F15-4A385F3EA03F}"/>
              </a:ext>
            </a:extLst>
          </p:cNvPr>
          <p:cNvSpPr/>
          <p:nvPr/>
        </p:nvSpPr>
        <p:spPr>
          <a:xfrm>
            <a:off x="4286528" y="5392648"/>
            <a:ext cx="528626" cy="360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중략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08514B99-76CF-40CB-9C32-403FE6D8E5C4}"/>
              </a:ext>
            </a:extLst>
          </p:cNvPr>
          <p:cNvSpPr/>
          <p:nvPr/>
        </p:nvSpPr>
        <p:spPr>
          <a:xfrm>
            <a:off x="4043808" y="578090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59C203E8-AB03-410C-8D02-804E8107E65B}"/>
              </a:ext>
            </a:extLst>
          </p:cNvPr>
          <p:cNvSpPr/>
          <p:nvPr/>
        </p:nvSpPr>
        <p:spPr>
          <a:xfrm>
            <a:off x="9303999" y="776136"/>
            <a:ext cx="2862495" cy="12103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 버튼 클릭 시 팝업 닫힘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 전문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wor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 별도 전달 예정</a:t>
            </a:r>
          </a:p>
        </p:txBody>
      </p:sp>
    </p:spTree>
    <p:extLst>
      <p:ext uri="{BB962C8B-B14F-4D97-AF65-F5344CB8AC3E}">
        <p14:creationId xmlns:p14="http://schemas.microsoft.com/office/powerpoint/2010/main" val="168072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13681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 구독 신청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를 구독하기 위해 개인정보 마케팅 활용 및 이메일 수신 동의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7" name="표 10">
            <a:extLst>
              <a:ext uri="{FF2B5EF4-FFF2-40B4-BE49-F238E27FC236}">
                <a16:creationId xmlns:a16="http://schemas.microsoft.com/office/drawing/2014/main" id="{764E0139-E6CB-4A10-9C47-619A0AFC9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11802"/>
              </p:ext>
            </p:extLst>
          </p:nvPr>
        </p:nvGraphicFramePr>
        <p:xfrm>
          <a:off x="9267391" y="759198"/>
          <a:ext cx="2922885" cy="27597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700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5884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7507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회원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수신동의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체크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광고성정보수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및 마케팅활용동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수신 동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체크되지 않은 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광고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보 수신 및 마케팅 활용 동의에 체크해야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수신 동의 체크 가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보기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약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 팝업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96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346050"/>
                  </a:ext>
                </a:extLst>
              </a:tr>
              <a:tr h="851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청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활용동의 및 이메일 수신 동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모두 체크된 상태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우 구독신청 완료로 화면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체크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상태에서 신청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광고성 정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신 및 마케팅 활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수신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동의해야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 구독 신청이 가능합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“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761635"/>
                  </a:ext>
                </a:extLst>
              </a:tr>
              <a:tr h="2903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된 화면에서 확인 버튼 클릭 시 화면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8926806"/>
                  </a:ext>
                </a:extLst>
              </a:tr>
            </a:tbl>
          </a:graphicData>
        </a:graphic>
      </p:graphicFrame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3CA10E04-7692-40DA-81B5-082A01F1C940}"/>
              </a:ext>
            </a:extLst>
          </p:cNvPr>
          <p:cNvCxnSpPr>
            <a:cxnSpLocks/>
          </p:cNvCxnSpPr>
          <p:nvPr/>
        </p:nvCxnSpPr>
        <p:spPr>
          <a:xfrm>
            <a:off x="755029" y="2427705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B4F627FD-CE53-4105-BF76-134852BC7E90}"/>
              </a:ext>
            </a:extLst>
          </p:cNvPr>
          <p:cNvSpPr/>
          <p:nvPr/>
        </p:nvSpPr>
        <p:spPr>
          <a:xfrm>
            <a:off x="772610" y="2003445"/>
            <a:ext cx="3384376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찾기</a:t>
            </a: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78B58CE7-F031-4DDE-9322-4B8FD411301B}"/>
              </a:ext>
            </a:extLst>
          </p:cNvPr>
          <p:cNvSpPr/>
          <p:nvPr/>
        </p:nvSpPr>
        <p:spPr>
          <a:xfrm>
            <a:off x="772610" y="2779534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0162CBE-8602-4273-BBFF-ED57DC99845C}"/>
              </a:ext>
            </a:extLst>
          </p:cNvPr>
          <p:cNvSpPr/>
          <p:nvPr/>
        </p:nvSpPr>
        <p:spPr>
          <a:xfrm>
            <a:off x="755030" y="3901773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7F2C3768-5E1F-4EF0-89B6-E20A5C9FD1B0}"/>
              </a:ext>
            </a:extLst>
          </p:cNvPr>
          <p:cNvSpPr/>
          <p:nvPr/>
        </p:nvSpPr>
        <p:spPr>
          <a:xfrm>
            <a:off x="678102" y="3206205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5D5452BD-6046-4667-B81D-D2C3874B7146}"/>
              </a:ext>
            </a:extLst>
          </p:cNvPr>
          <p:cNvSpPr/>
          <p:nvPr/>
        </p:nvSpPr>
        <p:spPr>
          <a:xfrm>
            <a:off x="717429" y="2608847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</a:t>
            </a:r>
          </a:p>
        </p:txBody>
      </p:sp>
      <p:grpSp>
        <p:nvGrpSpPr>
          <p:cNvPr id="61" name="그룹 60">
            <a:extLst>
              <a:ext uri="{FF2B5EF4-FFF2-40B4-BE49-F238E27FC236}">
                <a16:creationId xmlns:a16="http://schemas.microsoft.com/office/drawing/2014/main" id="{55000E29-E456-406F-97AB-427000A4C7BC}"/>
              </a:ext>
            </a:extLst>
          </p:cNvPr>
          <p:cNvGrpSpPr/>
          <p:nvPr/>
        </p:nvGrpSpPr>
        <p:grpSpPr>
          <a:xfrm>
            <a:off x="561553" y="2078560"/>
            <a:ext cx="3651596" cy="2741760"/>
            <a:chOff x="847942" y="2420888"/>
            <a:chExt cx="3049524" cy="2202541"/>
          </a:xfrm>
        </p:grpSpPr>
        <p:sp>
          <p:nvSpPr>
            <p:cNvPr id="62" name="사각형: 둥근 모서리 61">
              <a:extLst>
                <a:ext uri="{FF2B5EF4-FFF2-40B4-BE49-F238E27FC236}">
                  <a16:creationId xmlns:a16="http://schemas.microsoft.com/office/drawing/2014/main" id="{7C71384F-9BBC-41A9-B37B-8039A57DBA20}"/>
                </a:ext>
              </a:extLst>
            </p:cNvPr>
            <p:cNvSpPr/>
            <p:nvPr/>
          </p:nvSpPr>
          <p:spPr>
            <a:xfrm>
              <a:off x="847942" y="2420888"/>
              <a:ext cx="3049524" cy="2202541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r>
                <a:rPr lang="ko-KR" altLang="en-US" sz="11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김삼일님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hlinkClick r:id="rId3"/>
                </a:rPr>
                <a:t>Samil_kim@pwc.com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레터 구독을 신청 하시겠습니까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</a:p>
            <a:p>
              <a:pPr algn="ctr">
                <a:lnSpc>
                  <a:spcPct val="130000"/>
                </a:lnSpc>
              </a:pP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en-US" altLang="ko-KR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78C83337-50A9-4704-B9BE-91E5A92154EA}"/>
                </a:ext>
              </a:extLst>
            </p:cNvPr>
            <p:cNvSpPr/>
            <p:nvPr/>
          </p:nvSpPr>
          <p:spPr>
            <a:xfrm>
              <a:off x="2483599" y="4187316"/>
              <a:ext cx="665119" cy="26583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신청</a:t>
              </a:r>
            </a:p>
          </p:txBody>
        </p:sp>
      </p:grp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01683791-5A9E-44A6-B840-C6BC44D8A490}"/>
              </a:ext>
            </a:extLst>
          </p:cNvPr>
          <p:cNvCxnSpPr/>
          <p:nvPr/>
        </p:nvCxnSpPr>
        <p:spPr>
          <a:xfrm>
            <a:off x="969834" y="2824069"/>
            <a:ext cx="295232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3CD2CE5-714C-4289-8955-B9531F024AE4}"/>
              </a:ext>
            </a:extLst>
          </p:cNvPr>
          <p:cNvSpPr txBox="1"/>
          <p:nvPr/>
        </p:nvSpPr>
        <p:spPr>
          <a:xfrm>
            <a:off x="957143" y="2786453"/>
            <a:ext cx="2952328" cy="11771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</a:t>
            </a: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구독 신청을 위해서는</a:t>
            </a:r>
            <a:r>
              <a:rPr lang="ko-KR" altLang="en-US" sz="2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20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742950" rtl="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 동의가 필요합니다</a:t>
            </a:r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66" name="그림 65">
            <a:extLst>
              <a:ext uri="{FF2B5EF4-FFF2-40B4-BE49-F238E27FC236}">
                <a16:creationId xmlns:a16="http://schemas.microsoft.com/office/drawing/2014/main" id="{42598048-E3D3-4578-B1F6-980A31C23C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226" y="3397415"/>
            <a:ext cx="209865" cy="209865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57247358-D570-4694-B534-DE22A610C1D3}"/>
              </a:ext>
            </a:extLst>
          </p:cNvPr>
          <p:cNvSpPr txBox="1"/>
          <p:nvPr/>
        </p:nvSpPr>
        <p:spPr>
          <a:xfrm>
            <a:off x="1085759" y="3155800"/>
            <a:ext cx="3255564" cy="7459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0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 동의 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이메일 수신 동의</a:t>
            </a:r>
          </a:p>
        </p:txBody>
      </p:sp>
      <p:pic>
        <p:nvPicPr>
          <p:cNvPr id="68" name="그림 67">
            <a:extLst>
              <a:ext uri="{FF2B5EF4-FFF2-40B4-BE49-F238E27FC236}">
                <a16:creationId xmlns:a16="http://schemas.microsoft.com/office/drawing/2014/main" id="{22331770-B0B7-4C50-B9B2-E41E554E4B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4464" y="3678149"/>
            <a:ext cx="209865" cy="209865"/>
          </a:xfrm>
          <a:prstGeom prst="rect">
            <a:avLst/>
          </a:prstGeom>
        </p:spPr>
      </p:pic>
      <p:sp>
        <p:nvSpPr>
          <p:cNvPr id="71" name="직사각형 70">
            <a:extLst>
              <a:ext uri="{FF2B5EF4-FFF2-40B4-BE49-F238E27FC236}">
                <a16:creationId xmlns:a16="http://schemas.microsoft.com/office/drawing/2014/main" id="{E281BE8C-2DC3-4CCC-9A24-304756FE5D7A}"/>
              </a:ext>
            </a:extLst>
          </p:cNvPr>
          <p:cNvSpPr/>
          <p:nvPr/>
        </p:nvSpPr>
        <p:spPr>
          <a:xfrm>
            <a:off x="1584036" y="4277439"/>
            <a:ext cx="796434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4F80F657-6B9A-47C7-A6D7-AE8D562178A2}"/>
              </a:ext>
            </a:extLst>
          </p:cNvPr>
          <p:cNvSpPr/>
          <p:nvPr/>
        </p:nvSpPr>
        <p:spPr>
          <a:xfrm>
            <a:off x="5243557" y="1700808"/>
            <a:ext cx="3384376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찾기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56444497-D2DF-465F-A1F3-80E3BD5DBBF4}"/>
              </a:ext>
            </a:extLst>
          </p:cNvPr>
          <p:cNvSpPr/>
          <p:nvPr/>
        </p:nvSpPr>
        <p:spPr>
          <a:xfrm>
            <a:off x="5032500" y="1775923"/>
            <a:ext cx="3651596" cy="183135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3"/>
              </a:rPr>
              <a:t>Samil_kim@pwc.com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구독이 신청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2" name="사각형: 둥근 모서리 131">
            <a:extLst>
              <a:ext uri="{FF2B5EF4-FFF2-40B4-BE49-F238E27FC236}">
                <a16:creationId xmlns:a16="http://schemas.microsoft.com/office/drawing/2014/main" id="{08EE60DF-EA7B-4B34-B1DD-F551F076E925}"/>
              </a:ext>
            </a:extLst>
          </p:cNvPr>
          <p:cNvSpPr/>
          <p:nvPr/>
        </p:nvSpPr>
        <p:spPr>
          <a:xfrm>
            <a:off x="781350" y="33067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5" name="연결선: 꺾임 4">
            <a:extLst>
              <a:ext uri="{FF2B5EF4-FFF2-40B4-BE49-F238E27FC236}">
                <a16:creationId xmlns:a16="http://schemas.microsoft.com/office/drawing/2014/main" id="{E776D635-2FC7-40BB-B58E-0455023E3F3F}"/>
              </a:ext>
            </a:extLst>
          </p:cNvPr>
          <p:cNvCxnSpPr>
            <a:cxnSpLocks/>
          </p:cNvCxnSpPr>
          <p:nvPr/>
        </p:nvCxnSpPr>
        <p:spPr>
          <a:xfrm>
            <a:off x="1301250" y="3623692"/>
            <a:ext cx="108000" cy="162000"/>
          </a:xfrm>
          <a:prstGeom prst="bentConnector3">
            <a:avLst>
              <a:gd name="adj1" fmla="val -444"/>
            </a:avLst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663B1623-03EE-4BBE-B832-DA234DE7E61F}"/>
              </a:ext>
            </a:extLst>
          </p:cNvPr>
          <p:cNvSpPr/>
          <p:nvPr/>
        </p:nvSpPr>
        <p:spPr>
          <a:xfrm>
            <a:off x="3298846" y="3407904"/>
            <a:ext cx="525407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보기</a:t>
            </a: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C95963A4-9EFD-4B03-A51D-EE600C788637}"/>
              </a:ext>
            </a:extLst>
          </p:cNvPr>
          <p:cNvSpPr/>
          <p:nvPr/>
        </p:nvSpPr>
        <p:spPr>
          <a:xfrm>
            <a:off x="837920" y="3330076"/>
            <a:ext cx="3178499" cy="640413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5D5074CB-7E57-4D16-84A2-E55CF77AA833}"/>
              </a:ext>
            </a:extLst>
          </p:cNvPr>
          <p:cNvSpPr/>
          <p:nvPr/>
        </p:nvSpPr>
        <p:spPr>
          <a:xfrm>
            <a:off x="1508291" y="42232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A9422AD5-C7B6-4AFF-B3E5-9D25BB1BAF2A}"/>
              </a:ext>
            </a:extLst>
          </p:cNvPr>
          <p:cNvSpPr/>
          <p:nvPr/>
        </p:nvSpPr>
        <p:spPr>
          <a:xfrm>
            <a:off x="2452794" y="42174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사각형: 둥근 모서리 137">
            <a:extLst>
              <a:ext uri="{FF2B5EF4-FFF2-40B4-BE49-F238E27FC236}">
                <a16:creationId xmlns:a16="http://schemas.microsoft.com/office/drawing/2014/main" id="{17D4E3C9-E25A-49E8-B56F-212D768C93F4}"/>
              </a:ext>
            </a:extLst>
          </p:cNvPr>
          <p:cNvSpPr/>
          <p:nvPr/>
        </p:nvSpPr>
        <p:spPr>
          <a:xfrm>
            <a:off x="5009808" y="3901773"/>
            <a:ext cx="3651596" cy="168746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수신에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  <a:p>
            <a:pPr algn="ctr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두 동의하셔야 뉴스레서 구독 신청이 가능합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161D5BD1-C9BD-4284-BA8A-E9BB14D0251B}"/>
              </a:ext>
            </a:extLst>
          </p:cNvPr>
          <p:cNvSpPr/>
          <p:nvPr/>
        </p:nvSpPr>
        <p:spPr>
          <a:xfrm>
            <a:off x="6418902" y="5025025"/>
            <a:ext cx="796434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2E460B82-8AB5-4BEF-8AB6-EC4DB3B5847B}"/>
              </a:ext>
            </a:extLst>
          </p:cNvPr>
          <p:cNvSpPr/>
          <p:nvPr/>
        </p:nvSpPr>
        <p:spPr>
          <a:xfrm>
            <a:off x="6401830" y="2921456"/>
            <a:ext cx="796434" cy="3309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42" name="사각형: 둥근 모서리 141">
            <a:extLst>
              <a:ext uri="{FF2B5EF4-FFF2-40B4-BE49-F238E27FC236}">
                <a16:creationId xmlns:a16="http://schemas.microsoft.com/office/drawing/2014/main" id="{52E1A099-0426-44B5-80E2-C38C7CFD1FEA}"/>
              </a:ext>
            </a:extLst>
          </p:cNvPr>
          <p:cNvSpPr/>
          <p:nvPr/>
        </p:nvSpPr>
        <p:spPr>
          <a:xfrm>
            <a:off x="6329349" y="28906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CA8269C9-FD20-4BF6-9FFE-AF32674A54EC}"/>
              </a:ext>
            </a:extLst>
          </p:cNvPr>
          <p:cNvSpPr/>
          <p:nvPr/>
        </p:nvSpPr>
        <p:spPr>
          <a:xfrm>
            <a:off x="6325046" y="497083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15C1164E-1D75-47C9-95EA-CF2EC994B6E6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44E910F9-A64A-4AAA-9133-A09ECE5D6F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829A4DEA-D443-4B31-876F-EC51963D8FC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53AE6BF5-E43C-4C14-A806-0755C7F73D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9764708C-4964-4FCA-B8BE-D1DF2408A3F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71FF4F0B-A87B-499C-99BF-23824284B6C3}"/>
              </a:ext>
            </a:extLst>
          </p:cNvPr>
          <p:cNvSpPr/>
          <p:nvPr/>
        </p:nvSpPr>
        <p:spPr>
          <a:xfrm>
            <a:off x="461404" y="1754082"/>
            <a:ext cx="2978926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.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회원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수신동의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" name="연결선: 꺾임 5">
            <a:extLst>
              <a:ext uri="{FF2B5EF4-FFF2-40B4-BE49-F238E27FC236}">
                <a16:creationId xmlns:a16="http://schemas.microsoft.com/office/drawing/2014/main" id="{8C3987A3-7075-4584-954F-74C1F13240A6}"/>
              </a:ext>
            </a:extLst>
          </p:cNvPr>
          <p:cNvCxnSpPr>
            <a:cxnSpLocks/>
            <a:stCxn id="63" idx="3"/>
            <a:endCxn id="103" idx="1"/>
          </p:cNvCxnSpPr>
          <p:nvPr/>
        </p:nvCxnSpPr>
        <p:spPr>
          <a:xfrm flipV="1">
            <a:off x="3316574" y="2691602"/>
            <a:ext cx="1715926" cy="1751296"/>
          </a:xfrm>
          <a:prstGeom prst="bentConnector3">
            <a:avLst>
              <a:gd name="adj1" fmla="val 77977"/>
            </a:avLst>
          </a:prstGeom>
          <a:ln w="3810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연결선: 꺾임 58">
            <a:extLst>
              <a:ext uri="{FF2B5EF4-FFF2-40B4-BE49-F238E27FC236}">
                <a16:creationId xmlns:a16="http://schemas.microsoft.com/office/drawing/2014/main" id="{9BE49E6A-6DB1-4B07-98D7-54318F559FC5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55135" y="4432535"/>
            <a:ext cx="360000" cy="351643"/>
          </a:xfrm>
          <a:prstGeom prst="bentConnector3">
            <a:avLst>
              <a:gd name="adj1" fmla="val 99212"/>
            </a:avLst>
          </a:prstGeom>
          <a:ln w="3810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7B2777A9-4965-4A38-B4D3-21415569A29D}"/>
              </a:ext>
            </a:extLst>
          </p:cNvPr>
          <p:cNvSpPr/>
          <p:nvPr/>
        </p:nvSpPr>
        <p:spPr>
          <a:xfrm>
            <a:off x="4240411" y="2366152"/>
            <a:ext cx="792089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동의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7C5C954-C83D-4494-B916-077C3911E372}"/>
              </a:ext>
            </a:extLst>
          </p:cNvPr>
          <p:cNvSpPr/>
          <p:nvPr/>
        </p:nvSpPr>
        <p:spPr>
          <a:xfrm>
            <a:off x="4240411" y="4879772"/>
            <a:ext cx="792089" cy="302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동의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D8401D76-E026-4E01-8B51-8B3D2D7C12CB}"/>
              </a:ext>
            </a:extLst>
          </p:cNvPr>
          <p:cNvSpPr/>
          <p:nvPr/>
        </p:nvSpPr>
        <p:spPr>
          <a:xfrm>
            <a:off x="9212894" y="-11721"/>
            <a:ext cx="2950181" cy="377060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디스크립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넘버링 맞춰 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2165316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처리방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1/3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425079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7F1A0D4-867F-4392-824B-C029FFC55FAD}"/>
              </a:ext>
            </a:extLst>
          </p:cNvPr>
          <p:cNvSpPr/>
          <p:nvPr/>
        </p:nvSpPr>
        <p:spPr>
          <a:xfrm>
            <a:off x="501642" y="4410184"/>
            <a:ext cx="8049080" cy="13141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847BB8-BBE9-49D4-AAB9-6CBED88B5EC5}"/>
              </a:ext>
            </a:extLst>
          </p:cNvPr>
          <p:cNvSpPr/>
          <p:nvPr/>
        </p:nvSpPr>
        <p:spPr>
          <a:xfrm>
            <a:off x="501642" y="1701023"/>
            <a:ext cx="8049080" cy="22522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A1FD3-7679-46D5-8349-D11EC14979F4}"/>
              </a:ext>
            </a:extLst>
          </p:cNvPr>
          <p:cNvSpPr txBox="1"/>
          <p:nvPr/>
        </p:nvSpPr>
        <p:spPr>
          <a:xfrm>
            <a:off x="484864" y="150260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3EF91A-3FE4-4120-B3BF-0C09C80BCF9A}"/>
              </a:ext>
            </a:extLst>
          </p:cNvPr>
          <p:cNvSpPr txBox="1"/>
          <p:nvPr/>
        </p:nvSpPr>
        <p:spPr>
          <a:xfrm>
            <a:off x="484864" y="417716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20761DF-E18A-45DD-8000-D2AAD1587641}"/>
              </a:ext>
            </a:extLst>
          </p:cNvPr>
          <p:cNvSpPr/>
          <p:nvPr/>
        </p:nvSpPr>
        <p:spPr>
          <a:xfrm>
            <a:off x="4461186" y="5836076"/>
            <a:ext cx="756000" cy="26583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646954" y="5836076"/>
            <a:ext cx="756000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59" y="1836084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1080073" y="185144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1080073" y="2097497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787" y="2343372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1107871" y="2367710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3215680" y="234337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503" y="2849979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1117586" y="2874317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93" y="3361571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1132376" y="3385909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3215680" y="2862123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3215680" y="3396016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1F5C5807-F24C-4027-A342-98B226BFE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62" y="4490973"/>
            <a:ext cx="209865" cy="209865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A3AAC32-44EA-450B-80E5-E5E0F88A5722}"/>
              </a:ext>
            </a:extLst>
          </p:cNvPr>
          <p:cNvSpPr txBox="1"/>
          <p:nvPr/>
        </p:nvSpPr>
        <p:spPr>
          <a:xfrm>
            <a:off x="1132376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AB31885-78A9-4825-86F9-4004C0D25B48}"/>
              </a:ext>
            </a:extLst>
          </p:cNvPr>
          <p:cNvSpPr/>
          <p:nvPr/>
        </p:nvSpPr>
        <p:spPr>
          <a:xfrm>
            <a:off x="753862" y="4769451"/>
            <a:ext cx="7502378" cy="793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566F37-5CD7-489D-8879-57688ECC8F04}"/>
              </a:ext>
            </a:extLst>
          </p:cNvPr>
          <p:cNvSpPr txBox="1"/>
          <p:nvPr/>
        </p:nvSpPr>
        <p:spPr>
          <a:xfrm>
            <a:off x="784843" y="4773556"/>
            <a:ext cx="7768086" cy="546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광고성 정보 수신 및 마케팅 활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이메일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2D65BE70-6723-4954-B30C-C75637EDE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4846834"/>
            <a:ext cx="195709" cy="195709"/>
          </a:xfrm>
          <a:prstGeom prst="rect">
            <a:avLst/>
          </a:prstGeom>
        </p:spPr>
      </p:pic>
      <p:pic>
        <p:nvPicPr>
          <p:cNvPr id="88" name="그림 87">
            <a:extLst>
              <a:ext uri="{FF2B5EF4-FFF2-40B4-BE49-F238E27FC236}">
                <a16:creationId xmlns:a16="http://schemas.microsoft.com/office/drawing/2014/main" id="{CDAE42B1-DA14-433E-A39A-391DB9E88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5096312"/>
            <a:ext cx="195709" cy="195709"/>
          </a:xfrm>
          <a:prstGeom prst="rect">
            <a:avLst/>
          </a:prstGeom>
        </p:spPr>
      </p:pic>
      <p:pic>
        <p:nvPicPr>
          <p:cNvPr id="89" name="그림 88">
            <a:extLst>
              <a:ext uri="{FF2B5EF4-FFF2-40B4-BE49-F238E27FC236}">
                <a16:creationId xmlns:a16="http://schemas.microsoft.com/office/drawing/2014/main" id="{E66E550D-83F7-4065-B590-47B2A495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5393" y="5108954"/>
            <a:ext cx="195709" cy="195709"/>
          </a:xfrm>
          <a:prstGeom prst="rect">
            <a:avLst/>
          </a:prstGeom>
        </p:spPr>
      </p:pic>
      <p:pic>
        <p:nvPicPr>
          <p:cNvPr id="90" name="그림 89">
            <a:extLst>
              <a:ext uri="{FF2B5EF4-FFF2-40B4-BE49-F238E27FC236}">
                <a16:creationId xmlns:a16="http://schemas.microsoft.com/office/drawing/2014/main" id="{4BC7493C-89D4-4DB3-86E9-6B24914EA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527" y="4490973"/>
            <a:ext cx="209865" cy="20986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5E0BF18-6816-4C71-B78E-9FEDAC814A1A}"/>
              </a:ext>
            </a:extLst>
          </p:cNvPr>
          <p:cNvSpPr txBox="1"/>
          <p:nvPr/>
        </p:nvSpPr>
        <p:spPr>
          <a:xfrm>
            <a:off x="3031041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11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60D2C95B-3698-4FEF-AC58-F605012551FB}"/>
              </a:ext>
            </a:extLst>
          </p:cNvPr>
          <p:cNvSpPr/>
          <p:nvPr/>
        </p:nvSpPr>
        <p:spPr>
          <a:xfrm>
            <a:off x="3806102" y="4846834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1117586" y="3127369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1112388" y="2614715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1112388" y="3665008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D89B4D8-7A4D-4470-9CC7-FE114A958C68}"/>
              </a:ext>
            </a:extLst>
          </p:cNvPr>
          <p:cNvSpPr txBox="1"/>
          <p:nvPr/>
        </p:nvSpPr>
        <p:spPr>
          <a:xfrm>
            <a:off x="852694" y="5369791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마케팅 동의 항목에 동의하셔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 뉴스레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문자 등 서비스를 제공받을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BAB06164-333A-4203-8F19-BE948B365ED2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39CBEB84-043B-4283-B6C5-A8691854F455}"/>
              </a:ext>
            </a:extLst>
          </p:cNvPr>
          <p:cNvSpPr/>
          <p:nvPr/>
        </p:nvSpPr>
        <p:spPr>
          <a:xfrm>
            <a:off x="1080073" y="1551030"/>
            <a:ext cx="7059773" cy="462133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9A6591-978C-4A77-874D-D6971A190D6F}"/>
              </a:ext>
            </a:extLst>
          </p:cNvPr>
          <p:cNvSpPr/>
          <p:nvPr/>
        </p:nvSpPr>
        <p:spPr>
          <a:xfrm>
            <a:off x="1117586" y="1593992"/>
            <a:ext cx="6706606" cy="4508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3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ESG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FB3390D-3A6F-4872-BA71-35E1AC96CAC3}"/>
              </a:ext>
            </a:extLst>
          </p:cNvPr>
          <p:cNvSpPr txBox="1"/>
          <p:nvPr/>
        </p:nvSpPr>
        <p:spPr>
          <a:xfrm>
            <a:off x="1206103" y="2163728"/>
            <a:ext cx="6637036" cy="2552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본 사이트의 운영사인 삼일회계법인과 관계사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프라이스워터하우스쿠퍼스컨설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인포마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아카데미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하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운영사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및 관계사를 통칭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“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”)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는 『개인정보보호법』 등 준수하고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그에 의거한 개인정보처리방침을 정하여 이용자의 권익보호에 최선을 다하고 있습니다</a:t>
            </a:r>
            <a:r>
              <a:rPr lang="en-US" altLang="ko-KR" sz="800" kern="0" dirty="0">
                <a:solidFill>
                  <a:srgbClr val="5A5A5A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당사는 본 사이트에서 서비스를 제공함에 있어 이용자의 편의를 위해 아래와 같이 선택적 정보를 수집 및 이용하고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endParaRPr lang="ko-KR" altLang="ko-KR" sz="5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[</a:t>
            </a:r>
            <a:r>
              <a:rPr lang="ko-KR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 선택적 수집항목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]</a:t>
            </a:r>
            <a:endParaRPr lang="ko-KR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lvl="0" algn="l" latinLnBrk="0">
              <a:lnSpc>
                <a:spcPct val="107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선택적 수집항목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팩스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소속 전화번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관심영역</a:t>
            </a:r>
          </a:p>
          <a:p>
            <a:pPr lvl="0" algn="l" latinLnBrk="0">
              <a:lnSpc>
                <a:spcPct val="107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수집목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용자 식별과 고객 맞춤형 서비스 제공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원활한 의사소통</a:t>
            </a:r>
          </a:p>
          <a:p>
            <a:pPr lvl="0" algn="l" latinLnBrk="0">
              <a:lnSpc>
                <a:spcPct val="107000"/>
              </a:lnSpc>
              <a:spcAft>
                <a:spcPts val="800"/>
              </a:spcAft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-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보유 및 이용기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 탈퇴 시까지</a:t>
            </a: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endParaRPr lang="ko-KR" altLang="ko-KR" sz="5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[</a:t>
            </a:r>
            <a:r>
              <a:rPr lang="ko-KR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 수집에 대한 거부 권리 및 그에 따른 서비스 제한사항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]</a:t>
            </a:r>
            <a:endParaRPr lang="ko-KR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l" latinLnBrk="0">
              <a:lnSpc>
                <a:spcPct val="107000"/>
              </a:lnSpc>
              <a:spcAft>
                <a:spcPts val="800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 가입 시 상기 항목에 대해 동의를 거부할 수 있으나 개인정보수정 시 선택정보를 입력한 경우 선택정보 수집 및 이용에 동의한 것으로 간주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2167101C-93DE-45E7-B449-AF7A372DF235}"/>
              </a:ext>
            </a:extLst>
          </p:cNvPr>
          <p:cNvCxnSpPr>
            <a:cxnSpLocks/>
          </p:cNvCxnSpPr>
          <p:nvPr/>
        </p:nvCxnSpPr>
        <p:spPr>
          <a:xfrm>
            <a:off x="1206103" y="1986464"/>
            <a:ext cx="68400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71BA24D2-BBE7-4BC1-B198-8FC5C67C3FCC}"/>
              </a:ext>
            </a:extLst>
          </p:cNvPr>
          <p:cNvGrpSpPr/>
          <p:nvPr/>
        </p:nvGrpSpPr>
        <p:grpSpPr>
          <a:xfrm>
            <a:off x="7976757" y="1982107"/>
            <a:ext cx="152360" cy="4176309"/>
            <a:chOff x="9201470" y="1601344"/>
            <a:chExt cx="188139" cy="3581559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50029DBB-C194-4D01-BCBA-C2C6D1414820}"/>
                </a:ext>
              </a:extLst>
            </p:cNvPr>
            <p:cNvSpPr/>
            <p:nvPr/>
          </p:nvSpPr>
          <p:spPr>
            <a:xfrm>
              <a:off x="9201472" y="1956585"/>
              <a:ext cx="188114" cy="30979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6883B5E3-4052-4E82-BFB1-9D60FF2CE792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3581559"/>
              <a:chOff x="9201470" y="1601344"/>
              <a:chExt cx="188139" cy="3581559"/>
            </a:xfrm>
          </p:grpSpPr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10031E88-91F7-48F8-9D64-A116C8E7F4D1}"/>
                  </a:ext>
                </a:extLst>
              </p:cNvPr>
              <p:cNvSpPr/>
              <p:nvPr/>
            </p:nvSpPr>
            <p:spPr>
              <a:xfrm>
                <a:off x="9201495" y="171642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05084301-8D0C-4914-8F47-0186EE9FE577}"/>
                  </a:ext>
                </a:extLst>
              </p:cNvPr>
              <p:cNvSpPr/>
              <p:nvPr/>
            </p:nvSpPr>
            <p:spPr>
              <a:xfrm rot="10800000">
                <a:off x="9201470" y="5055003"/>
                <a:ext cx="188114" cy="1279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C64F3399-810A-4DEB-87EB-E8F05C4B748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1150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08514B99-76CF-40CB-9C32-403FE6D8E5C4}"/>
              </a:ext>
            </a:extLst>
          </p:cNvPr>
          <p:cNvSpPr/>
          <p:nvPr/>
        </p:nvSpPr>
        <p:spPr>
          <a:xfrm>
            <a:off x="4043808" y="578090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59C203E8-AB03-410C-8D02-804E8107E65B}"/>
              </a:ext>
            </a:extLst>
          </p:cNvPr>
          <p:cNvSpPr/>
          <p:nvPr/>
        </p:nvSpPr>
        <p:spPr>
          <a:xfrm>
            <a:off x="9303999" y="776136"/>
            <a:ext cx="2862495" cy="12103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 버튼 클릭 시 팝업 닫힘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처리방침 전문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wor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 별도 전달 예정</a:t>
            </a:r>
          </a:p>
        </p:txBody>
      </p:sp>
    </p:spTree>
    <p:extLst>
      <p:ext uri="{BB962C8B-B14F-4D97-AF65-F5344CB8AC3E}">
        <p14:creationId xmlns:p14="http://schemas.microsoft.com/office/powerpoint/2010/main" val="2604006714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8332468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케팅수신동의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425079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7F1A0D4-867F-4392-824B-C029FFC55FAD}"/>
              </a:ext>
            </a:extLst>
          </p:cNvPr>
          <p:cNvSpPr/>
          <p:nvPr/>
        </p:nvSpPr>
        <p:spPr>
          <a:xfrm>
            <a:off x="501642" y="4410184"/>
            <a:ext cx="8049080" cy="13141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847BB8-BBE9-49D4-AAB9-6CBED88B5EC5}"/>
              </a:ext>
            </a:extLst>
          </p:cNvPr>
          <p:cNvSpPr/>
          <p:nvPr/>
        </p:nvSpPr>
        <p:spPr>
          <a:xfrm>
            <a:off x="501642" y="1701023"/>
            <a:ext cx="8049080" cy="22522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A1FD3-7679-46D5-8349-D11EC14979F4}"/>
              </a:ext>
            </a:extLst>
          </p:cNvPr>
          <p:cNvSpPr txBox="1"/>
          <p:nvPr/>
        </p:nvSpPr>
        <p:spPr>
          <a:xfrm>
            <a:off x="484864" y="150260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3EF91A-3FE4-4120-B3BF-0C09C80BCF9A}"/>
              </a:ext>
            </a:extLst>
          </p:cNvPr>
          <p:cNvSpPr txBox="1"/>
          <p:nvPr/>
        </p:nvSpPr>
        <p:spPr>
          <a:xfrm>
            <a:off x="484864" y="417716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20761DF-E18A-45DD-8000-D2AAD1587641}"/>
              </a:ext>
            </a:extLst>
          </p:cNvPr>
          <p:cNvSpPr/>
          <p:nvPr/>
        </p:nvSpPr>
        <p:spPr>
          <a:xfrm>
            <a:off x="4461186" y="5836076"/>
            <a:ext cx="756000" cy="26583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646954" y="5836076"/>
            <a:ext cx="756000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59" y="1836084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1080073" y="185144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1080073" y="2097497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787" y="2343372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1107871" y="2367710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3215680" y="234337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503" y="2849979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1117586" y="2874317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93" y="3361571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1132376" y="3385909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3215680" y="2862123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3215680" y="3396016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1F5C5807-F24C-4027-A342-98B226BFE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62" y="4490973"/>
            <a:ext cx="209865" cy="209865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A3AAC32-44EA-450B-80E5-E5E0F88A5722}"/>
              </a:ext>
            </a:extLst>
          </p:cNvPr>
          <p:cNvSpPr txBox="1"/>
          <p:nvPr/>
        </p:nvSpPr>
        <p:spPr>
          <a:xfrm>
            <a:off x="1132376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AB31885-78A9-4825-86F9-4004C0D25B48}"/>
              </a:ext>
            </a:extLst>
          </p:cNvPr>
          <p:cNvSpPr/>
          <p:nvPr/>
        </p:nvSpPr>
        <p:spPr>
          <a:xfrm>
            <a:off x="753862" y="4769451"/>
            <a:ext cx="7502378" cy="793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566F37-5CD7-489D-8879-57688ECC8F04}"/>
              </a:ext>
            </a:extLst>
          </p:cNvPr>
          <p:cNvSpPr txBox="1"/>
          <p:nvPr/>
        </p:nvSpPr>
        <p:spPr>
          <a:xfrm>
            <a:off x="784843" y="4773556"/>
            <a:ext cx="7768086" cy="546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광고성 정보 수신 및 마케팅 활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이메일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2D65BE70-6723-4954-B30C-C75637EDE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4846834"/>
            <a:ext cx="195709" cy="195709"/>
          </a:xfrm>
          <a:prstGeom prst="rect">
            <a:avLst/>
          </a:prstGeom>
        </p:spPr>
      </p:pic>
      <p:pic>
        <p:nvPicPr>
          <p:cNvPr id="88" name="그림 87">
            <a:extLst>
              <a:ext uri="{FF2B5EF4-FFF2-40B4-BE49-F238E27FC236}">
                <a16:creationId xmlns:a16="http://schemas.microsoft.com/office/drawing/2014/main" id="{CDAE42B1-DA14-433E-A39A-391DB9E88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5096312"/>
            <a:ext cx="195709" cy="195709"/>
          </a:xfrm>
          <a:prstGeom prst="rect">
            <a:avLst/>
          </a:prstGeom>
        </p:spPr>
      </p:pic>
      <p:pic>
        <p:nvPicPr>
          <p:cNvPr id="89" name="그림 88">
            <a:extLst>
              <a:ext uri="{FF2B5EF4-FFF2-40B4-BE49-F238E27FC236}">
                <a16:creationId xmlns:a16="http://schemas.microsoft.com/office/drawing/2014/main" id="{E66E550D-83F7-4065-B590-47B2A495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5393" y="5108954"/>
            <a:ext cx="195709" cy="195709"/>
          </a:xfrm>
          <a:prstGeom prst="rect">
            <a:avLst/>
          </a:prstGeom>
        </p:spPr>
      </p:pic>
      <p:pic>
        <p:nvPicPr>
          <p:cNvPr id="90" name="그림 89">
            <a:extLst>
              <a:ext uri="{FF2B5EF4-FFF2-40B4-BE49-F238E27FC236}">
                <a16:creationId xmlns:a16="http://schemas.microsoft.com/office/drawing/2014/main" id="{4BC7493C-89D4-4DB3-86E9-6B24914EA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527" y="4490973"/>
            <a:ext cx="209865" cy="20986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5E0BF18-6816-4C71-B78E-9FEDAC814A1A}"/>
              </a:ext>
            </a:extLst>
          </p:cNvPr>
          <p:cNvSpPr txBox="1"/>
          <p:nvPr/>
        </p:nvSpPr>
        <p:spPr>
          <a:xfrm>
            <a:off x="3031041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11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60D2C95B-3698-4FEF-AC58-F605012551FB}"/>
              </a:ext>
            </a:extLst>
          </p:cNvPr>
          <p:cNvSpPr/>
          <p:nvPr/>
        </p:nvSpPr>
        <p:spPr>
          <a:xfrm>
            <a:off x="3806102" y="4846834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1117586" y="3127369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1112388" y="2614715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1112388" y="3665008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D89B4D8-7A4D-4470-9CC7-FE114A958C68}"/>
              </a:ext>
            </a:extLst>
          </p:cNvPr>
          <p:cNvSpPr txBox="1"/>
          <p:nvPr/>
        </p:nvSpPr>
        <p:spPr>
          <a:xfrm>
            <a:off x="852694" y="5369791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마케팅 동의 항목에 동의하셔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 뉴스레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문자 등 서비스를 제공받을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BAB06164-333A-4203-8F19-BE948B365ED2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39CBEB84-043B-4283-B6C5-A8691854F455}"/>
              </a:ext>
            </a:extLst>
          </p:cNvPr>
          <p:cNvSpPr/>
          <p:nvPr/>
        </p:nvSpPr>
        <p:spPr>
          <a:xfrm>
            <a:off x="1080073" y="1551030"/>
            <a:ext cx="7059773" cy="462133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9A6591-978C-4A77-874D-D6971A190D6F}"/>
              </a:ext>
            </a:extLst>
          </p:cNvPr>
          <p:cNvSpPr/>
          <p:nvPr/>
        </p:nvSpPr>
        <p:spPr>
          <a:xfrm>
            <a:off x="1117586" y="1593992"/>
            <a:ext cx="6706606" cy="4508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 동의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FB3390D-3A6F-4872-BA71-35E1AC96CAC3}"/>
              </a:ext>
            </a:extLst>
          </p:cNvPr>
          <p:cNvSpPr txBox="1"/>
          <p:nvPr/>
        </p:nvSpPr>
        <p:spPr>
          <a:xfrm>
            <a:off x="1206103" y="2163728"/>
            <a:ext cx="6637036" cy="2830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조 목적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회계법인은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고객님들에게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보다 다양한 정보를 제공하고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비스의 질을 향상시키기 위하여 삼일회계법인 제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관계사에게 「개인정보보호법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「정보통신망 이용촉진 및 정보보호 등에 관한 법률 」 및 「신용정보의 이용 및 보호에 관한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법률」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규정을 준수하여 회원님의 개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신용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정보를 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에게 상품소개 및 홍보 등 영업목적으로 제공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en-US" altLang="ko-KR" sz="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2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수집 및 활용 관련 정보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가 제공되는 삼일회계법인 제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관계사와  제공된 정보의 이용목적은 아래와 같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회원님들 중 이 개인정보의 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자 마케팅 활용동의서 등에 동의하신 회원님들의 정보만이 제공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된 정보는 명시된 이용목적을 벗어나 이용되지 않고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개인정보 유출 등 사고가 일어나지 않도록 더욱 철저한 보안이 이루어지도록 노력하고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endParaRPr lang="en-US" altLang="ko-KR" sz="1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받는 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회계법인 제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관계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아카데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프라이스워터하우스쿠퍼스컨설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삼일인포마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) 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 항목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성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소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직급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메일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 목적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뉴스레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발간물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제공 및 서비스 홍보</a:t>
            </a:r>
          </a:p>
          <a:p>
            <a:pPr algn="just" latinLnBrk="0">
              <a:lnSpc>
                <a:spcPct val="120000"/>
              </a:lnSpc>
              <a:spcAft>
                <a:spcPts val="800"/>
              </a:spcAft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 기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: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제공받는 자의 개인정보취급방침에 따름</a:t>
            </a: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2167101C-93DE-45E7-B449-AF7A372DF235}"/>
              </a:ext>
            </a:extLst>
          </p:cNvPr>
          <p:cNvCxnSpPr>
            <a:cxnSpLocks/>
          </p:cNvCxnSpPr>
          <p:nvPr/>
        </p:nvCxnSpPr>
        <p:spPr>
          <a:xfrm>
            <a:off x="1206103" y="1986464"/>
            <a:ext cx="68400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71BA24D2-BBE7-4BC1-B198-8FC5C67C3FCC}"/>
              </a:ext>
            </a:extLst>
          </p:cNvPr>
          <p:cNvGrpSpPr/>
          <p:nvPr/>
        </p:nvGrpSpPr>
        <p:grpSpPr>
          <a:xfrm>
            <a:off x="7976757" y="1982107"/>
            <a:ext cx="152360" cy="4176309"/>
            <a:chOff x="9201470" y="1601344"/>
            <a:chExt cx="188139" cy="3581559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50029DBB-C194-4D01-BCBA-C2C6D1414820}"/>
                </a:ext>
              </a:extLst>
            </p:cNvPr>
            <p:cNvSpPr/>
            <p:nvPr/>
          </p:nvSpPr>
          <p:spPr>
            <a:xfrm>
              <a:off x="9201472" y="1956585"/>
              <a:ext cx="188114" cy="309793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6883B5E3-4052-4E82-BFB1-9D60FF2CE792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3581559"/>
              <a:chOff x="9201470" y="1601344"/>
              <a:chExt cx="188139" cy="3581559"/>
            </a:xfrm>
          </p:grpSpPr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10031E88-91F7-48F8-9D64-A116C8E7F4D1}"/>
                  </a:ext>
                </a:extLst>
              </p:cNvPr>
              <p:cNvSpPr/>
              <p:nvPr/>
            </p:nvSpPr>
            <p:spPr>
              <a:xfrm>
                <a:off x="9201495" y="171642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05084301-8D0C-4914-8F47-0186EE9FE577}"/>
                  </a:ext>
                </a:extLst>
              </p:cNvPr>
              <p:cNvSpPr/>
              <p:nvPr/>
            </p:nvSpPr>
            <p:spPr>
              <a:xfrm rot="10800000">
                <a:off x="9201470" y="5055003"/>
                <a:ext cx="188114" cy="1279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C64F3399-810A-4DEB-87EB-E8F05C4B748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11508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104" name="직선 연결선 103">
            <a:extLst>
              <a:ext uri="{FF2B5EF4-FFF2-40B4-BE49-F238E27FC236}">
                <a16:creationId xmlns:a16="http://schemas.microsoft.com/office/drawing/2014/main" id="{2D1EE4A9-58D0-49C6-99E5-E422AAA68618}"/>
              </a:ext>
            </a:extLst>
          </p:cNvPr>
          <p:cNvCxnSpPr>
            <a:cxnSpLocks/>
          </p:cNvCxnSpPr>
          <p:nvPr/>
        </p:nvCxnSpPr>
        <p:spPr>
          <a:xfrm>
            <a:off x="1126722" y="5582151"/>
            <a:ext cx="682945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5353ABA1-0CAD-4DEE-9F15-4A385F3EA03F}"/>
              </a:ext>
            </a:extLst>
          </p:cNvPr>
          <p:cNvSpPr/>
          <p:nvPr/>
        </p:nvSpPr>
        <p:spPr>
          <a:xfrm>
            <a:off x="4286528" y="5392648"/>
            <a:ext cx="528626" cy="360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중략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08514B99-76CF-40CB-9C32-403FE6D8E5C4}"/>
              </a:ext>
            </a:extLst>
          </p:cNvPr>
          <p:cNvSpPr/>
          <p:nvPr/>
        </p:nvSpPr>
        <p:spPr>
          <a:xfrm>
            <a:off x="4043808" y="578090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024E5FAE-9296-408D-92DE-3C6A01349563}"/>
              </a:ext>
            </a:extLst>
          </p:cNvPr>
          <p:cNvSpPr/>
          <p:nvPr/>
        </p:nvSpPr>
        <p:spPr>
          <a:xfrm>
            <a:off x="9303999" y="776136"/>
            <a:ext cx="2862495" cy="12103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 동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 버튼 클릭 시 팝업 닫힘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활용동의 전문은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word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 별도 전달 예정</a:t>
            </a:r>
          </a:p>
        </p:txBody>
      </p:sp>
    </p:spTree>
    <p:extLst>
      <p:ext uri="{BB962C8B-B14F-4D97-AF65-F5344CB8AC3E}">
        <p14:creationId xmlns:p14="http://schemas.microsoft.com/office/powerpoint/2010/main" val="1638010386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185863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egal Disclaimer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4250795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7F1A0D4-867F-4392-824B-C029FFC55FAD}"/>
              </a:ext>
            </a:extLst>
          </p:cNvPr>
          <p:cNvSpPr/>
          <p:nvPr/>
        </p:nvSpPr>
        <p:spPr>
          <a:xfrm>
            <a:off x="501642" y="4410184"/>
            <a:ext cx="8049080" cy="13141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847BB8-BBE9-49D4-AAB9-6CBED88B5EC5}"/>
              </a:ext>
            </a:extLst>
          </p:cNvPr>
          <p:cNvSpPr/>
          <p:nvPr/>
        </p:nvSpPr>
        <p:spPr>
          <a:xfrm>
            <a:off x="501642" y="1701023"/>
            <a:ext cx="8049080" cy="22522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AA1FD3-7679-46D5-8349-D11EC14979F4}"/>
              </a:ext>
            </a:extLst>
          </p:cNvPr>
          <p:cNvSpPr txBox="1"/>
          <p:nvPr/>
        </p:nvSpPr>
        <p:spPr>
          <a:xfrm>
            <a:off x="484864" y="150260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3EF91A-3FE4-4120-B3BF-0C09C80BCF9A}"/>
              </a:ext>
            </a:extLst>
          </p:cNvPr>
          <p:cNvSpPr txBox="1"/>
          <p:nvPr/>
        </p:nvSpPr>
        <p:spPr>
          <a:xfrm>
            <a:off x="484864" y="417716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20761DF-E18A-45DD-8000-D2AAD1587641}"/>
              </a:ext>
            </a:extLst>
          </p:cNvPr>
          <p:cNvSpPr/>
          <p:nvPr/>
        </p:nvSpPr>
        <p:spPr>
          <a:xfrm>
            <a:off x="4461186" y="5836076"/>
            <a:ext cx="756000" cy="26583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646954" y="5836076"/>
            <a:ext cx="756000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59" y="1836084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1080073" y="1851443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1080073" y="2097497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787" y="2343372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1107871" y="2367710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3215680" y="234337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503" y="2849979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1117586" y="2874317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93" y="3361571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1132376" y="3385909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3215680" y="2862123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3215680" y="3396016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83" name="그림 82">
            <a:extLst>
              <a:ext uri="{FF2B5EF4-FFF2-40B4-BE49-F238E27FC236}">
                <a16:creationId xmlns:a16="http://schemas.microsoft.com/office/drawing/2014/main" id="{1F5C5807-F24C-4027-A342-98B226BFE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862" y="4490973"/>
            <a:ext cx="209865" cy="209865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1A3AAC32-44EA-450B-80E5-E5E0F88A5722}"/>
              </a:ext>
            </a:extLst>
          </p:cNvPr>
          <p:cNvSpPr txBox="1"/>
          <p:nvPr/>
        </p:nvSpPr>
        <p:spPr>
          <a:xfrm>
            <a:off x="1132376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AB31885-78A9-4825-86F9-4004C0D25B48}"/>
              </a:ext>
            </a:extLst>
          </p:cNvPr>
          <p:cNvSpPr/>
          <p:nvPr/>
        </p:nvSpPr>
        <p:spPr>
          <a:xfrm>
            <a:off x="753862" y="4769451"/>
            <a:ext cx="7502378" cy="793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566F37-5CD7-489D-8879-57688ECC8F04}"/>
              </a:ext>
            </a:extLst>
          </p:cNvPr>
          <p:cNvSpPr txBox="1"/>
          <p:nvPr/>
        </p:nvSpPr>
        <p:spPr>
          <a:xfrm>
            <a:off x="784843" y="4773556"/>
            <a:ext cx="7768086" cy="546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광고성 정보 수신 및 마케팅 활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이메일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2D65BE70-6723-4954-B30C-C75637EDE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4846834"/>
            <a:ext cx="195709" cy="195709"/>
          </a:xfrm>
          <a:prstGeom prst="rect">
            <a:avLst/>
          </a:prstGeom>
        </p:spPr>
      </p:pic>
      <p:pic>
        <p:nvPicPr>
          <p:cNvPr id="88" name="그림 87">
            <a:extLst>
              <a:ext uri="{FF2B5EF4-FFF2-40B4-BE49-F238E27FC236}">
                <a16:creationId xmlns:a16="http://schemas.microsoft.com/office/drawing/2014/main" id="{CDAE42B1-DA14-433E-A39A-391DB9E88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943" y="5096312"/>
            <a:ext cx="195709" cy="195709"/>
          </a:xfrm>
          <a:prstGeom prst="rect">
            <a:avLst/>
          </a:prstGeom>
        </p:spPr>
      </p:pic>
      <p:pic>
        <p:nvPicPr>
          <p:cNvPr id="89" name="그림 88">
            <a:extLst>
              <a:ext uri="{FF2B5EF4-FFF2-40B4-BE49-F238E27FC236}">
                <a16:creationId xmlns:a16="http://schemas.microsoft.com/office/drawing/2014/main" id="{E66E550D-83F7-4065-B590-47B2A495E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5393" y="5108954"/>
            <a:ext cx="195709" cy="195709"/>
          </a:xfrm>
          <a:prstGeom prst="rect">
            <a:avLst/>
          </a:prstGeom>
        </p:spPr>
      </p:pic>
      <p:pic>
        <p:nvPicPr>
          <p:cNvPr id="90" name="그림 89">
            <a:extLst>
              <a:ext uri="{FF2B5EF4-FFF2-40B4-BE49-F238E27FC236}">
                <a16:creationId xmlns:a16="http://schemas.microsoft.com/office/drawing/2014/main" id="{4BC7493C-89D4-4DB3-86E9-6B24914EA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2527" y="4490973"/>
            <a:ext cx="209865" cy="20986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5E0BF18-6816-4C71-B78E-9FEDAC814A1A}"/>
              </a:ext>
            </a:extLst>
          </p:cNvPr>
          <p:cNvSpPr txBox="1"/>
          <p:nvPr/>
        </p:nvSpPr>
        <p:spPr>
          <a:xfrm>
            <a:off x="3031041" y="4511267"/>
            <a:ext cx="4271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11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60D2C95B-3698-4FEF-AC58-F605012551FB}"/>
              </a:ext>
            </a:extLst>
          </p:cNvPr>
          <p:cNvSpPr/>
          <p:nvPr/>
        </p:nvSpPr>
        <p:spPr>
          <a:xfrm>
            <a:off x="3806102" y="4846834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1117586" y="3127369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1112388" y="2614715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1112388" y="3665008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D89B4D8-7A4D-4470-9CC7-FE114A958C68}"/>
              </a:ext>
            </a:extLst>
          </p:cNvPr>
          <p:cNvSpPr txBox="1"/>
          <p:nvPr/>
        </p:nvSpPr>
        <p:spPr>
          <a:xfrm>
            <a:off x="852694" y="5369791"/>
            <a:ext cx="766069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마케팅 동의 항목에 동의하셔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 뉴스레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문자 등 서비스를 제공받을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BAB06164-333A-4203-8F19-BE948B365ED2}"/>
              </a:ext>
            </a:extLst>
          </p:cNvPr>
          <p:cNvSpPr/>
          <p:nvPr/>
        </p:nvSpPr>
        <p:spPr>
          <a:xfrm>
            <a:off x="332992" y="612562"/>
            <a:ext cx="8643327" cy="607081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39CBEB84-043B-4283-B6C5-A8691854F455}"/>
              </a:ext>
            </a:extLst>
          </p:cNvPr>
          <p:cNvSpPr/>
          <p:nvPr/>
        </p:nvSpPr>
        <p:spPr>
          <a:xfrm>
            <a:off x="1080073" y="1551030"/>
            <a:ext cx="7059773" cy="462133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pPr algn="just" fontAlgn="base">
              <a:spcAft>
                <a:spcPts val="2625"/>
              </a:spcAft>
            </a:pPr>
            <a:endParaRPr lang="en-US" altLang="ko-KR" sz="1800" dirty="0">
              <a:solidFill>
                <a:srgbClr val="2D2D2D"/>
              </a:solidFill>
              <a:effectLst/>
              <a:latin typeface="Arial" panose="020B0604020202020204" pitchFamily="34" charset="0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9A6591-978C-4A77-874D-D6971A190D6F}"/>
              </a:ext>
            </a:extLst>
          </p:cNvPr>
          <p:cNvSpPr/>
          <p:nvPr/>
        </p:nvSpPr>
        <p:spPr>
          <a:xfrm>
            <a:off x="1117586" y="1593992"/>
            <a:ext cx="4330342" cy="4508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Legal Disclaimer</a:t>
            </a:r>
            <a:endParaRPr lang="ko-KR" altLang="en-US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E7866178-AD48-40EF-AAE0-9184BDBD91EF}"/>
              </a:ext>
            </a:extLst>
          </p:cNvPr>
          <p:cNvSpPr/>
          <p:nvPr/>
        </p:nvSpPr>
        <p:spPr>
          <a:xfrm>
            <a:off x="1220536" y="2178884"/>
            <a:ext cx="6792052" cy="39873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just" fontAlgn="base">
              <a:lnSpc>
                <a:spcPct val="150000"/>
              </a:lnSpc>
              <a:spcAft>
                <a:spcPts val="2625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포함된 내용은 관심사에 대한 일반적인 안내를 위한 것입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 fontAlgn="base">
              <a:lnSpc>
                <a:spcPct val="150000"/>
              </a:lnSpc>
              <a:spcAft>
                <a:spcPts val="2625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명시된 작성자 또는 발행자 들은 전문적인 세금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ko-KR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법률등에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하여 책임을 지지 않는 것을 이해하여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 fontAlgn="base">
              <a:lnSpc>
                <a:spcPct val="150000"/>
              </a:lnSpc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한 여기에서 명시된 내용을 전문적인 회계 및 세무자문 또는 감사 서비스 등과 동등한 중요도를 가지고 취급해서는 안 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에 따른 어떤 결정과 행동을 하기 전에 반드시 삼일회계법인 전문가와 상의를 하시기 바랍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 fontAlgn="base">
              <a:lnSpc>
                <a:spcPct val="150000"/>
              </a:lnSpc>
              <a:spcAft>
                <a:spcPts val="2625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은 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신뢰할 수 있는 근거를 바탕으로 한 내용을 담기 위해 노력을 하고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방문자가 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정보를 얻어 행동함으로써 발생한 실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누락 등의 모든 결과에 대해서는 책임을 지지 않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 fontAlgn="base">
              <a:lnSpc>
                <a:spcPct val="150000"/>
              </a:lnSpc>
              <a:spcAft>
                <a:spcPts val="2625"/>
              </a:spcAft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되는 모든 내용은 완성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 또는 이 정보를 사용하여 발생하는 결과에 대하여 어떠한 보증도 제공하지 못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just" fontAlgn="base">
              <a:lnSpc>
                <a:spcPct val="150000"/>
              </a:lnSpc>
            </a:pP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다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연결되는 경우 삼일회계법인은 해당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ebsite</a:t>
            </a:r>
            <a:r>
              <a:rPr lang="ko-KR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관한 권한이 없으며 그 쪽에서 제공되는 정보의 정확도나 다른 요소에 관한 것에 대하여 삼일회계법인이 대변하지 않습니다</a:t>
            </a:r>
            <a:r>
              <a:rPr lang="en-US" altLang="ko-KR" sz="800" dirty="0">
                <a:solidFill>
                  <a:srgbClr val="2D2D2D"/>
                </a:solidFill>
                <a:effectLst/>
                <a:latin typeface="Arial" panose="020B0604020202020204" pitchFamily="34" charset="0"/>
                <a:ea typeface="굴림" panose="020B0600000101010101" pitchFamily="50" charset="-127"/>
                <a:cs typeface="굴림" panose="020B0600000101010101" pitchFamily="50" charset="-127"/>
              </a:rPr>
              <a:t>.</a:t>
            </a:r>
            <a:endParaRPr lang="ko-KR" altLang="ko-KR" sz="800" dirty="0">
              <a:effectLst/>
              <a:latin typeface="굴림" panose="020B0600000101010101" pitchFamily="50" charset="-127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F47F4D1C-78D9-42A0-8475-3C8CABA6855D}"/>
              </a:ext>
            </a:extLst>
          </p:cNvPr>
          <p:cNvCxnSpPr>
            <a:cxnSpLocks/>
          </p:cNvCxnSpPr>
          <p:nvPr/>
        </p:nvCxnSpPr>
        <p:spPr>
          <a:xfrm>
            <a:off x="1183176" y="1990274"/>
            <a:ext cx="684000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연결선 99">
            <a:extLst>
              <a:ext uri="{FF2B5EF4-FFF2-40B4-BE49-F238E27FC236}">
                <a16:creationId xmlns:a16="http://schemas.microsoft.com/office/drawing/2014/main" id="{C146443A-EC8F-4AF2-B2C6-FCC761838C24}"/>
              </a:ext>
            </a:extLst>
          </p:cNvPr>
          <p:cNvCxnSpPr>
            <a:cxnSpLocks/>
          </p:cNvCxnSpPr>
          <p:nvPr/>
        </p:nvCxnSpPr>
        <p:spPr>
          <a:xfrm>
            <a:off x="1126722" y="5582151"/>
            <a:ext cx="6829452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C919FACF-819F-4988-9ABF-BD3B15652A14}"/>
              </a:ext>
            </a:extLst>
          </p:cNvPr>
          <p:cNvSpPr/>
          <p:nvPr/>
        </p:nvSpPr>
        <p:spPr>
          <a:xfrm>
            <a:off x="4286528" y="5392648"/>
            <a:ext cx="528626" cy="360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중략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81DB0418-F7EE-40E6-9C0A-C48A261001C9}"/>
              </a:ext>
            </a:extLst>
          </p:cNvPr>
          <p:cNvSpPr/>
          <p:nvPr/>
        </p:nvSpPr>
        <p:spPr>
          <a:xfrm>
            <a:off x="4043808" y="578090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02D295F0-1BC7-44D6-8677-AE1F6D2E21ED}"/>
              </a:ext>
            </a:extLst>
          </p:cNvPr>
          <p:cNvSpPr/>
          <p:nvPr/>
        </p:nvSpPr>
        <p:spPr>
          <a:xfrm>
            <a:off x="9303999" y="776136"/>
            <a:ext cx="2862495" cy="12103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Legal Disclaimer</a:t>
            </a:r>
          </a:p>
          <a:p>
            <a:pPr>
              <a:lnSpc>
                <a:spcPct val="15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 버튼 클릭 시 팝업 닫힘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8799495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페이지 오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0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문의사항 진행현황을 확인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404 Err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생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자가 사용한 이전 페이지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ge Error &gt; 404 Error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3A5A76D-2A1B-4980-892B-EAC494032F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를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찾을 수 없습니다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0A0E35F-A1A5-4444-963B-C0E5F29DAD97}"/>
              </a:ext>
            </a:extLst>
          </p:cNvPr>
          <p:cNvSpPr/>
          <p:nvPr/>
        </p:nvSpPr>
        <p:spPr>
          <a:xfrm>
            <a:off x="427900" y="1942197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하신 페이지가 제거되었거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이 변경되었거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시적으로 사용이 중단되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7808EE6-6034-44B7-8F69-1256D20F3D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11424" y="3194863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시 한번 확인해주세요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96F1AA4F-DB50-4871-B020-85600A43BD26}"/>
              </a:ext>
            </a:extLst>
          </p:cNvPr>
          <p:cNvSpPr/>
          <p:nvPr/>
        </p:nvSpPr>
        <p:spPr>
          <a:xfrm>
            <a:off x="1624054" y="3905624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금 입력하신 주소의 페이지는 사라졌거나 다른 페이지로 변경되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소를 다시 확인해주세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208D3-2C6A-4E2E-96D9-288E09406EC5}"/>
              </a:ext>
            </a:extLst>
          </p:cNvPr>
          <p:cNvGrpSpPr/>
          <p:nvPr/>
        </p:nvGrpSpPr>
        <p:grpSpPr>
          <a:xfrm>
            <a:off x="3644338" y="4483664"/>
            <a:ext cx="1843557" cy="169472"/>
            <a:chOff x="3584679" y="4400905"/>
            <a:chExt cx="1843557" cy="169472"/>
          </a:xfrm>
        </p:grpSpPr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586AD48A-9E84-45B1-B325-D69095E61DF1}"/>
                </a:ext>
              </a:extLst>
            </p:cNvPr>
            <p:cNvSpPr/>
            <p:nvPr/>
          </p:nvSpPr>
          <p:spPr>
            <a:xfrm>
              <a:off x="3584679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전 페이지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54A561BE-BD27-4ABB-B28A-986D0A80902C}"/>
                </a:ext>
              </a:extLst>
            </p:cNvPr>
            <p:cNvSpPr/>
            <p:nvPr/>
          </p:nvSpPr>
          <p:spPr>
            <a:xfrm>
              <a:off x="4564236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홈</a:t>
              </a:r>
            </a:p>
          </p:txBody>
        </p:sp>
      </p:grp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310ADCFB-DA74-492F-BE47-3A675A0D6F9B}"/>
              </a:ext>
            </a:extLst>
          </p:cNvPr>
          <p:cNvSpPr/>
          <p:nvPr/>
        </p:nvSpPr>
        <p:spPr>
          <a:xfrm>
            <a:off x="3571857" y="44008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8C408B60-D0F5-4AC0-A72F-7511409CD668}"/>
              </a:ext>
            </a:extLst>
          </p:cNvPr>
          <p:cNvSpPr/>
          <p:nvPr/>
        </p:nvSpPr>
        <p:spPr>
          <a:xfrm>
            <a:off x="4609032" y="44003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EB710C15-2DF6-4C63-B4CA-6F3B1D830CE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5EFA1F4D-10F5-4ADC-A22B-BC75868F2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77198303-D942-4DB6-ABEC-B3FB256AD11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3E41E3C2-B5DC-41CF-B87C-73672E3C84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FF62B181-8EF9-4BB5-B684-2C112AE03C1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7168177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페이지 오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01/40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문의사항 진행현황을 확인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401/403 Err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생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자가 사용한 이전 페이지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페이지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01 Error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03 Error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rr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에 따라 택일하여 출력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ge Error &gt; 401 Error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3A5A76D-2A1B-4980-892B-EAC494032F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자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이 필요한 페이지 입니다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0A0E35F-A1A5-4444-963B-C0E5F29DAD97}"/>
              </a:ext>
            </a:extLst>
          </p:cNvPr>
          <p:cNvSpPr/>
          <p:nvPr/>
        </p:nvSpPr>
        <p:spPr>
          <a:xfrm>
            <a:off x="427900" y="1942197"/>
            <a:ext cx="6804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죄송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페이지는 사용자 인증이 필요한 페이지입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절차 후 다시 방문해주십시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7808EE6-6034-44B7-8F69-1256D20F3D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11424" y="3194863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자 인증 후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다시 방문해주세요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96F1AA4F-DB50-4871-B020-85600A43BD26}"/>
              </a:ext>
            </a:extLst>
          </p:cNvPr>
          <p:cNvSpPr/>
          <p:nvPr/>
        </p:nvSpPr>
        <p:spPr>
          <a:xfrm>
            <a:off x="1624054" y="3905624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페이지는 인증이 필요한 페이지입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후 다시 확인해주세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lang="en-US" altLang="ko-KR" sz="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401 Error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필요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208D3-2C6A-4E2E-96D9-288E09406EC5}"/>
              </a:ext>
            </a:extLst>
          </p:cNvPr>
          <p:cNvGrpSpPr/>
          <p:nvPr/>
        </p:nvGrpSpPr>
        <p:grpSpPr>
          <a:xfrm>
            <a:off x="3644338" y="4483664"/>
            <a:ext cx="1843557" cy="169472"/>
            <a:chOff x="3584679" y="4400905"/>
            <a:chExt cx="1843557" cy="169472"/>
          </a:xfrm>
        </p:grpSpPr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586AD48A-9E84-45B1-B325-D69095E61DF1}"/>
                </a:ext>
              </a:extLst>
            </p:cNvPr>
            <p:cNvSpPr/>
            <p:nvPr/>
          </p:nvSpPr>
          <p:spPr>
            <a:xfrm>
              <a:off x="3584679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전 페이지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54A561BE-BD27-4ABB-B28A-986D0A80902C}"/>
                </a:ext>
              </a:extLst>
            </p:cNvPr>
            <p:cNvSpPr/>
            <p:nvPr/>
          </p:nvSpPr>
          <p:spPr>
            <a:xfrm>
              <a:off x="4564236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그인</a:t>
              </a:r>
            </a:p>
          </p:txBody>
        </p:sp>
      </p:grp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310ADCFB-DA74-492F-BE47-3A675A0D6F9B}"/>
              </a:ext>
            </a:extLst>
          </p:cNvPr>
          <p:cNvSpPr/>
          <p:nvPr/>
        </p:nvSpPr>
        <p:spPr>
          <a:xfrm>
            <a:off x="3571857" y="44008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8C408B60-D0F5-4AC0-A72F-7511409CD668}"/>
              </a:ext>
            </a:extLst>
          </p:cNvPr>
          <p:cNvSpPr/>
          <p:nvPr/>
        </p:nvSpPr>
        <p:spPr>
          <a:xfrm>
            <a:off x="4609032" y="44003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B289DB74-D90B-478E-A5F2-683D6E25F536}"/>
              </a:ext>
            </a:extLst>
          </p:cNvPr>
          <p:cNvSpPr/>
          <p:nvPr/>
        </p:nvSpPr>
        <p:spPr>
          <a:xfrm>
            <a:off x="5159423" y="41274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A3D44D1C-4AF5-4918-9B3A-8F2DF7692B3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FB2260A2-77A4-4DB4-97D2-B100F02715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439B6BAF-D572-46DE-AD1C-54EDF4E9679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8EE43A2E-A53D-44AE-8BD3-840997CB64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A929CD67-FC42-4C8A-85C1-34CF8A29B95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4218614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페이지 오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00/500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자가 등록한 문의와 문의사항 진행현황을 확인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400/500 Err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생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자가 사용한 이전 페이지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00 Error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잘못된 요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0 Error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부 서버 오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rror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에 따라 택일하여 출력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ge Error &gt; 500 Error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3A5A76D-2A1B-4980-892B-EAC494032F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에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접속할 수 없습니다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0A0E35F-A1A5-4444-963B-C0E5F29DAD97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죄송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술적인 문제로 일시적으로 접속되지 않았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시 후 다시 이용 부탁드리며 이용에 불편을 드린 점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과드립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7808EE6-6034-44B7-8F69-1256D20F3D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11424" y="3194863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시 후 다시 확인해주세요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96F1AA4F-DB50-4871-B020-85600A43BD26}"/>
              </a:ext>
            </a:extLst>
          </p:cNvPr>
          <p:cNvSpPr/>
          <p:nvPr/>
        </p:nvSpPr>
        <p:spPr>
          <a:xfrm>
            <a:off x="1624054" y="3905624"/>
            <a:ext cx="5884124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금 이 서비스와 연결할 수 없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제를 해결하기 위해 열심히 노력하고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시 후 다시 확인해주세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b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br>
              <a:rPr kumimoji="0" lang="en-US" altLang="ko-KR" sz="2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500 Error: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부 서버 오류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208D3-2C6A-4E2E-96D9-288E09406EC5}"/>
              </a:ext>
            </a:extLst>
          </p:cNvPr>
          <p:cNvGrpSpPr/>
          <p:nvPr/>
        </p:nvGrpSpPr>
        <p:grpSpPr>
          <a:xfrm>
            <a:off x="3644338" y="4483664"/>
            <a:ext cx="1843557" cy="169472"/>
            <a:chOff x="3584679" y="4400905"/>
            <a:chExt cx="1843557" cy="169472"/>
          </a:xfrm>
        </p:grpSpPr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586AD48A-9E84-45B1-B325-D69095E61DF1}"/>
                </a:ext>
              </a:extLst>
            </p:cNvPr>
            <p:cNvSpPr/>
            <p:nvPr/>
          </p:nvSpPr>
          <p:spPr>
            <a:xfrm>
              <a:off x="3584679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전 페이지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54A561BE-BD27-4ABB-B28A-986D0A80902C}"/>
                </a:ext>
              </a:extLst>
            </p:cNvPr>
            <p:cNvSpPr/>
            <p:nvPr/>
          </p:nvSpPr>
          <p:spPr>
            <a:xfrm>
              <a:off x="4564236" y="4400905"/>
              <a:ext cx="864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홈</a:t>
              </a:r>
            </a:p>
          </p:txBody>
        </p:sp>
      </p:grp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310ADCFB-DA74-492F-BE47-3A675A0D6F9B}"/>
              </a:ext>
            </a:extLst>
          </p:cNvPr>
          <p:cNvSpPr/>
          <p:nvPr/>
        </p:nvSpPr>
        <p:spPr>
          <a:xfrm>
            <a:off x="3571857" y="44008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8C408B60-D0F5-4AC0-A72F-7511409CD668}"/>
              </a:ext>
            </a:extLst>
          </p:cNvPr>
          <p:cNvSpPr/>
          <p:nvPr/>
        </p:nvSpPr>
        <p:spPr>
          <a:xfrm>
            <a:off x="4609032" y="44003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103FFE02-C235-40E3-9E59-7E06E3385266}"/>
              </a:ext>
            </a:extLst>
          </p:cNvPr>
          <p:cNvSpPr/>
          <p:nvPr/>
        </p:nvSpPr>
        <p:spPr>
          <a:xfrm>
            <a:off x="5303912" y="41274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1044161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059603"/>
              </p:ext>
            </p:extLst>
          </p:nvPr>
        </p:nvGraphicFramePr>
        <p:xfrm>
          <a:off x="1" y="-27384"/>
          <a:ext cx="12191999" cy="5171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7938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007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유도 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526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만 접근 가능한 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클릭 시 출력 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887012"/>
              </p:ext>
            </p:extLst>
          </p:nvPr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만 접근 가능한 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클릭 시 출력 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 : H003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 : H0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4586" y="574140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age Error &gt; 500 Error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0384132F-97B6-4A2F-B8F1-63FA4AE1D6E4}"/>
              </a:ext>
            </a:extLst>
          </p:cNvPr>
          <p:cNvCxnSpPr>
            <a:cxnSpLocks/>
          </p:cNvCxnSpPr>
          <p:nvPr/>
        </p:nvCxnSpPr>
        <p:spPr>
          <a:xfrm>
            <a:off x="3036502" y="2528580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C5AEC7F-4673-4B2C-83B5-698C06314C5F}"/>
              </a:ext>
            </a:extLst>
          </p:cNvPr>
          <p:cNvSpPr/>
          <p:nvPr/>
        </p:nvSpPr>
        <p:spPr>
          <a:xfrm>
            <a:off x="3054083" y="2104320"/>
            <a:ext cx="3384376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찾기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8EF91A6C-A556-4753-933F-0F48ADCDD167}"/>
              </a:ext>
            </a:extLst>
          </p:cNvPr>
          <p:cNvSpPr/>
          <p:nvPr/>
        </p:nvSpPr>
        <p:spPr>
          <a:xfrm>
            <a:off x="3054083" y="288040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FEA1C5BB-8111-4C66-8E6D-A4376C1D3ACB}"/>
              </a:ext>
            </a:extLst>
          </p:cNvPr>
          <p:cNvSpPr/>
          <p:nvPr/>
        </p:nvSpPr>
        <p:spPr>
          <a:xfrm>
            <a:off x="3036503" y="4002648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F5E63FFA-3281-460F-8578-1423D3329DFF}"/>
              </a:ext>
            </a:extLst>
          </p:cNvPr>
          <p:cNvSpPr/>
          <p:nvPr/>
        </p:nvSpPr>
        <p:spPr>
          <a:xfrm>
            <a:off x="2998903" y="3307080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3B3BA1E-58C2-43B3-84C5-B15005C97190}"/>
              </a:ext>
            </a:extLst>
          </p:cNvPr>
          <p:cNvSpPr/>
          <p:nvPr/>
        </p:nvSpPr>
        <p:spPr>
          <a:xfrm>
            <a:off x="3054083" y="3525675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.kim@pwc.com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7E073E44-6262-45CB-B31E-ACE699815337}"/>
              </a:ext>
            </a:extLst>
          </p:cNvPr>
          <p:cNvSpPr/>
          <p:nvPr/>
        </p:nvSpPr>
        <p:spPr>
          <a:xfrm>
            <a:off x="2998902" y="2709722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A4D4ABA-74FC-413F-8391-2FCDD1E53756}"/>
              </a:ext>
            </a:extLst>
          </p:cNvPr>
          <p:cNvGrpSpPr/>
          <p:nvPr/>
        </p:nvGrpSpPr>
        <p:grpSpPr>
          <a:xfrm>
            <a:off x="2888880" y="2179434"/>
            <a:ext cx="3651596" cy="2420192"/>
            <a:chOff x="886236" y="2420888"/>
            <a:chExt cx="3049524" cy="1944216"/>
          </a:xfrm>
        </p:grpSpPr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9E04E5D3-742E-4805-B1C5-1E4411700AC3}"/>
                </a:ext>
              </a:extLst>
            </p:cNvPr>
            <p:cNvSpPr/>
            <p:nvPr/>
          </p:nvSpPr>
          <p:spPr>
            <a:xfrm>
              <a:off x="886236" y="2420888"/>
              <a:ext cx="3049524" cy="194421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그인한 회원만 이용 가능한 서비스입니다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868B7D64-BBE7-45CD-B5E6-5146D3303E8B}"/>
                </a:ext>
              </a:extLst>
            </p:cNvPr>
            <p:cNvSpPr/>
            <p:nvPr/>
          </p:nvSpPr>
          <p:spPr>
            <a:xfrm>
              <a:off x="1432529" y="3582387"/>
              <a:ext cx="579960" cy="18296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00" b="1" spc="-3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취소</a:t>
              </a:r>
              <a:endPara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2440760D-CBAC-4BBE-8D1A-0EE45B555564}"/>
              </a:ext>
            </a:extLst>
          </p:cNvPr>
          <p:cNvSpPr/>
          <p:nvPr/>
        </p:nvSpPr>
        <p:spPr>
          <a:xfrm>
            <a:off x="4339507" y="3625287"/>
            <a:ext cx="694462" cy="22775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466EDA2D-9240-490A-AA9D-6DD4AFD31C71}"/>
              </a:ext>
            </a:extLst>
          </p:cNvPr>
          <p:cNvSpPr/>
          <p:nvPr/>
        </p:nvSpPr>
        <p:spPr>
          <a:xfrm>
            <a:off x="5131642" y="3621621"/>
            <a:ext cx="694462" cy="22775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22292C84-0947-45B0-9DDD-61C6337074A8}"/>
              </a:ext>
            </a:extLst>
          </p:cNvPr>
          <p:cNvSpPr/>
          <p:nvPr/>
        </p:nvSpPr>
        <p:spPr>
          <a:xfrm>
            <a:off x="3457322" y="35540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13A9EF50-6C28-4E4E-A12E-DB19BD8A6D68}"/>
              </a:ext>
            </a:extLst>
          </p:cNvPr>
          <p:cNvSpPr/>
          <p:nvPr/>
        </p:nvSpPr>
        <p:spPr>
          <a:xfrm>
            <a:off x="4302834" y="35540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5E6F2D5-EE17-4B16-90AB-BC022F7D9A07}"/>
              </a:ext>
            </a:extLst>
          </p:cNvPr>
          <p:cNvSpPr/>
          <p:nvPr/>
        </p:nvSpPr>
        <p:spPr>
          <a:xfrm>
            <a:off x="5106667" y="35540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9BA23A38-45FD-4F26-9594-127C7B04BF2B}"/>
              </a:ext>
            </a:extLst>
          </p:cNvPr>
          <p:cNvSpPr/>
          <p:nvPr/>
        </p:nvSpPr>
        <p:spPr>
          <a:xfrm>
            <a:off x="9261385" y="1"/>
            <a:ext cx="2950181" cy="57413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회원만 접근 가능한 컨텐츠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서비스 클릭 시 출력 팝업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5375071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77572"/>
              </p:ext>
            </p:extLst>
          </p:nvPr>
        </p:nvGraphicFramePr>
        <p:xfrm>
          <a:off x="1" y="0"/>
          <a:ext cx="12191999" cy="492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전송 확인 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497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전송 확인 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743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313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1807118"/>
                <a:ext cx="188114" cy="303853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65F104A6-582F-4269-BC5A-B3D7A0A46AB9}"/>
              </a:ext>
            </a:extLst>
          </p:cNvPr>
          <p:cNvGrpSpPr/>
          <p:nvPr/>
        </p:nvGrpSpPr>
        <p:grpSpPr>
          <a:xfrm>
            <a:off x="3569366" y="1568235"/>
            <a:ext cx="2185272" cy="512152"/>
            <a:chOff x="3219789" y="2007332"/>
            <a:chExt cx="2853775" cy="668826"/>
          </a:xfrm>
        </p:grpSpPr>
        <p:sp>
          <p:nvSpPr>
            <p:cNvPr id="9" name="타원 8">
              <a:extLst>
                <a:ext uri="{FF2B5EF4-FFF2-40B4-BE49-F238E27FC236}">
                  <a16:creationId xmlns:a16="http://schemas.microsoft.com/office/drawing/2014/main" id="{59718F04-31C9-4BB3-81B2-DAECD26EE556}"/>
                </a:ext>
              </a:extLst>
            </p:cNvPr>
            <p:cNvSpPr/>
            <p:nvPr/>
          </p:nvSpPr>
          <p:spPr>
            <a:xfrm>
              <a:off x="3477909" y="2007332"/>
              <a:ext cx="367214" cy="367214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02DBBBE-3B78-4BE1-89E3-066A93B69FEB}"/>
                </a:ext>
              </a:extLst>
            </p:cNvPr>
            <p:cNvSpPr/>
            <p:nvPr/>
          </p:nvSpPr>
          <p:spPr>
            <a:xfrm>
              <a:off x="3219789" y="2422106"/>
              <a:ext cx="926949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약관동의</a:t>
              </a: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F9B74C3-4889-4FC1-A0FF-8660CFCB0537}"/>
                </a:ext>
              </a:extLst>
            </p:cNvPr>
            <p:cNvGrpSpPr/>
            <p:nvPr/>
          </p:nvGrpSpPr>
          <p:grpSpPr>
            <a:xfrm>
              <a:off x="4474996" y="2007332"/>
              <a:ext cx="367213" cy="367213"/>
              <a:chOff x="3477910" y="2060957"/>
              <a:chExt cx="367213" cy="367213"/>
            </a:xfrm>
          </p:grpSpPr>
          <p:sp>
            <p:nvSpPr>
              <p:cNvPr id="96" name="타원 95">
                <a:extLst>
                  <a:ext uri="{FF2B5EF4-FFF2-40B4-BE49-F238E27FC236}">
                    <a16:creationId xmlns:a16="http://schemas.microsoft.com/office/drawing/2014/main" id="{F546EEEF-D57A-4631-AE36-2DFEC3313A81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19050">
                <a:solidFill>
                  <a:srgbClr val="C046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0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55A7B167-A0CA-48CC-A7C7-FF68025C173E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04600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</a:p>
            </p:txBody>
          </p:sp>
        </p:grp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2030D2B-7FEA-4061-8DCF-06821C94B238}"/>
                </a:ext>
              </a:extLst>
            </p:cNvPr>
            <p:cNvSpPr/>
            <p:nvPr/>
          </p:nvSpPr>
          <p:spPr>
            <a:xfrm>
              <a:off x="4199303" y="2414670"/>
              <a:ext cx="947421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입력</a:t>
              </a:r>
            </a:p>
          </p:txBody>
        </p: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CFD26C24-26E9-4609-B3BD-C0119C428ECB}"/>
                </a:ext>
              </a:extLst>
            </p:cNvPr>
            <p:cNvGrpSpPr/>
            <p:nvPr/>
          </p:nvGrpSpPr>
          <p:grpSpPr>
            <a:xfrm>
              <a:off x="5455571" y="2025292"/>
              <a:ext cx="367213" cy="367213"/>
              <a:chOff x="3477910" y="2060957"/>
              <a:chExt cx="367213" cy="367213"/>
            </a:xfrm>
          </p:grpSpPr>
          <p:sp>
            <p:nvSpPr>
              <p:cNvPr id="103" name="타원 102">
                <a:extLst>
                  <a:ext uri="{FF2B5EF4-FFF2-40B4-BE49-F238E27FC236}">
                    <a16:creationId xmlns:a16="http://schemas.microsoft.com/office/drawing/2014/main" id="{4E277DD4-C473-46DA-8A42-10B6B36EE597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303EE1D4-98A6-4136-9E33-019E75B5F774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</a:p>
            </p:txBody>
          </p:sp>
        </p:grp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A23D7FE9-34DB-4C3D-867D-59C0520627C8}"/>
                </a:ext>
              </a:extLst>
            </p:cNvPr>
            <p:cNvSpPr/>
            <p:nvPr/>
          </p:nvSpPr>
          <p:spPr>
            <a:xfrm>
              <a:off x="5204789" y="2414670"/>
              <a:ext cx="868775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완료</a:t>
              </a:r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AF8442EC-5274-4D81-A793-91CE6FFAA208}"/>
                </a:ext>
              </a:extLst>
            </p:cNvPr>
            <p:cNvSpPr/>
            <p:nvPr/>
          </p:nvSpPr>
          <p:spPr>
            <a:xfrm>
              <a:off x="4053521" y="2154225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9E5B7C87-1075-4783-9DE4-F9F0BCF2DECA}"/>
                </a:ext>
              </a:extLst>
            </p:cNvPr>
            <p:cNvSpPr/>
            <p:nvPr/>
          </p:nvSpPr>
          <p:spPr>
            <a:xfrm>
              <a:off x="4212142" y="2154402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7" name="타원 106">
              <a:extLst>
                <a:ext uri="{FF2B5EF4-FFF2-40B4-BE49-F238E27FC236}">
                  <a16:creationId xmlns:a16="http://schemas.microsoft.com/office/drawing/2014/main" id="{7B9BA0F9-CE17-45EF-A7F4-5B1EDB820B78}"/>
                </a:ext>
              </a:extLst>
            </p:cNvPr>
            <p:cNvSpPr/>
            <p:nvPr/>
          </p:nvSpPr>
          <p:spPr>
            <a:xfrm>
              <a:off x="5045239" y="2165339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8" name="타원 107">
              <a:extLst>
                <a:ext uri="{FF2B5EF4-FFF2-40B4-BE49-F238E27FC236}">
                  <a16:creationId xmlns:a16="http://schemas.microsoft.com/office/drawing/2014/main" id="{895D2786-DB33-47F2-AD67-9D0FEE6A22CE}"/>
                </a:ext>
              </a:extLst>
            </p:cNvPr>
            <p:cNvSpPr/>
            <p:nvPr/>
          </p:nvSpPr>
          <p:spPr>
            <a:xfrm>
              <a:off x="5203860" y="2165516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6AADF247-5A8D-4ABD-848B-2B076DF4B11D}"/>
              </a:ext>
            </a:extLst>
          </p:cNvPr>
          <p:cNvSpPr/>
          <p:nvPr/>
        </p:nvSpPr>
        <p:spPr>
          <a:xfrm>
            <a:off x="499842" y="2060848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 정보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CA6BA3-6CB6-480A-A8B4-E787DE233F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21066" y="1633900"/>
            <a:ext cx="157441" cy="157441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DEA5259-30ED-482E-B86D-2CC11CE7133B}"/>
              </a:ext>
            </a:extLst>
          </p:cNvPr>
          <p:cNvCxnSpPr>
            <a:cxnSpLocks/>
          </p:cNvCxnSpPr>
          <p:nvPr/>
        </p:nvCxnSpPr>
        <p:spPr>
          <a:xfrm>
            <a:off x="566604" y="2340991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B1282FFC-9C61-4878-9292-0C0B58754651}"/>
              </a:ext>
            </a:extLst>
          </p:cNvPr>
          <p:cNvSpPr/>
          <p:nvPr/>
        </p:nvSpPr>
        <p:spPr>
          <a:xfrm>
            <a:off x="583769" y="2386973"/>
            <a:ext cx="8049080" cy="155131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112" name="표 2">
            <a:extLst>
              <a:ext uri="{FF2B5EF4-FFF2-40B4-BE49-F238E27FC236}">
                <a16:creationId xmlns:a16="http://schemas.microsoft.com/office/drawing/2014/main" id="{5217C0BF-5C02-45E4-BAB9-6EB5C7DFD382}"/>
              </a:ext>
            </a:extLst>
          </p:cNvPr>
          <p:cNvGraphicFramePr>
            <a:graphicFrameLocks noGrp="1"/>
          </p:cNvGraphicFramePr>
          <p:nvPr/>
        </p:nvGraphicFramePr>
        <p:xfrm>
          <a:off x="613850" y="2425933"/>
          <a:ext cx="8018999" cy="14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4335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54664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확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화번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9520980"/>
                  </a:ext>
                </a:extLst>
              </a:tr>
            </a:tbl>
          </a:graphicData>
        </a:graphic>
      </p:graphicFrame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9F184F00-9ED2-4604-A55A-42FB69632B06}"/>
              </a:ext>
            </a:extLst>
          </p:cNvPr>
          <p:cNvSpPr/>
          <p:nvPr/>
        </p:nvSpPr>
        <p:spPr>
          <a:xfrm>
            <a:off x="2115384" y="2457543"/>
            <a:ext cx="2614043" cy="21544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를 입력해주세요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7F828E6-91AE-449D-AD6E-2CD2CF657E4D}"/>
              </a:ext>
            </a:extLst>
          </p:cNvPr>
          <p:cNvSpPr txBox="1"/>
          <p:nvPr/>
        </p:nvSpPr>
        <p:spPr>
          <a:xfrm>
            <a:off x="5566069" y="2465932"/>
            <a:ext cx="316402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 이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1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리 이하의 영문 혹은 영문과 숫자를 조합</a:t>
            </a: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732C13D4-9D45-4F08-8EB5-11E65065CCBB}"/>
              </a:ext>
            </a:extLst>
          </p:cNvPr>
          <p:cNvSpPr/>
          <p:nvPr/>
        </p:nvSpPr>
        <p:spPr>
          <a:xfrm>
            <a:off x="2115384" y="2752751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입력해주세요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B817C5A-D796-439D-AEB8-3268B7288BDE}"/>
              </a:ext>
            </a:extLst>
          </p:cNvPr>
          <p:cNvSpPr txBox="1"/>
          <p:nvPr/>
        </p:nvSpPr>
        <p:spPr>
          <a:xfrm>
            <a:off x="4801946" y="2759322"/>
            <a:ext cx="396564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숫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특수문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백제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허용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이상 조합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최소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8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자 이상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, 16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자 이하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5443B587-77B8-4C89-A65E-C928BBD4735E}"/>
              </a:ext>
            </a:extLst>
          </p:cNvPr>
          <p:cNvSpPr/>
          <p:nvPr/>
        </p:nvSpPr>
        <p:spPr>
          <a:xfrm>
            <a:off x="2115384" y="3031465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한번 더 입력해주세요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979DFB-3A3D-45C7-95A6-B44666835940}"/>
              </a:ext>
            </a:extLst>
          </p:cNvPr>
          <p:cNvSpPr/>
          <p:nvPr/>
        </p:nvSpPr>
        <p:spPr>
          <a:xfrm>
            <a:off x="2115384" y="3324206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을 입력해주세요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96C515F2-0E73-40CF-87D1-8B400E3C0F2F}"/>
              </a:ext>
            </a:extLst>
          </p:cNvPr>
          <p:cNvSpPr/>
          <p:nvPr/>
        </p:nvSpPr>
        <p:spPr>
          <a:xfrm>
            <a:off x="2997414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E18ED1E9-87BF-4BDA-B75D-08FD83B367D3}"/>
              </a:ext>
            </a:extLst>
          </p:cNvPr>
          <p:cNvSpPr/>
          <p:nvPr/>
        </p:nvSpPr>
        <p:spPr>
          <a:xfrm>
            <a:off x="4782553" y="2465932"/>
            <a:ext cx="710979" cy="206043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중복 확인</a:t>
            </a: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E76D6644-46B5-4C42-AEAC-C027161A9F2D}"/>
              </a:ext>
            </a:extLst>
          </p:cNvPr>
          <p:cNvSpPr/>
          <p:nvPr/>
        </p:nvSpPr>
        <p:spPr>
          <a:xfrm>
            <a:off x="4735955" y="24434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B5DB6009-99DF-4F5B-9BBF-C28BFFB092BB}"/>
              </a:ext>
            </a:extLst>
          </p:cNvPr>
          <p:cNvSpPr/>
          <p:nvPr/>
        </p:nvSpPr>
        <p:spPr>
          <a:xfrm>
            <a:off x="2141311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4A2389D1-5BB3-409A-B418-BE15BF45F197}"/>
              </a:ext>
            </a:extLst>
          </p:cNvPr>
          <p:cNvSpPr/>
          <p:nvPr/>
        </p:nvSpPr>
        <p:spPr>
          <a:xfrm>
            <a:off x="3860850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26" name="직선 연결선 125">
            <a:extLst>
              <a:ext uri="{FF2B5EF4-FFF2-40B4-BE49-F238E27FC236}">
                <a16:creationId xmlns:a16="http://schemas.microsoft.com/office/drawing/2014/main" id="{BF63AB66-C277-4DF4-890D-0A1577EF5FAC}"/>
              </a:ext>
            </a:extLst>
          </p:cNvPr>
          <p:cNvCxnSpPr/>
          <p:nvPr/>
        </p:nvCxnSpPr>
        <p:spPr>
          <a:xfrm>
            <a:off x="2847059" y="3704078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연결선 126">
            <a:extLst>
              <a:ext uri="{FF2B5EF4-FFF2-40B4-BE49-F238E27FC236}">
                <a16:creationId xmlns:a16="http://schemas.microsoft.com/office/drawing/2014/main" id="{731AC3C5-E39A-4018-8594-69DE1506AD05}"/>
              </a:ext>
            </a:extLst>
          </p:cNvPr>
          <p:cNvCxnSpPr/>
          <p:nvPr/>
        </p:nvCxnSpPr>
        <p:spPr>
          <a:xfrm>
            <a:off x="3717495" y="3704078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이등변 삼각형 127">
            <a:extLst>
              <a:ext uri="{FF2B5EF4-FFF2-40B4-BE49-F238E27FC236}">
                <a16:creationId xmlns:a16="http://schemas.microsoft.com/office/drawing/2014/main" id="{AA3B5F87-AFC9-4F1E-802C-AEE22EA531F6}"/>
              </a:ext>
            </a:extLst>
          </p:cNvPr>
          <p:cNvSpPr/>
          <p:nvPr/>
        </p:nvSpPr>
        <p:spPr>
          <a:xfrm flipV="1">
            <a:off x="2681775" y="3682229"/>
            <a:ext cx="88706" cy="62755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C1C6BBED-3328-4C50-A506-EBA80DE7E712}"/>
              </a:ext>
            </a:extLst>
          </p:cNvPr>
          <p:cNvSpPr/>
          <p:nvPr/>
        </p:nvSpPr>
        <p:spPr>
          <a:xfrm>
            <a:off x="2155540" y="3629212"/>
            <a:ext cx="497696" cy="1465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B0482722-8EAE-47B1-B281-03A81B35C3F3}"/>
              </a:ext>
            </a:extLst>
          </p:cNvPr>
          <p:cNvSpPr/>
          <p:nvPr/>
        </p:nvSpPr>
        <p:spPr>
          <a:xfrm>
            <a:off x="2059503" y="35527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C277009B-06A8-4867-84B5-AFABC03B55C3}"/>
              </a:ext>
            </a:extLst>
          </p:cNvPr>
          <p:cNvSpPr/>
          <p:nvPr/>
        </p:nvSpPr>
        <p:spPr>
          <a:xfrm>
            <a:off x="5751564" y="3617007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이등변 삼각형 133">
            <a:extLst>
              <a:ext uri="{FF2B5EF4-FFF2-40B4-BE49-F238E27FC236}">
                <a16:creationId xmlns:a16="http://schemas.microsoft.com/office/drawing/2014/main" id="{895D9872-0169-4A95-A7BA-C5518332285D}"/>
              </a:ext>
            </a:extLst>
          </p:cNvPr>
          <p:cNvSpPr/>
          <p:nvPr/>
        </p:nvSpPr>
        <p:spPr>
          <a:xfrm flipV="1">
            <a:off x="6292028" y="3694536"/>
            <a:ext cx="88706" cy="62755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E30EEA41-5E85-4489-8D70-028AEED5DD2B}"/>
              </a:ext>
            </a:extLst>
          </p:cNvPr>
          <p:cNvSpPr/>
          <p:nvPr/>
        </p:nvSpPr>
        <p:spPr>
          <a:xfrm>
            <a:off x="5678184" y="35738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330C0F12-E2AA-4A76-A7FF-2A0525EA3746}"/>
              </a:ext>
            </a:extLst>
          </p:cNvPr>
          <p:cNvSpPr/>
          <p:nvPr/>
        </p:nvSpPr>
        <p:spPr>
          <a:xfrm>
            <a:off x="529832" y="4095612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정보</a:t>
            </a:r>
          </a:p>
        </p:txBody>
      </p:sp>
      <p:cxnSp>
        <p:nvCxnSpPr>
          <p:cNvPr id="156" name="직선 연결선 155">
            <a:extLst>
              <a:ext uri="{FF2B5EF4-FFF2-40B4-BE49-F238E27FC236}">
                <a16:creationId xmlns:a16="http://schemas.microsoft.com/office/drawing/2014/main" id="{65B36B0C-42CD-424A-AEE2-137DECAC6BE9}"/>
              </a:ext>
            </a:extLst>
          </p:cNvPr>
          <p:cNvCxnSpPr>
            <a:cxnSpLocks/>
          </p:cNvCxnSpPr>
          <p:nvPr/>
        </p:nvCxnSpPr>
        <p:spPr>
          <a:xfrm>
            <a:off x="596594" y="4375755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CE78C4C7-0330-4679-861D-30FDD4D163FC}"/>
              </a:ext>
            </a:extLst>
          </p:cNvPr>
          <p:cNvSpPr/>
          <p:nvPr/>
        </p:nvSpPr>
        <p:spPr>
          <a:xfrm>
            <a:off x="588442" y="4467739"/>
            <a:ext cx="8049080" cy="18745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158" name="표 2">
            <a:extLst>
              <a:ext uri="{FF2B5EF4-FFF2-40B4-BE49-F238E27FC236}">
                <a16:creationId xmlns:a16="http://schemas.microsoft.com/office/drawing/2014/main" id="{860CFB9D-029E-4A3F-9B89-59419BFBB5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183087"/>
              </p:ext>
            </p:extLst>
          </p:nvPr>
        </p:nvGraphicFramePr>
        <p:xfrm>
          <a:off x="630628" y="4495409"/>
          <a:ext cx="8033096" cy="18858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6733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66363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이메일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  <a:tr h="4458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85322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전화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751735"/>
                  </a:ext>
                </a:extLst>
              </a:tr>
            </a:tbl>
          </a:graphicData>
        </a:graphic>
      </p:graphicFrame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F08F0066-9665-4767-922D-1ECEB4D6ECB2}"/>
              </a:ext>
            </a:extLst>
          </p:cNvPr>
          <p:cNvSpPr/>
          <p:nvPr/>
        </p:nvSpPr>
        <p:spPr>
          <a:xfrm>
            <a:off x="2092246" y="4533559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명을 입력해주세요</a:t>
            </a:r>
          </a:p>
        </p:txBody>
      </p:sp>
      <p:sp>
        <p:nvSpPr>
          <p:cNvPr id="160" name="사각형: 둥근 모서리 159">
            <a:extLst>
              <a:ext uri="{FF2B5EF4-FFF2-40B4-BE49-F238E27FC236}">
                <a16:creationId xmlns:a16="http://schemas.microsoft.com/office/drawing/2014/main" id="{1848C716-5A50-4978-A1B4-EC5EED94AE03}"/>
              </a:ext>
            </a:extLst>
          </p:cNvPr>
          <p:cNvSpPr/>
          <p:nvPr/>
        </p:nvSpPr>
        <p:spPr>
          <a:xfrm>
            <a:off x="4770558" y="4533559"/>
            <a:ext cx="710979" cy="21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검색</a:t>
            </a:r>
          </a:p>
        </p:txBody>
      </p: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F6142F7F-3230-4EAA-932E-C1ED9AA5F594}"/>
              </a:ext>
            </a:extLst>
          </p:cNvPr>
          <p:cNvSpPr/>
          <p:nvPr/>
        </p:nvSpPr>
        <p:spPr>
          <a:xfrm>
            <a:off x="2092246" y="4817792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내 부서명을 입력해주세요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E76985B0-C474-4CC7-8BDA-8F4F4BEA86E8}"/>
              </a:ext>
            </a:extLst>
          </p:cNvPr>
          <p:cNvSpPr/>
          <p:nvPr/>
        </p:nvSpPr>
        <p:spPr>
          <a:xfrm>
            <a:off x="2092245" y="5111081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내 직급을 입력해주세요</a:t>
            </a: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B63DCE24-2DA1-476E-9AE2-179F4DE0A62A}"/>
              </a:ext>
            </a:extLst>
          </p:cNvPr>
          <p:cNvSpPr/>
          <p:nvPr/>
        </p:nvSpPr>
        <p:spPr>
          <a:xfrm>
            <a:off x="2103388" y="5395314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에서 사용하는 이메일을 입력해주세요</a:t>
            </a: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84B1F2CA-995C-43B5-9E9F-8CA7B2453730}"/>
              </a:ext>
            </a:extLst>
          </p:cNvPr>
          <p:cNvSpPr/>
          <p:nvPr/>
        </p:nvSpPr>
        <p:spPr>
          <a:xfrm>
            <a:off x="4719619" y="44951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AB9C7392-37B6-471A-A56C-1692D653C4C0}"/>
              </a:ext>
            </a:extLst>
          </p:cNvPr>
          <p:cNvSpPr/>
          <p:nvPr/>
        </p:nvSpPr>
        <p:spPr>
          <a:xfrm>
            <a:off x="2030082" y="53740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80A06B7B-51F3-4C0C-83BE-5989A6DE1F23}"/>
              </a:ext>
            </a:extLst>
          </p:cNvPr>
          <p:cNvGrpSpPr/>
          <p:nvPr/>
        </p:nvGrpSpPr>
        <p:grpSpPr>
          <a:xfrm>
            <a:off x="2109895" y="6039281"/>
            <a:ext cx="2399639" cy="216000"/>
            <a:chOff x="2095311" y="5669274"/>
            <a:chExt cx="2399639" cy="2160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C231E698-2AB7-4A41-875D-9632EEFB399C}"/>
                </a:ext>
              </a:extLst>
            </p:cNvPr>
            <p:cNvSpPr/>
            <p:nvPr/>
          </p:nvSpPr>
          <p:spPr>
            <a:xfrm>
              <a:off x="2951414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6CC0F4B9-5D24-4679-9F92-70DA8D2C200D}"/>
                </a:ext>
              </a:extLst>
            </p:cNvPr>
            <p:cNvSpPr/>
            <p:nvPr/>
          </p:nvSpPr>
          <p:spPr>
            <a:xfrm>
              <a:off x="2095311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9" name="직사각형 168">
              <a:extLst>
                <a:ext uri="{FF2B5EF4-FFF2-40B4-BE49-F238E27FC236}">
                  <a16:creationId xmlns:a16="http://schemas.microsoft.com/office/drawing/2014/main" id="{F1A5D3C3-47F2-478A-97FA-70E9E8D666CC}"/>
                </a:ext>
              </a:extLst>
            </p:cNvPr>
            <p:cNvSpPr/>
            <p:nvPr/>
          </p:nvSpPr>
          <p:spPr>
            <a:xfrm>
              <a:off x="3814850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170" name="직선 연결선 169">
              <a:extLst>
                <a:ext uri="{FF2B5EF4-FFF2-40B4-BE49-F238E27FC236}">
                  <a16:creationId xmlns:a16="http://schemas.microsoft.com/office/drawing/2014/main" id="{AE1BE3F1-68C3-4787-9668-C8FCD4A04D4B}"/>
                </a:ext>
              </a:extLst>
            </p:cNvPr>
            <p:cNvCxnSpPr/>
            <p:nvPr/>
          </p:nvCxnSpPr>
          <p:spPr>
            <a:xfrm>
              <a:off x="2801059" y="5768652"/>
              <a:ext cx="109350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직선 연결선 170">
              <a:extLst>
                <a:ext uri="{FF2B5EF4-FFF2-40B4-BE49-F238E27FC236}">
                  <a16:creationId xmlns:a16="http://schemas.microsoft.com/office/drawing/2014/main" id="{FF4D262B-C24B-4791-B78E-25F2035903DE}"/>
                </a:ext>
              </a:extLst>
            </p:cNvPr>
            <p:cNvCxnSpPr/>
            <p:nvPr/>
          </p:nvCxnSpPr>
          <p:spPr>
            <a:xfrm>
              <a:off x="3671495" y="5768652"/>
              <a:ext cx="109350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이등변 삼각형 171">
              <a:extLst>
                <a:ext uri="{FF2B5EF4-FFF2-40B4-BE49-F238E27FC236}">
                  <a16:creationId xmlns:a16="http://schemas.microsoft.com/office/drawing/2014/main" id="{9BA33140-06FD-4EEC-8A28-157C534E98AA}"/>
                </a:ext>
              </a:extLst>
            </p:cNvPr>
            <p:cNvSpPr/>
            <p:nvPr/>
          </p:nvSpPr>
          <p:spPr>
            <a:xfrm flipV="1">
              <a:off x="2635775" y="5746803"/>
              <a:ext cx="88706" cy="6275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C7593E30-89ED-4F9B-834C-8E49C9CD8935}"/>
                </a:ext>
              </a:extLst>
            </p:cNvPr>
            <p:cNvSpPr/>
            <p:nvPr/>
          </p:nvSpPr>
          <p:spPr>
            <a:xfrm>
              <a:off x="2129317" y="5693785"/>
              <a:ext cx="465454" cy="148273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</p:grpSp>
      <p:graphicFrame>
        <p:nvGraphicFramePr>
          <p:cNvPr id="135" name="표 134">
            <a:extLst>
              <a:ext uri="{FF2B5EF4-FFF2-40B4-BE49-F238E27FC236}">
                <a16:creationId xmlns:a16="http://schemas.microsoft.com/office/drawing/2014/main" id="{107A3E64-06AF-4CED-8B3E-14E731A6224C}"/>
              </a:ext>
            </a:extLst>
          </p:cNvPr>
          <p:cNvGraphicFramePr>
            <a:graphicFrameLocks noGrp="1"/>
          </p:cNvGraphicFramePr>
          <p:nvPr/>
        </p:nvGraphicFramePr>
        <p:xfrm>
          <a:off x="5754199" y="3840118"/>
          <a:ext cx="520573" cy="58828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0573">
                  <a:extLst>
                    <a:ext uri="{9D8B030D-6E8A-4147-A177-3AD203B41FA5}">
                      <a16:colId xmlns:a16="http://schemas.microsoft.com/office/drawing/2014/main" val="31833226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0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3156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06296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99052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7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07695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8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644723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9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42999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891307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6200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972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64203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76451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06824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2841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450042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49075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04226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50546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69593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5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70109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014367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52840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44003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35675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44840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90508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80906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5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299362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36057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689708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7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36796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8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659189"/>
                  </a:ext>
                </a:extLst>
              </a:tr>
              <a:tr h="1576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70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283711"/>
                  </a:ext>
                </a:extLst>
              </a:tr>
            </a:tbl>
          </a:graphicData>
        </a:graphic>
      </p:graphicFrame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81E0FA71-622D-40C2-A169-B0B965318F54}"/>
              </a:ext>
            </a:extLst>
          </p:cNvPr>
          <p:cNvSpPr/>
          <p:nvPr/>
        </p:nvSpPr>
        <p:spPr>
          <a:xfrm>
            <a:off x="4758433" y="5395937"/>
            <a:ext cx="744543" cy="2268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받기</a:t>
            </a:r>
          </a:p>
        </p:txBody>
      </p: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8C17718F-AB63-40D3-9B43-33A9F0F696C3}"/>
              </a:ext>
            </a:extLst>
          </p:cNvPr>
          <p:cNvSpPr/>
          <p:nvPr/>
        </p:nvSpPr>
        <p:spPr>
          <a:xfrm>
            <a:off x="2637379" y="5692724"/>
            <a:ext cx="2080052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56A7F69E-0A49-4F4C-ACFC-9D68BC450E4B}"/>
              </a:ext>
            </a:extLst>
          </p:cNvPr>
          <p:cNvSpPr/>
          <p:nvPr/>
        </p:nvSpPr>
        <p:spPr>
          <a:xfrm>
            <a:off x="4757409" y="5675614"/>
            <a:ext cx="744543" cy="2268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확인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5D50D51-672B-4E2D-A9D9-65A55A167008}"/>
              </a:ext>
            </a:extLst>
          </p:cNvPr>
          <p:cNvSpPr/>
          <p:nvPr/>
        </p:nvSpPr>
        <p:spPr>
          <a:xfrm>
            <a:off x="4265050" y="5733256"/>
            <a:ext cx="395283" cy="1199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5:00</a:t>
            </a:r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179" name="표 10">
            <a:extLst>
              <a:ext uri="{FF2B5EF4-FFF2-40B4-BE49-F238E27FC236}">
                <a16:creationId xmlns:a16="http://schemas.microsoft.com/office/drawing/2014/main" id="{FA39A221-1F32-477F-85C8-F1D4EF80D8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056525"/>
              </p:ext>
            </p:extLst>
          </p:nvPr>
        </p:nvGraphicFramePr>
        <p:xfrm>
          <a:off x="9269115" y="725337"/>
          <a:ext cx="2922885" cy="11194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343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 버튼 클릭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송 완료 시까지 대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송 완료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 화면으로 변경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141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I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는 액션형으로 시계처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돌아가야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3230951"/>
                  </a:ext>
                </a:extLst>
              </a:tr>
              <a:tr h="271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전송 완료 후 팝업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22" name="양쪽 대괄호 21">
            <a:extLst>
              <a:ext uri="{FF2B5EF4-FFF2-40B4-BE49-F238E27FC236}">
                <a16:creationId xmlns:a16="http://schemas.microsoft.com/office/drawing/2014/main" id="{82FAE649-AC10-4441-A5B0-B84258BED29E}"/>
              </a:ext>
            </a:extLst>
          </p:cNvPr>
          <p:cNvSpPr/>
          <p:nvPr/>
        </p:nvSpPr>
        <p:spPr>
          <a:xfrm>
            <a:off x="2059503" y="5675614"/>
            <a:ext cx="3530892" cy="261046"/>
          </a:xfrm>
          <a:prstGeom prst="bracketPair">
            <a:avLst/>
          </a:prstGeom>
          <a:ln w="12700">
            <a:solidFill>
              <a:srgbClr val="C04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43C30D9F-9A72-4EA6-9783-352A131156DA}"/>
              </a:ext>
            </a:extLst>
          </p:cNvPr>
          <p:cNvSpPr/>
          <p:nvPr/>
        </p:nvSpPr>
        <p:spPr>
          <a:xfrm>
            <a:off x="1865822" y="57448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23AD880-E39F-44E9-8630-0D404DE5E032}"/>
              </a:ext>
            </a:extLst>
          </p:cNvPr>
          <p:cNvGrpSpPr/>
          <p:nvPr/>
        </p:nvGrpSpPr>
        <p:grpSpPr>
          <a:xfrm>
            <a:off x="6814389" y="4608963"/>
            <a:ext cx="1310589" cy="1570602"/>
            <a:chOff x="6892694" y="4608963"/>
            <a:chExt cx="1310589" cy="1570602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DF08DAEF-1E60-4661-BDB0-91B7DC6B2467}"/>
                </a:ext>
              </a:extLst>
            </p:cNvPr>
            <p:cNvSpPr/>
            <p:nvPr/>
          </p:nvSpPr>
          <p:spPr bwMode="auto">
            <a:xfrm>
              <a:off x="6898102" y="4608963"/>
              <a:ext cx="1305181" cy="15706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noFill/>
              <a:prstDash val="solid"/>
              <a:round/>
              <a:headEnd/>
              <a:tailEnd/>
            </a:ln>
            <a:effectLst>
              <a:outerShdw blurRad="12700" dist="6350" dir="2700000" algn="ctr" rotWithShape="0">
                <a:schemeClr val="tx1">
                  <a:alpha val="10000"/>
                </a:schemeClr>
              </a:outerShdw>
            </a:effectLst>
          </p:spPr>
          <p:txBody>
            <a:bodyPr wrap="square" lIns="90000" tIns="46800" rIns="90000" bIns="46800" rtlCol="0" anchor="t">
              <a:noAutofit/>
            </a:bodyPr>
            <a:lstStyle/>
            <a:p>
              <a:pPr algn="l">
                <a:spcAft>
                  <a:spcPts val="300"/>
                </a:spcAft>
              </a:pPr>
              <a:endPara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ppleSDGothicNeoM00" panose="02000503000000000000" pitchFamily="2" charset="-127"/>
                <a:ea typeface="AppleSDGothicNeoM00" panose="02000503000000000000" pitchFamily="2" charset="-127"/>
                <a:cs typeface="Arial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84404CEA-5992-4986-A233-42329B352EDE}"/>
                </a:ext>
              </a:extLst>
            </p:cNvPr>
            <p:cNvSpPr txBox="1"/>
            <p:nvPr/>
          </p:nvSpPr>
          <p:spPr>
            <a:xfrm>
              <a:off x="6892694" y="4641559"/>
              <a:ext cx="1286249" cy="1520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10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[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등록제한 메일 리스트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]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altLang="ko-KR" sz="3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naver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hanmail.net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daum.net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nate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gmai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empa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freecha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korea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hotmail.com</a:t>
              </a:r>
              <a:endPara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E4001B19-D862-6174-B7C9-853382ACDE8B}"/>
              </a:ext>
            </a:extLst>
          </p:cNvPr>
          <p:cNvSpPr/>
          <p:nvPr/>
        </p:nvSpPr>
        <p:spPr>
          <a:xfrm>
            <a:off x="3667" y="598548"/>
            <a:ext cx="9225606" cy="6070812"/>
          </a:xfrm>
          <a:prstGeom prst="rect">
            <a:avLst/>
          </a:prstGeom>
          <a:solidFill>
            <a:srgbClr val="FFFFFF">
              <a:alpha val="80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45BA24-83D3-AF54-E738-69BCC7C7FEB8}"/>
              </a:ext>
            </a:extLst>
          </p:cNvPr>
          <p:cNvSpPr txBox="1"/>
          <p:nvPr/>
        </p:nvSpPr>
        <p:spPr>
          <a:xfrm>
            <a:off x="3048000" y="4669517"/>
            <a:ext cx="6113416" cy="388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ko-KR" altLang="en-US" dirty="0"/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DE9D44-9320-BAD4-F388-C5E7E8863BFE}"/>
              </a:ext>
            </a:extLst>
          </p:cNvPr>
          <p:cNvGrpSpPr/>
          <p:nvPr/>
        </p:nvGrpSpPr>
        <p:grpSpPr>
          <a:xfrm>
            <a:off x="1509810" y="2624270"/>
            <a:ext cx="2698821" cy="1878568"/>
            <a:chOff x="1169023" y="2619208"/>
            <a:chExt cx="2698821" cy="1878568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6AEFAEE1-7956-8627-7C55-A613304B9387}"/>
                </a:ext>
              </a:extLst>
            </p:cNvPr>
            <p:cNvSpPr/>
            <p:nvPr/>
          </p:nvSpPr>
          <p:spPr>
            <a:xfrm>
              <a:off x="1169023" y="2619208"/>
              <a:ext cx="2698821" cy="1878568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015C3F4B-BCA7-B813-6352-C62D612C6B1B}"/>
                </a:ext>
              </a:extLst>
            </p:cNvPr>
            <p:cNvSpPr/>
            <p:nvPr/>
          </p:nvSpPr>
          <p:spPr>
            <a:xfrm>
              <a:off x="1253895" y="3836542"/>
              <a:ext cx="2568949" cy="43768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인증번호</a:t>
              </a:r>
              <a:r>
                <a:rPr lang="ko-KR" altLang="en-US" sz="14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  <a:ea typeface="맑은 고딕"/>
                  <a:cs typeface="Segoe UI" panose="020B0502040204020203" pitchFamily="34" charset="0"/>
                </a:rPr>
                <a:t> </a:t>
              </a: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전송 중입니다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. </a:t>
              </a:r>
            </a:p>
            <a:p>
              <a:pPr algn="ctr">
                <a:lnSpc>
                  <a:spcPct val="130000"/>
                </a:lnSpc>
              </a:pP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잠시만 기다려 주세요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. </a:t>
              </a:r>
              <a:endParaRPr lang="ko-KR" altLang="en-US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</p:txBody>
        </p:sp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1569901D-BAD8-79D6-A7B1-57BDB6D85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78296" y="2722905"/>
              <a:ext cx="1272822" cy="1215567"/>
            </a:xfrm>
            <a:prstGeom prst="rect">
              <a:avLst/>
            </a:prstGeom>
          </p:spPr>
        </p:pic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4C6031C2-82B3-E219-229B-F264DA91868B}"/>
              </a:ext>
            </a:extLst>
          </p:cNvPr>
          <p:cNvGrpSpPr/>
          <p:nvPr/>
        </p:nvGrpSpPr>
        <p:grpSpPr>
          <a:xfrm>
            <a:off x="4250595" y="2616841"/>
            <a:ext cx="3112150" cy="1878568"/>
            <a:chOff x="985671" y="2619208"/>
            <a:chExt cx="3112150" cy="1878568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B9E49567-53FC-10BB-DFCA-15EB4341EBD0}"/>
                </a:ext>
              </a:extLst>
            </p:cNvPr>
            <p:cNvSpPr/>
            <p:nvPr/>
          </p:nvSpPr>
          <p:spPr>
            <a:xfrm>
              <a:off x="1169023" y="2619208"/>
              <a:ext cx="2698821" cy="1878568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65B352FC-D686-A007-78D6-FCCF27553757}"/>
                </a:ext>
              </a:extLst>
            </p:cNvPr>
            <p:cNvSpPr/>
            <p:nvPr/>
          </p:nvSpPr>
          <p:spPr>
            <a:xfrm>
              <a:off x="985671" y="3017005"/>
              <a:ext cx="3112150" cy="43768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1050" b="1" kern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김삼일님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hlinkClick r:id="rId7"/>
                </a:rPr>
                <a:t>samil31@pwc.com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(</a:t>
              </a: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으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)</a:t>
              </a: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로</a:t>
              </a:r>
              <a:endParaRPr lang="en-US" altLang="ko-KR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인증메일을 전송하였습니다</a:t>
              </a:r>
              <a:r>
                <a:rPr lang="en-US" altLang="ko-KR" sz="105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endParaRPr lang="en-US" altLang="ko-KR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9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메일을 받지 못하셨다면 </a:t>
              </a:r>
              <a:r>
                <a:rPr lang="ko-KR" altLang="en-US" sz="900" b="1" kern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스팸함을</a:t>
              </a:r>
              <a:r>
                <a:rPr lang="ko-KR" altLang="en-US" sz="9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확인해보세요</a:t>
              </a:r>
            </a:p>
          </p:txBody>
        </p: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A2F301F7-0700-C7E3-6FDE-247D19EA5C2E}"/>
              </a:ext>
            </a:extLst>
          </p:cNvPr>
          <p:cNvSpPr/>
          <p:nvPr/>
        </p:nvSpPr>
        <p:spPr>
          <a:xfrm>
            <a:off x="1415480" y="25649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59B61613-6E5F-6A1C-36F9-62AC8FB071F3}"/>
              </a:ext>
            </a:extLst>
          </p:cNvPr>
          <p:cNvSpPr/>
          <p:nvPr/>
        </p:nvSpPr>
        <p:spPr>
          <a:xfrm>
            <a:off x="2207568" y="27809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2ED6EE89-415E-46B4-F43F-9291DFDF4BEA}"/>
              </a:ext>
            </a:extLst>
          </p:cNvPr>
          <p:cNvSpPr/>
          <p:nvPr/>
        </p:nvSpPr>
        <p:spPr>
          <a:xfrm>
            <a:off x="4366862" y="25649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9386436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623324"/>
              </p:ext>
            </p:extLst>
          </p:nvPr>
        </p:nvGraphicFramePr>
        <p:xfrm>
          <a:off x="1" y="-27384"/>
          <a:ext cx="12191999" cy="5171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7938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탬플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 –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인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526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 화면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을 클릭했을 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이메일 인증 위한 인증번호 자동 전송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598070"/>
              </p:ext>
            </p:extLst>
          </p:nvPr>
        </p:nvGraphicFramePr>
        <p:xfrm>
          <a:off x="9267391" y="759198"/>
          <a:ext cx="2922885" cy="12507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을 클릭했을 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인증번호 메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동 전송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번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클릭 한 시점부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 표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제한시간은 확인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4586" y="574140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8D4C89B-6544-4623-9D54-64D865371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42" y="756515"/>
            <a:ext cx="2088232" cy="646566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15B551E3-2AB6-4F8D-B1BD-EF44020D379B}"/>
              </a:ext>
            </a:extLst>
          </p:cNvPr>
          <p:cNvSpPr/>
          <p:nvPr/>
        </p:nvSpPr>
        <p:spPr>
          <a:xfrm>
            <a:off x="479376" y="1570763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인증 안내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16BE337-508A-442D-B195-C891C898C433}"/>
              </a:ext>
            </a:extLst>
          </p:cNvPr>
          <p:cNvSpPr/>
          <p:nvPr/>
        </p:nvSpPr>
        <p:spPr>
          <a:xfrm>
            <a:off x="479375" y="2384141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님 안녕하세요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와 함께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주셔서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감사합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인증을 위하여 아래의 인증번호를 회원 가입창에 입력하고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화면 내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확인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버튼을 눌러주세요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F80D149-CD74-4168-9F04-AE55BF5E1E67}"/>
              </a:ext>
            </a:extLst>
          </p:cNvPr>
          <p:cNvSpPr/>
          <p:nvPr/>
        </p:nvSpPr>
        <p:spPr>
          <a:xfrm>
            <a:off x="568166" y="3323191"/>
            <a:ext cx="6916038" cy="9641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688E9073-299C-48EE-A8B8-B0CABE73E2EE}"/>
              </a:ext>
            </a:extLst>
          </p:cNvPr>
          <p:cNvSpPr/>
          <p:nvPr/>
        </p:nvSpPr>
        <p:spPr>
          <a:xfrm>
            <a:off x="642011" y="3516709"/>
            <a:ext cx="6842194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         </a:t>
            </a:r>
            <a:r>
              <a:rPr lang="en-US" altLang="ko-KR" sz="1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456</a:t>
            </a:r>
          </a:p>
          <a:p>
            <a:pPr>
              <a:lnSpc>
                <a:spcPct val="150000"/>
              </a:lnSpc>
            </a:pPr>
            <a:endParaRPr lang="en-US" altLang="ko-KR" sz="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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:17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까지 인증하셔야 합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052AB5B-9B8D-4922-90FF-C170FFAFDD66}"/>
              </a:ext>
            </a:extLst>
          </p:cNvPr>
          <p:cNvSpPr/>
          <p:nvPr/>
        </p:nvSpPr>
        <p:spPr>
          <a:xfrm>
            <a:off x="361597" y="5517233"/>
            <a:ext cx="8647314" cy="1127720"/>
          </a:xfrm>
          <a:prstGeom prst="rect">
            <a:avLst/>
          </a:prstGeom>
          <a:solidFill>
            <a:srgbClr val="46464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7EC95CE-0BC1-4171-9698-7D35A30A9AE5}"/>
              </a:ext>
            </a:extLst>
          </p:cNvPr>
          <p:cNvSpPr/>
          <p:nvPr/>
        </p:nvSpPr>
        <p:spPr>
          <a:xfrm>
            <a:off x="372642" y="5666077"/>
            <a:ext cx="7588067" cy="25287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메일은 발신전용 메일이며 회신 처리되지 않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ED060DA-30D5-47F1-AF3A-8E16E875F7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7" t="13327" r="86822" b="11650"/>
          <a:stretch/>
        </p:blipFill>
        <p:spPr>
          <a:xfrm>
            <a:off x="447524" y="6073573"/>
            <a:ext cx="645694" cy="493767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id="{5D6CFD3F-EFB5-4899-A2DF-E67246CB91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711" t="17506" r="53099" b="57792"/>
          <a:stretch/>
        </p:blipFill>
        <p:spPr>
          <a:xfrm>
            <a:off x="1127452" y="6268469"/>
            <a:ext cx="2571577" cy="252876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3E153B20-8C35-4910-B66D-E339EBF08B45}"/>
              </a:ext>
            </a:extLst>
          </p:cNvPr>
          <p:cNvSpPr/>
          <p:nvPr/>
        </p:nvSpPr>
        <p:spPr>
          <a:xfrm>
            <a:off x="2135560" y="34290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696E3DA1-A5DD-45A8-8429-1B66A42C5E4F}"/>
              </a:ext>
            </a:extLst>
          </p:cNvPr>
          <p:cNvSpPr/>
          <p:nvPr/>
        </p:nvSpPr>
        <p:spPr>
          <a:xfrm>
            <a:off x="770371" y="37972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01629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342579"/>
              </p:ext>
            </p:extLst>
          </p:nvPr>
        </p:nvGraphicFramePr>
        <p:xfrm>
          <a:off x="1" y="-27384"/>
          <a:ext cx="12191999" cy="5171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7938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탬플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시비밀번호 전송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526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시비밀번호 안내 메일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532747"/>
              </p:ext>
            </p:extLst>
          </p:nvPr>
        </p:nvGraphicFramePr>
        <p:xfrm>
          <a:off x="9267391" y="759198"/>
          <a:ext cx="2922885" cy="16616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만 접근 가능한 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클릭 시 출력 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계정정보와 매칭된 아이디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시 비밀번호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화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4586" y="574140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8D4C89B-6544-4623-9D54-64D865371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42" y="756515"/>
            <a:ext cx="2088232" cy="646566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15B551E3-2AB6-4F8D-B1BD-EF44020D379B}"/>
              </a:ext>
            </a:extLst>
          </p:cNvPr>
          <p:cNvSpPr/>
          <p:nvPr/>
        </p:nvSpPr>
        <p:spPr>
          <a:xfrm>
            <a:off x="479376" y="1570763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∙ 임시비밀번호 안내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16BE337-508A-442D-B195-C891C898C433}"/>
              </a:ext>
            </a:extLst>
          </p:cNvPr>
          <p:cNvSpPr/>
          <p:nvPr/>
        </p:nvSpPr>
        <p:spPr>
          <a:xfrm>
            <a:off x="479375" y="2384141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님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안녕하세요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님의 아이디와 임시 비밀번호를 전송해 드립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임시비밀번호로 로그인 후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하실 비밀번호로 변경하여 주시기 바랍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F80D149-CD74-4168-9F04-AE55BF5E1E67}"/>
              </a:ext>
            </a:extLst>
          </p:cNvPr>
          <p:cNvSpPr/>
          <p:nvPr/>
        </p:nvSpPr>
        <p:spPr>
          <a:xfrm>
            <a:off x="568166" y="3323191"/>
            <a:ext cx="6916038" cy="9641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688E9073-299C-48EE-A8B8-B0CABE73E2EE}"/>
              </a:ext>
            </a:extLst>
          </p:cNvPr>
          <p:cNvSpPr/>
          <p:nvPr/>
        </p:nvSpPr>
        <p:spPr>
          <a:xfrm>
            <a:off x="650516" y="3516709"/>
            <a:ext cx="6842194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                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1234</a:t>
            </a:r>
          </a:p>
          <a:p>
            <a:pPr>
              <a:lnSpc>
                <a:spcPct val="150000"/>
              </a:lnSpc>
            </a:pP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임시비밀번호      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zsq5tha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73114B02-D503-441F-9718-134F5A542E8A}"/>
              </a:ext>
            </a:extLst>
          </p:cNvPr>
          <p:cNvGrpSpPr/>
          <p:nvPr/>
        </p:nvGrpSpPr>
        <p:grpSpPr>
          <a:xfrm>
            <a:off x="535519" y="4486858"/>
            <a:ext cx="6916038" cy="465369"/>
            <a:chOff x="535519" y="4692662"/>
            <a:chExt cx="6916038" cy="465369"/>
          </a:xfrm>
        </p:grpSpPr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3256C7AC-D97C-47CA-9F99-8AD115F370B8}"/>
                </a:ext>
              </a:extLst>
            </p:cNvPr>
            <p:cNvSpPr/>
            <p:nvPr/>
          </p:nvSpPr>
          <p:spPr>
            <a:xfrm>
              <a:off x="535519" y="4709541"/>
              <a:ext cx="6916038" cy="448490"/>
            </a:xfrm>
            <a:prstGeom prst="roundRect">
              <a:avLst>
                <a:gd name="adj" fmla="val 26236"/>
              </a:avLst>
            </a:prstGeom>
            <a:solidFill>
              <a:srgbClr val="CF4C09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69BBCA4A-A3F3-4E31-BC37-7C4E7FFF4933}"/>
                </a:ext>
              </a:extLst>
            </p:cNvPr>
            <p:cNvSpPr/>
            <p:nvPr/>
          </p:nvSpPr>
          <p:spPr>
            <a:xfrm>
              <a:off x="2808909" y="4692662"/>
              <a:ext cx="2620456" cy="432048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「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」 로그인 화면으로 이동하기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052AB5B-9B8D-4922-90FF-C170FFAFDD66}"/>
              </a:ext>
            </a:extLst>
          </p:cNvPr>
          <p:cNvSpPr/>
          <p:nvPr/>
        </p:nvSpPr>
        <p:spPr>
          <a:xfrm>
            <a:off x="361597" y="5517233"/>
            <a:ext cx="8647314" cy="1127720"/>
          </a:xfrm>
          <a:prstGeom prst="rect">
            <a:avLst/>
          </a:prstGeom>
          <a:solidFill>
            <a:srgbClr val="46464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7EC95CE-0BC1-4171-9698-7D35A30A9AE5}"/>
              </a:ext>
            </a:extLst>
          </p:cNvPr>
          <p:cNvSpPr/>
          <p:nvPr/>
        </p:nvSpPr>
        <p:spPr>
          <a:xfrm>
            <a:off x="372642" y="5666077"/>
            <a:ext cx="7588067" cy="283889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메일은 발신전용 메일이며 회신 처리되지 않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ED060DA-30D5-47F1-AF3A-8E16E875F7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7" t="13327" r="86822" b="11650"/>
          <a:stretch/>
        </p:blipFill>
        <p:spPr>
          <a:xfrm>
            <a:off x="447524" y="6073573"/>
            <a:ext cx="645694" cy="493767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id="{5D6CFD3F-EFB5-4899-A2DF-E67246CB91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711" t="17506" r="53099" b="57792"/>
          <a:stretch/>
        </p:blipFill>
        <p:spPr>
          <a:xfrm>
            <a:off x="1127452" y="6268469"/>
            <a:ext cx="2571577" cy="252876"/>
          </a:xfrm>
          <a:prstGeom prst="rect">
            <a:avLst/>
          </a:prstGeom>
        </p:spPr>
      </p:pic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44A280E9-345C-48F3-9E7E-3213C15EE800}"/>
              </a:ext>
            </a:extLst>
          </p:cNvPr>
          <p:cNvSpPr/>
          <p:nvPr/>
        </p:nvSpPr>
        <p:spPr>
          <a:xfrm>
            <a:off x="436157" y="21516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94473067-7C7A-4DFE-AE3B-D97CFECF8FA5}"/>
              </a:ext>
            </a:extLst>
          </p:cNvPr>
          <p:cNvSpPr/>
          <p:nvPr/>
        </p:nvSpPr>
        <p:spPr>
          <a:xfrm>
            <a:off x="1991544" y="34290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6388DFDB-6CC5-4F3F-8CAA-66D233E75059}"/>
              </a:ext>
            </a:extLst>
          </p:cNvPr>
          <p:cNvSpPr/>
          <p:nvPr/>
        </p:nvSpPr>
        <p:spPr>
          <a:xfrm>
            <a:off x="2000245" y="37656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12FB5DF4-7AE6-47CC-A631-9231B7C87116}"/>
              </a:ext>
            </a:extLst>
          </p:cNvPr>
          <p:cNvSpPr/>
          <p:nvPr/>
        </p:nvSpPr>
        <p:spPr>
          <a:xfrm>
            <a:off x="494604" y="44722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11408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49642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4E4B9C34-32FD-4FF7-A591-64F4A487F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063771"/>
              </p:ext>
            </p:extLst>
          </p:nvPr>
        </p:nvGraphicFramePr>
        <p:xfrm>
          <a:off x="9273919" y="1499612"/>
          <a:ext cx="2922885" cy="24927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4927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로팅배너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 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 P004, P005, P006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7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8, P009, P010, P011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P012, P013, P014, P015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출력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폰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화면 이동 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경 컬러 변경되어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397621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A95FBBED-4605-435F-9705-1E6D27BF96AB}"/>
              </a:ext>
            </a:extLst>
          </p:cNvPr>
          <p:cNvSpPr/>
          <p:nvPr/>
        </p:nvSpPr>
        <p:spPr>
          <a:xfrm>
            <a:off x="840026" y="1102150"/>
            <a:ext cx="1216800" cy="95694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7CC49A2-7A98-4B32-987C-89EBF0556344}"/>
              </a:ext>
            </a:extLst>
          </p:cNvPr>
          <p:cNvSpPr/>
          <p:nvPr/>
        </p:nvSpPr>
        <p:spPr>
          <a:xfrm>
            <a:off x="879181" y="1713902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0FF80CD1-F2D4-47C8-97A5-37B4C1ACED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326" y="1288143"/>
            <a:ext cx="449001" cy="383626"/>
          </a:xfrm>
          <a:prstGeom prst="rect">
            <a:avLst/>
          </a:prstGeom>
        </p:spPr>
      </p:pic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8CC3405-AB11-4D8B-B2F5-FCBCF4724FE4}"/>
              </a:ext>
            </a:extLst>
          </p:cNvPr>
          <p:cNvCxnSpPr>
            <a:cxnSpLocks/>
          </p:cNvCxnSpPr>
          <p:nvPr/>
        </p:nvCxnSpPr>
        <p:spPr>
          <a:xfrm>
            <a:off x="953770" y="2059098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B99BFE8F-3F6A-4D75-9533-E0F33B1F695F}"/>
              </a:ext>
            </a:extLst>
          </p:cNvPr>
          <p:cNvSpPr/>
          <p:nvPr/>
        </p:nvSpPr>
        <p:spPr>
          <a:xfrm>
            <a:off x="2333074" y="1102150"/>
            <a:ext cx="1228445" cy="270293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9" name="표 29">
            <a:extLst>
              <a:ext uri="{FF2B5EF4-FFF2-40B4-BE49-F238E27FC236}">
                <a16:creationId xmlns:a16="http://schemas.microsoft.com/office/drawing/2014/main" id="{1817DC3D-D192-46CE-AD38-DDCA97FF16D6}"/>
              </a:ext>
            </a:extLst>
          </p:cNvPr>
          <p:cNvGraphicFramePr>
            <a:graphicFrameLocks noGrp="1"/>
          </p:cNvGraphicFramePr>
          <p:nvPr/>
        </p:nvGraphicFramePr>
        <p:xfrm>
          <a:off x="2338896" y="1106010"/>
          <a:ext cx="1216800" cy="1594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6800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1050" b="1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가이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u="none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ESG </a:t>
                      </a:r>
                      <a:r>
                        <a:rPr lang="ko-KR" altLang="en-US" sz="1050" b="1" u="none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ESG </a:t>
                      </a:r>
                      <a:r>
                        <a:rPr lang="ko-KR" altLang="en-US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이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16882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〮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  <a:endParaRPr lang="ko-KR" altLang="en-US" sz="1050" b="1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7982324"/>
                  </a:ext>
                </a:extLst>
              </a:tr>
            </a:tbl>
          </a:graphicData>
        </a:graphic>
      </p:graphicFrame>
      <p:sp>
        <p:nvSpPr>
          <p:cNvPr id="88" name="직사각형 87">
            <a:extLst>
              <a:ext uri="{FF2B5EF4-FFF2-40B4-BE49-F238E27FC236}">
                <a16:creationId xmlns:a16="http://schemas.microsoft.com/office/drawing/2014/main" id="{550EA889-16BE-4724-B8F2-A2C0FB2F1252}"/>
              </a:ext>
            </a:extLst>
          </p:cNvPr>
          <p:cNvSpPr/>
          <p:nvPr/>
        </p:nvSpPr>
        <p:spPr>
          <a:xfrm>
            <a:off x="2368651" y="3320777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89" name="그림 88">
            <a:extLst>
              <a:ext uri="{FF2B5EF4-FFF2-40B4-BE49-F238E27FC236}">
                <a16:creationId xmlns:a16="http://schemas.microsoft.com/office/drawing/2014/main" id="{734276B8-8957-48D5-A7F5-2E4CD410AE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2796" y="2895018"/>
            <a:ext cx="449001" cy="383626"/>
          </a:xfrm>
          <a:prstGeom prst="rect">
            <a:avLst/>
          </a:prstGeom>
        </p:spPr>
      </p:pic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BFE8F0B6-24C5-4D49-B76D-9ED562B6EE1F}"/>
              </a:ext>
            </a:extLst>
          </p:cNvPr>
          <p:cNvCxnSpPr>
            <a:cxnSpLocks/>
          </p:cNvCxnSpPr>
          <p:nvPr/>
        </p:nvCxnSpPr>
        <p:spPr>
          <a:xfrm>
            <a:off x="2443240" y="2740478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C051063-D574-4DF0-A218-D02D54901F73}"/>
              </a:ext>
            </a:extLst>
          </p:cNvPr>
          <p:cNvSpPr/>
          <p:nvPr/>
        </p:nvSpPr>
        <p:spPr>
          <a:xfrm>
            <a:off x="3911745" y="1106132"/>
            <a:ext cx="1223771" cy="397905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9" name="표 29">
            <a:extLst>
              <a:ext uri="{FF2B5EF4-FFF2-40B4-BE49-F238E27FC236}">
                <a16:creationId xmlns:a16="http://schemas.microsoft.com/office/drawing/2014/main" id="{F0F2F254-9437-4569-9022-B654CD2B33E0}"/>
              </a:ext>
            </a:extLst>
          </p:cNvPr>
          <p:cNvGraphicFramePr>
            <a:graphicFrameLocks noGrp="1"/>
          </p:cNvGraphicFramePr>
          <p:nvPr/>
        </p:nvGraphicFramePr>
        <p:xfrm>
          <a:off x="3915230" y="1109992"/>
          <a:ext cx="1216800" cy="27911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6800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공시 안내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GRI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ISSB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16882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SEC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7982324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CSR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714460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TNF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2402909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TCF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257402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6DC1C63A-E21A-4217-B373-FE6C195D7589}"/>
              </a:ext>
            </a:extLst>
          </p:cNvPr>
          <p:cNvSpPr/>
          <p:nvPr/>
        </p:nvSpPr>
        <p:spPr>
          <a:xfrm>
            <a:off x="3944985" y="4667978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102" name="그림 101">
            <a:extLst>
              <a:ext uri="{FF2B5EF4-FFF2-40B4-BE49-F238E27FC236}">
                <a16:creationId xmlns:a16="http://schemas.microsoft.com/office/drawing/2014/main" id="{00783BF8-E73E-4A4C-A523-3FED0B3D4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9130" y="4242219"/>
            <a:ext cx="449001" cy="383626"/>
          </a:xfrm>
          <a:prstGeom prst="rect">
            <a:avLst/>
          </a:prstGeom>
        </p:spPr>
      </p:pic>
      <p:cxnSp>
        <p:nvCxnSpPr>
          <p:cNvPr id="111" name="직선 연결선 110">
            <a:extLst>
              <a:ext uri="{FF2B5EF4-FFF2-40B4-BE49-F238E27FC236}">
                <a16:creationId xmlns:a16="http://schemas.microsoft.com/office/drawing/2014/main" id="{E0983416-6D9A-4EAE-9DCA-7C412A479EFA}"/>
              </a:ext>
            </a:extLst>
          </p:cNvPr>
          <p:cNvCxnSpPr>
            <a:cxnSpLocks/>
          </p:cNvCxnSpPr>
          <p:nvPr/>
        </p:nvCxnSpPr>
        <p:spPr>
          <a:xfrm>
            <a:off x="4019574" y="4087679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60AD0C28-0C67-4C58-9003-B7DBA1513E68}"/>
              </a:ext>
            </a:extLst>
          </p:cNvPr>
          <p:cNvSpPr/>
          <p:nvPr/>
        </p:nvSpPr>
        <p:spPr>
          <a:xfrm>
            <a:off x="5452918" y="1097022"/>
            <a:ext cx="1225634" cy="191228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4" name="표 29">
            <a:extLst>
              <a:ext uri="{FF2B5EF4-FFF2-40B4-BE49-F238E27FC236}">
                <a16:creationId xmlns:a16="http://schemas.microsoft.com/office/drawing/2014/main" id="{CF4ADB10-2127-4502-98B9-F8BC731280F0}"/>
              </a:ext>
            </a:extLst>
          </p:cNvPr>
          <p:cNvGraphicFramePr>
            <a:graphicFrameLocks noGrp="1"/>
          </p:cNvGraphicFramePr>
          <p:nvPr/>
        </p:nvGraphicFramePr>
        <p:xfrm>
          <a:off x="5456890" y="1100882"/>
          <a:ext cx="1217691" cy="79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7691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 안내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중요평가항목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</a:tbl>
          </a:graphicData>
        </a:graphic>
      </p:graphicFrame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1B15F16-B9A7-48CC-9F7A-85BCC8FE97FE}"/>
              </a:ext>
            </a:extLst>
          </p:cNvPr>
          <p:cNvSpPr/>
          <p:nvPr/>
        </p:nvSpPr>
        <p:spPr>
          <a:xfrm>
            <a:off x="5487090" y="2565157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116" name="그림 115">
            <a:extLst>
              <a:ext uri="{FF2B5EF4-FFF2-40B4-BE49-F238E27FC236}">
                <a16:creationId xmlns:a16="http://schemas.microsoft.com/office/drawing/2014/main" id="{8B03790E-29DE-4DE1-8A46-8AB31EF8B7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41235" y="2139398"/>
            <a:ext cx="449001" cy="383626"/>
          </a:xfrm>
          <a:prstGeom prst="rect">
            <a:avLst/>
          </a:prstGeom>
        </p:spPr>
      </p:pic>
      <p:sp>
        <p:nvSpPr>
          <p:cNvPr id="12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5FAB559-4404-4CC1-9070-97B62AB88A5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30672" y="713376"/>
            <a:ext cx="1469738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7FC71F7-7DFF-4A44-A3FE-982A1CEEF7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0317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통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7710CDB-AD24-4F73-80DC-377AD6F283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922244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585288A-B0E1-41A4-9580-50C30C6416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459099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25" name="그림 124">
            <a:extLst>
              <a:ext uri="{FF2B5EF4-FFF2-40B4-BE49-F238E27FC236}">
                <a16:creationId xmlns:a16="http://schemas.microsoft.com/office/drawing/2014/main" id="{4049E032-1666-41A5-B878-AB3BB112CF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4604" y="1759442"/>
            <a:ext cx="161003" cy="156908"/>
          </a:xfrm>
          <a:prstGeom prst="rect">
            <a:avLst/>
          </a:prstGeom>
        </p:spPr>
      </p:pic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FB86015C-1C09-441C-9B14-B3B2FC324E0D}"/>
              </a:ext>
            </a:extLst>
          </p:cNvPr>
          <p:cNvGraphicFramePr>
            <a:graphicFrameLocks noGrp="1"/>
          </p:cNvGraphicFramePr>
          <p:nvPr/>
        </p:nvGraphicFramePr>
        <p:xfrm>
          <a:off x="9672618" y="2545117"/>
          <a:ext cx="2451903" cy="137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6806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585097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5701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5701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가이드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4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소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5701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계획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5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전략 수립 가이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325769"/>
                  </a:ext>
                </a:extLst>
              </a:tr>
              <a:tr h="25701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이행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7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과제 이행 가이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616867"/>
                  </a:ext>
                </a:extLst>
              </a:tr>
              <a:tr h="25701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ko-KR" altLang="en-US" sz="80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평가〮인증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13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가이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06555"/>
                  </a:ext>
                </a:extLst>
              </a:tr>
            </a:tbl>
          </a:graphicData>
        </a:graphic>
      </p:graphicFrame>
      <p:sp>
        <p:nvSpPr>
          <p:cNvPr id="127" name="TextBox 126">
            <a:extLst>
              <a:ext uri="{FF2B5EF4-FFF2-40B4-BE49-F238E27FC236}">
                <a16:creationId xmlns:a16="http://schemas.microsoft.com/office/drawing/2014/main" id="{5E0CDA78-FD60-493D-A702-C5DD365AB31B}"/>
              </a:ext>
            </a:extLst>
          </p:cNvPr>
          <p:cNvSpPr txBox="1"/>
          <p:nvPr/>
        </p:nvSpPr>
        <p:spPr>
          <a:xfrm>
            <a:off x="9207041" y="794373"/>
            <a:ext cx="2929413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● </a:t>
            </a:r>
            <a:r>
              <a:rPr lang="ko-KR" altLang="en-US" sz="8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플로팅배너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2,3,4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가 출력되는 화면 외 모든 메인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브 화면</a:t>
            </a: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에서 </a:t>
            </a:r>
            <a:r>
              <a:rPr lang="ko-KR" altLang="en-US" sz="8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플로팅배너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출력</a:t>
            </a: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●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온라인문의 버튼 클릭 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문의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·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요청 등록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ID:Q001)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팝업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출력</a:t>
            </a: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59FD0664-723C-435A-BD7D-9814B493F7A0}"/>
              </a:ext>
            </a:extLst>
          </p:cNvPr>
          <p:cNvSpPr/>
          <p:nvPr/>
        </p:nvSpPr>
        <p:spPr>
          <a:xfrm>
            <a:off x="2260593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201A224F-5BBE-42B8-B105-F004B88661E5}"/>
              </a:ext>
            </a:extLst>
          </p:cNvPr>
          <p:cNvSpPr/>
          <p:nvPr/>
        </p:nvSpPr>
        <p:spPr>
          <a:xfrm>
            <a:off x="3855131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54E00E84-D876-486B-BAA9-AA70FA819D4A}"/>
              </a:ext>
            </a:extLst>
          </p:cNvPr>
          <p:cNvSpPr/>
          <p:nvPr/>
        </p:nvSpPr>
        <p:spPr>
          <a:xfrm>
            <a:off x="5412300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E8512B-038E-4B5E-BF81-730A43EE5216}"/>
              </a:ext>
            </a:extLst>
          </p:cNvPr>
          <p:cNvSpPr/>
          <p:nvPr/>
        </p:nvSpPr>
        <p:spPr>
          <a:xfrm>
            <a:off x="2188062" y="762781"/>
            <a:ext cx="4556010" cy="4538425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CBADB52-F46D-4439-9308-881725BDCB03}"/>
              </a:ext>
            </a:extLst>
          </p:cNvPr>
          <p:cNvSpPr/>
          <p:nvPr/>
        </p:nvSpPr>
        <p:spPr>
          <a:xfrm>
            <a:off x="4118999" y="2435386"/>
            <a:ext cx="694135" cy="89769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ECC2B127-0E81-4415-970A-6098291B44FD}"/>
              </a:ext>
            </a:extLst>
          </p:cNvPr>
          <p:cNvSpPr/>
          <p:nvPr/>
        </p:nvSpPr>
        <p:spPr>
          <a:xfrm>
            <a:off x="9261385" y="0"/>
            <a:ext cx="2950181" cy="643521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플로팅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배너는 전 화면에서 동일하게 출력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전략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계획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평가에 있던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플로팅배너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목차는 본 화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에서 출력되는 것으로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361989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843856"/>
              </p:ext>
            </p:extLst>
          </p:nvPr>
        </p:nvGraphicFramePr>
        <p:xfrm>
          <a:off x="1" y="-27384"/>
          <a:ext cx="12191999" cy="5171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7938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탬플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사항 답변 완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526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요청사항 답변 완료 시 전송 메일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4586" y="574140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8D4C89B-6544-4623-9D54-64D865371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42" y="756515"/>
            <a:ext cx="2088232" cy="646566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15B551E3-2AB6-4F8D-B1BD-EF44020D379B}"/>
              </a:ext>
            </a:extLst>
          </p:cNvPr>
          <p:cNvSpPr/>
          <p:nvPr/>
        </p:nvSpPr>
        <p:spPr>
          <a:xfrm>
            <a:off x="479376" y="1570763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 문의 ∙ 요청 답변 안내</a:t>
            </a:r>
          </a:p>
          <a:p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16BE337-508A-442D-B195-C891C898C433}"/>
              </a:ext>
            </a:extLst>
          </p:cNvPr>
          <p:cNvSpPr/>
          <p:nvPr/>
        </p:nvSpPr>
        <p:spPr>
          <a:xfrm>
            <a:off x="480178" y="2138007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님께서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∙요청하신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내용에 대한 답변이 등록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은 온라인 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∙요청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내역에서 확인하실 수 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다 나은 </a:t>
            </a:r>
            <a:r>
              <a:rPr lang="en-US" altLang="ko-KR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될 수 있도록 꾸준히 노력하겠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052AB5B-9B8D-4922-90FF-C170FFAFDD66}"/>
              </a:ext>
            </a:extLst>
          </p:cNvPr>
          <p:cNvSpPr/>
          <p:nvPr/>
        </p:nvSpPr>
        <p:spPr>
          <a:xfrm>
            <a:off x="361597" y="5489173"/>
            <a:ext cx="8647314" cy="1127720"/>
          </a:xfrm>
          <a:prstGeom prst="rect">
            <a:avLst/>
          </a:prstGeom>
          <a:solidFill>
            <a:srgbClr val="46464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ED060DA-30D5-47F1-AF3A-8E16E875F7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7" t="13327" r="86822" b="11650"/>
          <a:stretch/>
        </p:blipFill>
        <p:spPr>
          <a:xfrm>
            <a:off x="447524" y="6073573"/>
            <a:ext cx="645694" cy="493767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id="{5D6CFD3F-EFB5-4899-A2DF-E67246CB91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711" t="17506" r="53099" b="57792"/>
          <a:stretch/>
        </p:blipFill>
        <p:spPr>
          <a:xfrm>
            <a:off x="1127452" y="6268469"/>
            <a:ext cx="2571577" cy="252876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57161BAA-2008-4606-81F5-6C43AE0F035A}"/>
              </a:ext>
            </a:extLst>
          </p:cNvPr>
          <p:cNvSpPr/>
          <p:nvPr/>
        </p:nvSpPr>
        <p:spPr>
          <a:xfrm>
            <a:off x="560307" y="2866578"/>
            <a:ext cx="7631550" cy="17768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C0761B8E-AD67-4029-9139-9E1BE486BA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945" y="4372925"/>
            <a:ext cx="78251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ko-KR" altLang="ko-K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ko-KR" altLang="ko-K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02D04DC2-C47F-4EF7-92D6-41786F91EC55}"/>
              </a:ext>
            </a:extLst>
          </p:cNvPr>
          <p:cNvSpPr/>
          <p:nvPr/>
        </p:nvSpPr>
        <p:spPr>
          <a:xfrm>
            <a:off x="604508" y="2973878"/>
            <a:ext cx="1052320" cy="34040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내역</a:t>
            </a: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71F2D2EC-CC30-4BF0-8254-D1353E131106}"/>
              </a:ext>
            </a:extLst>
          </p:cNvPr>
          <p:cNvCxnSpPr/>
          <p:nvPr/>
        </p:nvCxnSpPr>
        <p:spPr>
          <a:xfrm>
            <a:off x="697026" y="3338327"/>
            <a:ext cx="7360422" cy="0"/>
          </a:xfrm>
          <a:prstGeom prst="line">
            <a:avLst/>
          </a:prstGeom>
          <a:ln w="1905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026C3BE2-1BE1-4697-8459-E0ABBB27AC16}"/>
              </a:ext>
            </a:extLst>
          </p:cNvPr>
          <p:cNvSpPr/>
          <p:nvPr/>
        </p:nvSpPr>
        <p:spPr>
          <a:xfrm>
            <a:off x="658205" y="3413502"/>
            <a:ext cx="1334966" cy="2167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게시 자료에 대한 문의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B575231-3A3E-44FA-ACE7-C0E2539C97D0}"/>
              </a:ext>
            </a:extLst>
          </p:cNvPr>
          <p:cNvSpPr txBox="1"/>
          <p:nvPr/>
        </p:nvSpPr>
        <p:spPr>
          <a:xfrm>
            <a:off x="2002486" y="3397988"/>
            <a:ext cx="484300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 및 중장기 계획 수립 문의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작성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10-20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5786FB-5114-46F9-A100-DC18BAF331D3}"/>
              </a:ext>
            </a:extLst>
          </p:cNvPr>
          <p:cNvSpPr txBox="1"/>
          <p:nvPr/>
        </p:nvSpPr>
        <p:spPr>
          <a:xfrm>
            <a:off x="645304" y="3754503"/>
            <a:ext cx="4210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Q.</a:t>
            </a:r>
            <a:endParaRPr lang="ko-KR" altLang="en-US" sz="16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042C52-8E46-41C6-BC7D-0A20FE09F84A}"/>
              </a:ext>
            </a:extLst>
          </p:cNvPr>
          <p:cNvSpPr txBox="1"/>
          <p:nvPr/>
        </p:nvSpPr>
        <p:spPr>
          <a:xfrm>
            <a:off x="1042712" y="3796144"/>
            <a:ext cx="7307052" cy="575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녕하십니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>
              <a:lnSpc>
                <a:spcPct val="12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나다라마바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EE6ABA3C-FCF5-462B-B0EA-E30C9F5F5C8A}"/>
              </a:ext>
            </a:extLst>
          </p:cNvPr>
          <p:cNvSpPr/>
          <p:nvPr/>
        </p:nvSpPr>
        <p:spPr>
          <a:xfrm>
            <a:off x="645304" y="3392984"/>
            <a:ext cx="7412144" cy="1128567"/>
          </a:xfrm>
          <a:prstGeom prst="rect">
            <a:avLst/>
          </a:prstGeom>
          <a:noFill/>
          <a:ln w="12700">
            <a:solidFill>
              <a:srgbClr val="AA2417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9C693405-51A5-4846-956B-791797DBF59B}"/>
              </a:ext>
            </a:extLst>
          </p:cNvPr>
          <p:cNvSpPr/>
          <p:nvPr/>
        </p:nvSpPr>
        <p:spPr>
          <a:xfrm>
            <a:off x="550082" y="337284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3517F357-F7D5-4A7E-86A6-EF14DDDB6DEF}"/>
              </a:ext>
            </a:extLst>
          </p:cNvPr>
          <p:cNvGrpSpPr/>
          <p:nvPr/>
        </p:nvGrpSpPr>
        <p:grpSpPr>
          <a:xfrm>
            <a:off x="839416" y="4829567"/>
            <a:ext cx="6916038" cy="465369"/>
            <a:chOff x="535519" y="4692662"/>
            <a:chExt cx="6916038" cy="465369"/>
          </a:xfrm>
        </p:grpSpPr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FD8196BA-B077-4166-8F46-553840D1D86F}"/>
                </a:ext>
              </a:extLst>
            </p:cNvPr>
            <p:cNvSpPr/>
            <p:nvPr/>
          </p:nvSpPr>
          <p:spPr>
            <a:xfrm>
              <a:off x="535519" y="4709541"/>
              <a:ext cx="6916038" cy="448490"/>
            </a:xfrm>
            <a:prstGeom prst="roundRect">
              <a:avLst>
                <a:gd name="adj" fmla="val 26236"/>
              </a:avLst>
            </a:prstGeom>
            <a:solidFill>
              <a:srgbClr val="CF4C09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447A020-02B5-4E64-BFB1-316C97B31253}"/>
                </a:ext>
              </a:extLst>
            </p:cNvPr>
            <p:cNvSpPr/>
            <p:nvPr/>
          </p:nvSpPr>
          <p:spPr>
            <a:xfrm>
              <a:off x="2808909" y="4692662"/>
              <a:ext cx="2620456" cy="432048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 문의 ∙ 요청 답변 확인하기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F84B3398-DF67-4FF1-BD86-4268A9A3D1CE}"/>
              </a:ext>
            </a:extLst>
          </p:cNvPr>
          <p:cNvSpPr/>
          <p:nvPr/>
        </p:nvSpPr>
        <p:spPr>
          <a:xfrm>
            <a:off x="441596" y="5645817"/>
            <a:ext cx="7588067" cy="43540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메일은 발신전용 메일이며 회신 처리되지 않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약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내용이 불충분하시다면 다시 한번 온라인 문의를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남겨주시면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한 빠르고 정확한 답변을 드릴 수 있도록 하겠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ctr">
              <a:lnSpc>
                <a:spcPct val="100000"/>
              </a:lnSpc>
            </a:pP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6" name="표 10">
            <a:extLst>
              <a:ext uri="{FF2B5EF4-FFF2-40B4-BE49-F238E27FC236}">
                <a16:creationId xmlns:a16="http://schemas.microsoft.com/office/drawing/2014/main" id="{E454BE91-C15A-4567-91CE-C3AE02001F84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5" cy="13016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라인문의 등록일자</a:t>
                      </a:r>
                      <a:endParaRPr lang="en-US" altLang="ko-KR" sz="800" b="0" i="0" u="sng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라인 문의 기본 내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용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3897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F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Q00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F921B9B1-D328-4893-9440-3CC346780186}"/>
              </a:ext>
            </a:extLst>
          </p:cNvPr>
          <p:cNvSpPr/>
          <p:nvPr/>
        </p:nvSpPr>
        <p:spPr>
          <a:xfrm>
            <a:off x="514014" y="19348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FA1F1D29-A237-4C59-8FFF-5BB96299B8E6}"/>
              </a:ext>
            </a:extLst>
          </p:cNvPr>
          <p:cNvSpPr/>
          <p:nvPr/>
        </p:nvSpPr>
        <p:spPr>
          <a:xfrm>
            <a:off x="1930005" y="194221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3989DBCA-6B12-4120-85FB-5403B420319E}"/>
              </a:ext>
            </a:extLst>
          </p:cNvPr>
          <p:cNvSpPr/>
          <p:nvPr/>
        </p:nvSpPr>
        <p:spPr>
          <a:xfrm>
            <a:off x="781393" y="47968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1690668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644720"/>
              </p:ext>
            </p:extLst>
          </p:nvPr>
        </p:nvGraphicFramePr>
        <p:xfrm>
          <a:off x="1" y="-27384"/>
          <a:ext cx="12191999" cy="5171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7938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탬플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사항 답변 완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1526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요청사항 답변 완료 시 전송 메일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44586" y="574140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8D4C89B-6544-4623-9D54-64D865371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42" y="756515"/>
            <a:ext cx="2088232" cy="646566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15B551E3-2AB6-4F8D-B1BD-EF44020D379B}"/>
              </a:ext>
            </a:extLst>
          </p:cNvPr>
          <p:cNvSpPr/>
          <p:nvPr/>
        </p:nvSpPr>
        <p:spPr>
          <a:xfrm>
            <a:off x="479376" y="1570763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</a:t>
            </a:r>
          </a:p>
          <a:p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16BE337-508A-442D-B195-C891C898C433}"/>
              </a:ext>
            </a:extLst>
          </p:cNvPr>
          <p:cNvSpPr/>
          <p:nvPr/>
        </p:nvSpPr>
        <p:spPr>
          <a:xfrm>
            <a:off x="480178" y="2002811"/>
            <a:ext cx="8172449" cy="4320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50000"/>
              </a:lnSpc>
            </a:pP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 </a:t>
            </a: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님을 위한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큐레이터 입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052AB5B-9B8D-4922-90FF-C170FFAFDD66}"/>
              </a:ext>
            </a:extLst>
          </p:cNvPr>
          <p:cNvSpPr/>
          <p:nvPr/>
        </p:nvSpPr>
        <p:spPr>
          <a:xfrm>
            <a:off x="361597" y="5489173"/>
            <a:ext cx="8647314" cy="1127720"/>
          </a:xfrm>
          <a:prstGeom prst="rect">
            <a:avLst/>
          </a:prstGeom>
          <a:solidFill>
            <a:srgbClr val="46464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ED060DA-30D5-47F1-AF3A-8E16E875F7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7" t="13327" r="86822" b="11650"/>
          <a:stretch/>
        </p:blipFill>
        <p:spPr>
          <a:xfrm>
            <a:off x="447524" y="6073573"/>
            <a:ext cx="645694" cy="493767"/>
          </a:xfrm>
          <a:prstGeom prst="rect">
            <a:avLst/>
          </a:prstGeom>
        </p:spPr>
      </p:pic>
      <p:pic>
        <p:nvPicPr>
          <p:cNvPr id="58" name="그림 57">
            <a:extLst>
              <a:ext uri="{FF2B5EF4-FFF2-40B4-BE49-F238E27FC236}">
                <a16:creationId xmlns:a16="http://schemas.microsoft.com/office/drawing/2014/main" id="{5D6CFD3F-EFB5-4899-A2DF-E67246CB91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711" t="17506" r="53099" b="57792"/>
          <a:stretch/>
        </p:blipFill>
        <p:spPr>
          <a:xfrm>
            <a:off x="1127452" y="6268469"/>
            <a:ext cx="2571577" cy="252876"/>
          </a:xfrm>
          <a:prstGeom prst="rect">
            <a:avLst/>
          </a:prstGeom>
        </p:spPr>
      </p:pic>
      <p:sp>
        <p:nvSpPr>
          <p:cNvPr id="20" name="Rectangle 1">
            <a:extLst>
              <a:ext uri="{FF2B5EF4-FFF2-40B4-BE49-F238E27FC236}">
                <a16:creationId xmlns:a16="http://schemas.microsoft.com/office/drawing/2014/main" id="{C0761B8E-AD67-4029-9139-9E1BE486BA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945" y="4372925"/>
            <a:ext cx="78251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ko-KR" altLang="ko-K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ko-KR" altLang="ko-K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3517F357-F7D5-4A7E-86A6-EF14DDDB6DEF}"/>
              </a:ext>
            </a:extLst>
          </p:cNvPr>
          <p:cNvGrpSpPr/>
          <p:nvPr/>
        </p:nvGrpSpPr>
        <p:grpSpPr>
          <a:xfrm>
            <a:off x="660479" y="4832323"/>
            <a:ext cx="6916038" cy="465369"/>
            <a:chOff x="535519" y="4692662"/>
            <a:chExt cx="6916038" cy="465369"/>
          </a:xfrm>
        </p:grpSpPr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FD8196BA-B077-4166-8F46-553840D1D86F}"/>
                </a:ext>
              </a:extLst>
            </p:cNvPr>
            <p:cNvSpPr/>
            <p:nvPr/>
          </p:nvSpPr>
          <p:spPr>
            <a:xfrm>
              <a:off x="535519" y="4709541"/>
              <a:ext cx="6916038" cy="448490"/>
            </a:xfrm>
            <a:prstGeom prst="roundRect">
              <a:avLst>
                <a:gd name="adj" fmla="val 26236"/>
              </a:avLst>
            </a:prstGeom>
            <a:solidFill>
              <a:srgbClr val="CF4C09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447A020-02B5-4E64-BFB1-316C97B31253}"/>
                </a:ext>
              </a:extLst>
            </p:cNvPr>
            <p:cNvSpPr/>
            <p:nvPr/>
          </p:nvSpPr>
          <p:spPr>
            <a:xfrm>
              <a:off x="2808909" y="4692662"/>
              <a:ext cx="2620456" cy="432048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「삼일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」 홈페이지로 이동하기</a:t>
              </a:r>
              <a:endPara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F84B3398-DF67-4FF1-BD86-4268A9A3D1CE}"/>
              </a:ext>
            </a:extLst>
          </p:cNvPr>
          <p:cNvSpPr/>
          <p:nvPr/>
        </p:nvSpPr>
        <p:spPr>
          <a:xfrm>
            <a:off x="475017" y="5652804"/>
            <a:ext cx="7588067" cy="43540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메일은 발신전용 메일이며 회신 처리되지 않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약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내용이 불충분하시다면 다시 한번 온라인 문의를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남겨주시면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한 빠르고 정확한 답변을 드릴 수 있도록 하겠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ctr">
              <a:lnSpc>
                <a:spcPct val="100000"/>
              </a:lnSpc>
            </a:pP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6" name="표 10">
            <a:extLst>
              <a:ext uri="{FF2B5EF4-FFF2-40B4-BE49-F238E27FC236}">
                <a16:creationId xmlns:a16="http://schemas.microsoft.com/office/drawing/2014/main" id="{E454BE91-C15A-4567-91CE-C3AE02001F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574595"/>
              </p:ext>
            </p:extLst>
          </p:nvPr>
        </p:nvGraphicFramePr>
        <p:xfrm>
          <a:off x="9267391" y="759199"/>
          <a:ext cx="2922885" cy="12593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35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958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본문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3897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F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화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F921B9B1-D328-4893-9440-3CC346780186}"/>
              </a:ext>
            </a:extLst>
          </p:cNvPr>
          <p:cNvSpPr/>
          <p:nvPr/>
        </p:nvSpPr>
        <p:spPr>
          <a:xfrm>
            <a:off x="514014" y="19348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3989DBCA-6B12-4120-85FB-5403B420319E}"/>
              </a:ext>
            </a:extLst>
          </p:cNvPr>
          <p:cNvSpPr/>
          <p:nvPr/>
        </p:nvSpPr>
        <p:spPr>
          <a:xfrm>
            <a:off x="602456" y="47996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A4F50EE-AFFA-42EE-932D-E9AAEA0BD3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4910" y="2658732"/>
            <a:ext cx="6719241" cy="1912222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57161BAA-2008-4606-81F5-6C43AE0F035A}"/>
              </a:ext>
            </a:extLst>
          </p:cNvPr>
          <p:cNvSpPr/>
          <p:nvPr/>
        </p:nvSpPr>
        <p:spPr>
          <a:xfrm>
            <a:off x="744909" y="2626340"/>
            <a:ext cx="6831607" cy="2006040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C782FDFC-66F2-4397-ADCA-4DDD1447E585}"/>
              </a:ext>
            </a:extLst>
          </p:cNvPr>
          <p:cNvSpPr/>
          <p:nvPr/>
        </p:nvSpPr>
        <p:spPr>
          <a:xfrm>
            <a:off x="2562391" y="3393133"/>
            <a:ext cx="3196641" cy="54774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삽입</a:t>
            </a: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A9412E4D-6E21-49E3-9008-46C0CD6052D5}"/>
              </a:ext>
            </a:extLst>
          </p:cNvPr>
          <p:cNvSpPr/>
          <p:nvPr/>
        </p:nvSpPr>
        <p:spPr>
          <a:xfrm>
            <a:off x="1344277" y="2195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2B5613B4-94B5-428C-8EB3-2F4800F447D2}"/>
              </a:ext>
            </a:extLst>
          </p:cNvPr>
          <p:cNvSpPr/>
          <p:nvPr/>
        </p:nvSpPr>
        <p:spPr>
          <a:xfrm>
            <a:off x="647075" y="26209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4990989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4B84E1BD-A93E-4035-B8D0-F36FF3C1C0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49079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4B84E1BD-A93E-4035-B8D0-F36FF3C1C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58926" y="457201"/>
            <a:ext cx="7273379" cy="2514601"/>
          </a:xfrm>
        </p:spPr>
        <p:txBody>
          <a:bodyPr vert="horz">
            <a:normAutofit/>
          </a:bodyPr>
          <a:lstStyle/>
          <a:p>
            <a:r>
              <a:rPr lang="en-US" altLang="ko-KR" sz="3600" b="1" dirty="0"/>
              <a:t>End</a:t>
            </a:r>
            <a:r>
              <a:rPr lang="ko-KR" altLang="en-US" sz="3600" b="1" dirty="0"/>
              <a:t> </a:t>
            </a:r>
            <a:r>
              <a:rPr lang="en-US" altLang="ko-KR" sz="3600" b="1" dirty="0"/>
              <a:t>of Document</a:t>
            </a:r>
            <a:endParaRPr lang="ko-KR" altLang="en-US" sz="3600" b="1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t>© 2023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프라이스워터하우스쿠퍼스컨설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178253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622845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OME (Landing Page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4E4B9C34-32FD-4FF7-A591-64F4A487F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395653"/>
              </p:ext>
            </p:extLst>
          </p:nvPr>
        </p:nvGraphicFramePr>
        <p:xfrm>
          <a:off x="9273919" y="1499612"/>
          <a:ext cx="2922885" cy="5097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2975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로팅배너</a:t>
                      </a: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R001, R002, R004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5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6, R007, R008, R009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R010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폰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화면 이동 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경 컬러 변경되어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0339327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로팅배너</a:t>
                      </a:r>
                      <a:r>
                        <a:rPr lang="en-US" altLang="ko-KR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</a:t>
                      </a:r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endParaRPr lang="en-US" altLang="ko-KR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E001, E00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서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폰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화면 이동 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경 컬러 변경되어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949432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A95FBBED-4605-435F-9705-1E6D27BF96AB}"/>
              </a:ext>
            </a:extLst>
          </p:cNvPr>
          <p:cNvSpPr/>
          <p:nvPr/>
        </p:nvSpPr>
        <p:spPr>
          <a:xfrm>
            <a:off x="840026" y="1102150"/>
            <a:ext cx="1216800" cy="95694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7CC49A2-7A98-4B32-987C-89EBF0556344}"/>
              </a:ext>
            </a:extLst>
          </p:cNvPr>
          <p:cNvSpPr/>
          <p:nvPr/>
        </p:nvSpPr>
        <p:spPr>
          <a:xfrm>
            <a:off x="879181" y="1713902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0FF80CD1-F2D4-47C8-97A5-37B4C1ACED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3326" y="1288143"/>
            <a:ext cx="449001" cy="383626"/>
          </a:xfrm>
          <a:prstGeom prst="rect">
            <a:avLst/>
          </a:prstGeom>
        </p:spPr>
      </p:pic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8CC3405-AB11-4D8B-B2F5-FCBCF4724FE4}"/>
              </a:ext>
            </a:extLst>
          </p:cNvPr>
          <p:cNvCxnSpPr>
            <a:cxnSpLocks/>
          </p:cNvCxnSpPr>
          <p:nvPr/>
        </p:nvCxnSpPr>
        <p:spPr>
          <a:xfrm>
            <a:off x="953770" y="2059098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B99BFE8F-3F6A-4D75-9533-E0F33B1F695F}"/>
              </a:ext>
            </a:extLst>
          </p:cNvPr>
          <p:cNvSpPr/>
          <p:nvPr/>
        </p:nvSpPr>
        <p:spPr>
          <a:xfrm>
            <a:off x="2333074" y="1102150"/>
            <a:ext cx="1228445" cy="270293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9" name="표 29">
            <a:extLst>
              <a:ext uri="{FF2B5EF4-FFF2-40B4-BE49-F238E27FC236}">
                <a16:creationId xmlns:a16="http://schemas.microsoft.com/office/drawing/2014/main" id="{1817DC3D-D192-46CE-AD38-DDCA97FF16D6}"/>
              </a:ext>
            </a:extLst>
          </p:cNvPr>
          <p:cNvGraphicFramePr>
            <a:graphicFrameLocks noGrp="1"/>
          </p:cNvGraphicFramePr>
          <p:nvPr/>
        </p:nvGraphicFramePr>
        <p:xfrm>
          <a:off x="2338896" y="1106010"/>
          <a:ext cx="1216800" cy="1594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6800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1050" b="1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가이드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u="none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ESG </a:t>
                      </a:r>
                      <a:r>
                        <a:rPr lang="ko-KR" altLang="en-US" sz="1050" b="1" u="none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ESG </a:t>
                      </a:r>
                      <a:r>
                        <a:rPr lang="ko-KR" altLang="en-US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이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16882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5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〮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1050" b="1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  <a:endParaRPr lang="ko-KR" altLang="en-US" sz="1050" b="1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7982324"/>
                  </a:ext>
                </a:extLst>
              </a:tr>
            </a:tbl>
          </a:graphicData>
        </a:graphic>
      </p:graphicFrame>
      <p:sp>
        <p:nvSpPr>
          <p:cNvPr id="88" name="직사각형 87">
            <a:extLst>
              <a:ext uri="{FF2B5EF4-FFF2-40B4-BE49-F238E27FC236}">
                <a16:creationId xmlns:a16="http://schemas.microsoft.com/office/drawing/2014/main" id="{550EA889-16BE-4724-B8F2-A2C0FB2F1252}"/>
              </a:ext>
            </a:extLst>
          </p:cNvPr>
          <p:cNvSpPr/>
          <p:nvPr/>
        </p:nvSpPr>
        <p:spPr>
          <a:xfrm>
            <a:off x="2368651" y="3320777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89" name="그림 88">
            <a:extLst>
              <a:ext uri="{FF2B5EF4-FFF2-40B4-BE49-F238E27FC236}">
                <a16:creationId xmlns:a16="http://schemas.microsoft.com/office/drawing/2014/main" id="{734276B8-8957-48D5-A7F5-2E4CD410AE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2796" y="2895018"/>
            <a:ext cx="449001" cy="383626"/>
          </a:xfrm>
          <a:prstGeom prst="rect">
            <a:avLst/>
          </a:prstGeom>
        </p:spPr>
      </p:pic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BFE8F0B6-24C5-4D49-B76D-9ED562B6EE1F}"/>
              </a:ext>
            </a:extLst>
          </p:cNvPr>
          <p:cNvCxnSpPr>
            <a:cxnSpLocks/>
          </p:cNvCxnSpPr>
          <p:nvPr/>
        </p:nvCxnSpPr>
        <p:spPr>
          <a:xfrm>
            <a:off x="2443240" y="2740478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C051063-D574-4DF0-A218-D02D54901F73}"/>
              </a:ext>
            </a:extLst>
          </p:cNvPr>
          <p:cNvSpPr/>
          <p:nvPr/>
        </p:nvSpPr>
        <p:spPr>
          <a:xfrm>
            <a:off x="3911745" y="1106132"/>
            <a:ext cx="1223771" cy="397905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9" name="표 29">
            <a:extLst>
              <a:ext uri="{FF2B5EF4-FFF2-40B4-BE49-F238E27FC236}">
                <a16:creationId xmlns:a16="http://schemas.microsoft.com/office/drawing/2014/main" id="{F0F2F254-9437-4569-9022-B654CD2B33E0}"/>
              </a:ext>
            </a:extLst>
          </p:cNvPr>
          <p:cNvGraphicFramePr>
            <a:graphicFrameLocks noGrp="1"/>
          </p:cNvGraphicFramePr>
          <p:nvPr/>
        </p:nvGraphicFramePr>
        <p:xfrm>
          <a:off x="3915230" y="1109992"/>
          <a:ext cx="1216800" cy="27911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6800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공시 안내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GRI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ISSB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16882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SEC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7982324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CSR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7144607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+  TNF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2402909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TCFD</a:t>
                      </a:r>
                      <a:endParaRPr lang="ko-KR" altLang="en-US" sz="10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257402"/>
                  </a:ext>
                </a:extLst>
              </a:tr>
            </a:tbl>
          </a:graphicData>
        </a:graphic>
      </p:graphicFrame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6DC1C63A-E21A-4217-B373-FE6C195D7589}"/>
              </a:ext>
            </a:extLst>
          </p:cNvPr>
          <p:cNvSpPr/>
          <p:nvPr/>
        </p:nvSpPr>
        <p:spPr>
          <a:xfrm>
            <a:off x="3944985" y="4667978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102" name="그림 101">
            <a:extLst>
              <a:ext uri="{FF2B5EF4-FFF2-40B4-BE49-F238E27FC236}">
                <a16:creationId xmlns:a16="http://schemas.microsoft.com/office/drawing/2014/main" id="{00783BF8-E73E-4A4C-A523-3FED0B3D4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9130" y="4242219"/>
            <a:ext cx="449001" cy="383626"/>
          </a:xfrm>
          <a:prstGeom prst="rect">
            <a:avLst/>
          </a:prstGeom>
        </p:spPr>
      </p:pic>
      <p:cxnSp>
        <p:nvCxnSpPr>
          <p:cNvPr id="111" name="직선 연결선 110">
            <a:extLst>
              <a:ext uri="{FF2B5EF4-FFF2-40B4-BE49-F238E27FC236}">
                <a16:creationId xmlns:a16="http://schemas.microsoft.com/office/drawing/2014/main" id="{E0983416-6D9A-4EAE-9DCA-7C412A479EFA}"/>
              </a:ext>
            </a:extLst>
          </p:cNvPr>
          <p:cNvCxnSpPr>
            <a:cxnSpLocks/>
          </p:cNvCxnSpPr>
          <p:nvPr/>
        </p:nvCxnSpPr>
        <p:spPr>
          <a:xfrm>
            <a:off x="4019574" y="4087679"/>
            <a:ext cx="10081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60AD0C28-0C67-4C58-9003-B7DBA1513E68}"/>
              </a:ext>
            </a:extLst>
          </p:cNvPr>
          <p:cNvSpPr/>
          <p:nvPr/>
        </p:nvSpPr>
        <p:spPr>
          <a:xfrm>
            <a:off x="5452918" y="1097022"/>
            <a:ext cx="1225634" cy="191228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000" b="1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4" name="표 29">
            <a:extLst>
              <a:ext uri="{FF2B5EF4-FFF2-40B4-BE49-F238E27FC236}">
                <a16:creationId xmlns:a16="http://schemas.microsoft.com/office/drawing/2014/main" id="{CF4ADB10-2127-4502-98B9-F8BC731280F0}"/>
              </a:ext>
            </a:extLst>
          </p:cNvPr>
          <p:cNvGraphicFramePr>
            <a:graphicFrameLocks noGrp="1"/>
          </p:cNvGraphicFramePr>
          <p:nvPr/>
        </p:nvGraphicFramePr>
        <p:xfrm>
          <a:off x="5456890" y="1100882"/>
          <a:ext cx="1217691" cy="79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7691">
                  <a:extLst>
                    <a:ext uri="{9D8B030D-6E8A-4147-A177-3AD203B41FA5}">
                      <a16:colId xmlns:a16="http://schemas.microsoft.com/office/drawing/2014/main" val="3378859392"/>
                    </a:ext>
                  </a:extLst>
                </a:gridCol>
              </a:tblGrid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 안내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034400"/>
                  </a:ext>
                </a:extLst>
              </a:tr>
              <a:tr h="39873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중요평가항목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368241"/>
                  </a:ext>
                </a:extLst>
              </a:tr>
            </a:tbl>
          </a:graphicData>
        </a:graphic>
      </p:graphicFrame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1B15F16-B9A7-48CC-9F7A-85BCC8FE97FE}"/>
              </a:ext>
            </a:extLst>
          </p:cNvPr>
          <p:cNvSpPr/>
          <p:nvPr/>
        </p:nvSpPr>
        <p:spPr>
          <a:xfrm>
            <a:off x="5487090" y="2565157"/>
            <a:ext cx="1157290" cy="26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문의</a:t>
            </a:r>
          </a:p>
        </p:txBody>
      </p:sp>
      <p:pic>
        <p:nvPicPr>
          <p:cNvPr id="116" name="그림 115">
            <a:extLst>
              <a:ext uri="{FF2B5EF4-FFF2-40B4-BE49-F238E27FC236}">
                <a16:creationId xmlns:a16="http://schemas.microsoft.com/office/drawing/2014/main" id="{8B03790E-29DE-4DE1-8A46-8AB31EF8B7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41235" y="2139398"/>
            <a:ext cx="449001" cy="383626"/>
          </a:xfrm>
          <a:prstGeom prst="rect">
            <a:avLst/>
          </a:prstGeom>
        </p:spPr>
      </p:pic>
      <p:sp>
        <p:nvSpPr>
          <p:cNvPr id="12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5FAB559-4404-4CC1-9070-97B62AB88A5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30672" y="713376"/>
            <a:ext cx="1469738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7FC71F7-7DFF-4A44-A3FE-982A1CEEF7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0317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통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7710CDB-AD24-4F73-80DC-377AD6F283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922244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585288A-B0E1-41A4-9580-50C30C6416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459099" y="713376"/>
            <a:ext cx="1213272" cy="37089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로팅배너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25" name="그림 124">
            <a:extLst>
              <a:ext uri="{FF2B5EF4-FFF2-40B4-BE49-F238E27FC236}">
                <a16:creationId xmlns:a16="http://schemas.microsoft.com/office/drawing/2014/main" id="{4049E032-1666-41A5-B878-AB3BB112CF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4604" y="1759442"/>
            <a:ext cx="161003" cy="156908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5E0CDA78-FD60-493D-A702-C5DD365AB31B}"/>
              </a:ext>
            </a:extLst>
          </p:cNvPr>
          <p:cNvSpPr txBox="1"/>
          <p:nvPr/>
        </p:nvSpPr>
        <p:spPr>
          <a:xfrm>
            <a:off x="9207041" y="794373"/>
            <a:ext cx="2929413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● </a:t>
            </a:r>
            <a:r>
              <a:rPr lang="ko-KR" altLang="en-US" sz="8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플로팅배너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2,3,4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가 출력되는 화면 외 모든 메인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서브 화면</a:t>
            </a: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에서 </a:t>
            </a:r>
            <a:r>
              <a:rPr lang="ko-KR" altLang="en-US" sz="8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플로팅배너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1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출력</a:t>
            </a: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●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온라인문의 버튼 클릭 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문의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·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요청 등록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(ID:Q001)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팝업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출력</a:t>
            </a:r>
          </a:p>
        </p:txBody>
      </p:sp>
      <p:graphicFrame>
        <p:nvGraphicFramePr>
          <p:cNvPr id="128" name="표 127">
            <a:extLst>
              <a:ext uri="{FF2B5EF4-FFF2-40B4-BE49-F238E27FC236}">
                <a16:creationId xmlns:a16="http://schemas.microsoft.com/office/drawing/2014/main" id="{2B9E3399-1B1C-4416-99E5-88B53DB80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991912"/>
              </p:ext>
            </p:extLst>
          </p:nvPr>
        </p:nvGraphicFramePr>
        <p:xfrm>
          <a:off x="9684551" y="2524876"/>
          <a:ext cx="2451903" cy="2194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6806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585097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1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공시 안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GRI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2] GRI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ISSB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3] ISS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05741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SEC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4] SE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89350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CSRD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8]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32576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TNFD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9]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616867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+  TCFD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10] TCF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06555"/>
                  </a:ext>
                </a:extLst>
              </a:tr>
            </a:tbl>
          </a:graphicData>
        </a:graphic>
      </p:graphicFrame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59FD0664-723C-435A-BD7D-9814B493F7A0}"/>
              </a:ext>
            </a:extLst>
          </p:cNvPr>
          <p:cNvSpPr/>
          <p:nvPr/>
        </p:nvSpPr>
        <p:spPr>
          <a:xfrm>
            <a:off x="2260593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201A224F-5BBE-42B8-B105-F004B88661E5}"/>
              </a:ext>
            </a:extLst>
          </p:cNvPr>
          <p:cNvSpPr/>
          <p:nvPr/>
        </p:nvSpPr>
        <p:spPr>
          <a:xfrm>
            <a:off x="3855131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54E00E84-D876-486B-BAA9-AA70FA819D4A}"/>
              </a:ext>
            </a:extLst>
          </p:cNvPr>
          <p:cNvSpPr/>
          <p:nvPr/>
        </p:nvSpPr>
        <p:spPr>
          <a:xfrm>
            <a:off x="5412300" y="10442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D0E2FD8F-58CA-419E-8375-1BD4ED6BB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253187"/>
              </p:ext>
            </p:extLst>
          </p:nvPr>
        </p:nvGraphicFramePr>
        <p:xfrm>
          <a:off x="9685140" y="5668403"/>
          <a:ext cx="2451903" cy="822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6806">
                  <a:extLst>
                    <a:ext uri="{9D8B030D-6E8A-4147-A177-3AD203B41FA5}">
                      <a16:colId xmlns:a16="http://schemas.microsoft.com/office/drawing/2014/main" val="3129029797"/>
                    </a:ext>
                  </a:extLst>
                </a:gridCol>
                <a:gridCol w="1585097">
                  <a:extLst>
                    <a:ext uri="{9D8B030D-6E8A-4147-A177-3AD203B41FA5}">
                      <a16:colId xmlns:a16="http://schemas.microsoft.com/office/drawing/2014/main" val="1674112386"/>
                    </a:ext>
                  </a:extLst>
                </a:gridCol>
              </a:tblGrid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명</a:t>
                      </a:r>
                      <a:endParaRPr 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화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583379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 안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001]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평가기관 안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12666"/>
                  </a:ext>
                </a:extLst>
              </a:tr>
              <a:tr h="23957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i="0" u="none" strike="noStrike" kern="1200" cap="none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별 중요평가항목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002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중요평가항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87400"/>
                  </a:ext>
                </a:extLst>
              </a:tr>
            </a:tbl>
          </a:graphicData>
        </a:graphic>
      </p:graphicFrame>
      <p:sp>
        <p:nvSpPr>
          <p:cNvPr id="39" name="직사각형 38">
            <a:extLst>
              <a:ext uri="{FF2B5EF4-FFF2-40B4-BE49-F238E27FC236}">
                <a16:creationId xmlns:a16="http://schemas.microsoft.com/office/drawing/2014/main" id="{2DBAD465-BD1F-4518-A245-1F56B3A5E12E}"/>
              </a:ext>
            </a:extLst>
          </p:cNvPr>
          <p:cNvSpPr/>
          <p:nvPr/>
        </p:nvSpPr>
        <p:spPr>
          <a:xfrm>
            <a:off x="2188062" y="762781"/>
            <a:ext cx="4556010" cy="4538425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322F411-1762-48E5-8E25-472AE304AFA9}"/>
              </a:ext>
            </a:extLst>
          </p:cNvPr>
          <p:cNvSpPr/>
          <p:nvPr/>
        </p:nvSpPr>
        <p:spPr>
          <a:xfrm>
            <a:off x="3908931" y="1695178"/>
            <a:ext cx="694135" cy="89769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 defTabSz="914400">
              <a:lnSpc>
                <a:spcPct val="12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5977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649055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화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입력하여 로그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597364"/>
              </p:ext>
            </p:extLst>
          </p:nvPr>
        </p:nvGraphicFramePr>
        <p:xfrm>
          <a:off x="9273919" y="746533"/>
          <a:ext cx="2922885" cy="57557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44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문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71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19145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입력 후 로그인하기 버튼 클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화면 진입 직전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불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또는 비밀번호가 올바르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않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시 확인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4206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저장 체크 후 로그인 성공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후 로그인 화면에서는 아이디 입력창에 아이디 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저장 체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n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로 화면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  <a:tr h="2544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찾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16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등록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3]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이동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799112"/>
                  </a:ext>
                </a:extLst>
              </a:tr>
            </a:tbl>
          </a:graphicData>
        </a:graphic>
      </p:graphicFrame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17321716-1476-45A7-8F7B-5819F107DD6D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5F47612C-6402-41F2-A9C9-7FAC6562CD26}"/>
              </a:ext>
            </a:extLst>
          </p:cNvPr>
          <p:cNvCxnSpPr>
            <a:cxnSpLocks/>
          </p:cNvCxnSpPr>
          <p:nvPr/>
        </p:nvCxnSpPr>
        <p:spPr>
          <a:xfrm>
            <a:off x="3036502" y="2269084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8AD50CD9-189B-4F2E-9CDD-DD0FAF7A4625}"/>
              </a:ext>
            </a:extLst>
          </p:cNvPr>
          <p:cNvSpPr/>
          <p:nvPr/>
        </p:nvSpPr>
        <p:spPr>
          <a:xfrm>
            <a:off x="4362501" y="1844824"/>
            <a:ext cx="767541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003FD4C-EE27-4693-AD17-44F96079FA87}"/>
              </a:ext>
            </a:extLst>
          </p:cNvPr>
          <p:cNvSpPr/>
          <p:nvPr/>
        </p:nvSpPr>
        <p:spPr>
          <a:xfrm>
            <a:off x="3054083" y="2620913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를 입력해주세요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D2C72608-200C-4980-9984-7F34779A4952}"/>
              </a:ext>
            </a:extLst>
          </p:cNvPr>
          <p:cNvSpPr/>
          <p:nvPr/>
        </p:nvSpPr>
        <p:spPr>
          <a:xfrm>
            <a:off x="3036503" y="3961883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하기</a:t>
            </a: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AABD8152-4469-4F4A-BB03-32BCA02D471A}"/>
              </a:ext>
            </a:extLst>
          </p:cNvPr>
          <p:cNvSpPr/>
          <p:nvPr/>
        </p:nvSpPr>
        <p:spPr>
          <a:xfrm>
            <a:off x="3036503" y="5120757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하기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C892402-9185-4573-811A-B058F346ECB4}"/>
              </a:ext>
            </a:extLst>
          </p:cNvPr>
          <p:cNvSpPr/>
          <p:nvPr/>
        </p:nvSpPr>
        <p:spPr>
          <a:xfrm>
            <a:off x="4809048" y="4413506"/>
            <a:ext cx="1710611" cy="226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 찾기       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395E851-D448-4509-B65E-F7CB115331E4}"/>
              </a:ext>
            </a:extLst>
          </p:cNvPr>
          <p:cNvSpPr/>
          <p:nvPr/>
        </p:nvSpPr>
        <p:spPr>
          <a:xfrm>
            <a:off x="2998902" y="2450226"/>
            <a:ext cx="720833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1065DD2-68C6-42B5-840C-FE1196914838}"/>
              </a:ext>
            </a:extLst>
          </p:cNvPr>
          <p:cNvSpPr/>
          <p:nvPr/>
        </p:nvSpPr>
        <p:spPr>
          <a:xfrm>
            <a:off x="2998903" y="3047584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18369E7-E1BC-43C5-806F-F4B3135F8D67}"/>
              </a:ext>
            </a:extLst>
          </p:cNvPr>
          <p:cNvSpPr/>
          <p:nvPr/>
        </p:nvSpPr>
        <p:spPr>
          <a:xfrm>
            <a:off x="3054083" y="326617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입력해주세요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061A7E95-1DF4-431D-B828-5B21FDB3CD12}"/>
              </a:ext>
            </a:extLst>
          </p:cNvPr>
          <p:cNvSpPr/>
          <p:nvPr/>
        </p:nvSpPr>
        <p:spPr>
          <a:xfrm>
            <a:off x="3250433" y="4413506"/>
            <a:ext cx="833457" cy="226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저장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6F73AEDE-ABF3-406D-87A3-D21C032FD2C5}"/>
              </a:ext>
            </a:extLst>
          </p:cNvPr>
          <p:cNvGrpSpPr/>
          <p:nvPr/>
        </p:nvGrpSpPr>
        <p:grpSpPr>
          <a:xfrm>
            <a:off x="3117002" y="4450872"/>
            <a:ext cx="152069" cy="152069"/>
            <a:chOff x="3143672" y="4496705"/>
            <a:chExt cx="152069" cy="152069"/>
          </a:xfrm>
        </p:grpSpPr>
        <p:sp>
          <p:nvSpPr>
            <p:cNvPr id="2" name="타원 1">
              <a:extLst>
                <a:ext uri="{FF2B5EF4-FFF2-40B4-BE49-F238E27FC236}">
                  <a16:creationId xmlns:a16="http://schemas.microsoft.com/office/drawing/2014/main" id="{AD85EDCC-0092-4245-9D90-D35E163110D0}"/>
                </a:ext>
              </a:extLst>
            </p:cNvPr>
            <p:cNvSpPr/>
            <p:nvPr/>
          </p:nvSpPr>
          <p:spPr>
            <a:xfrm>
              <a:off x="3143672" y="4496705"/>
              <a:ext cx="152069" cy="152069"/>
            </a:xfrm>
            <a:prstGeom prst="ellips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E77275C3-28F7-4F59-ACE3-D8BEECB6D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79907" y="4529967"/>
              <a:ext cx="90522" cy="90522"/>
            </a:xfrm>
            <a:prstGeom prst="rect">
              <a:avLst/>
            </a:prstGeom>
          </p:spPr>
        </p:pic>
      </p:grp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159D19BB-89CA-4720-A909-BC0BC3FC6F7B}"/>
              </a:ext>
            </a:extLst>
          </p:cNvPr>
          <p:cNvSpPr/>
          <p:nvPr/>
        </p:nvSpPr>
        <p:spPr>
          <a:xfrm>
            <a:off x="2987031" y="25928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2111B9C3-0230-4B16-8C2E-6452518F22A2}"/>
              </a:ext>
            </a:extLst>
          </p:cNvPr>
          <p:cNvSpPr/>
          <p:nvPr/>
        </p:nvSpPr>
        <p:spPr>
          <a:xfrm>
            <a:off x="2994469" y="31933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3934394F-9742-4F62-8C1A-F0960BA5E222}"/>
              </a:ext>
            </a:extLst>
          </p:cNvPr>
          <p:cNvSpPr/>
          <p:nvPr/>
        </p:nvSpPr>
        <p:spPr>
          <a:xfrm>
            <a:off x="2992285" y="39330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1E67B30-D795-48F1-93E1-B9A9222253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6939" y="2850855"/>
            <a:ext cx="2020808" cy="2164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602149FE-97E5-4E3A-9608-26725890491D}"/>
              </a:ext>
            </a:extLst>
          </p:cNvPr>
          <p:cNvSpPr/>
          <p:nvPr/>
        </p:nvSpPr>
        <p:spPr>
          <a:xfrm>
            <a:off x="2992285" y="44662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0662FC34-6947-46C5-A1FF-F80990DA1C04}"/>
              </a:ext>
            </a:extLst>
          </p:cNvPr>
          <p:cNvSpPr/>
          <p:nvPr/>
        </p:nvSpPr>
        <p:spPr>
          <a:xfrm>
            <a:off x="5130042" y="44727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C921D1E8-D7D8-48B9-8A76-805E2B38D83B}"/>
              </a:ext>
            </a:extLst>
          </p:cNvPr>
          <p:cNvSpPr/>
          <p:nvPr/>
        </p:nvSpPr>
        <p:spPr>
          <a:xfrm>
            <a:off x="2986043" y="50948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2B388610-8E6D-481D-8B60-A74C6005B09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0BFB5D2A-79E8-40FC-8996-3339887CCA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FA7CD050-49CC-43EF-A4C6-71FBE14FF1A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8" name="그림 37">
              <a:extLst>
                <a:ext uri="{FF2B5EF4-FFF2-40B4-BE49-F238E27FC236}">
                  <a16:creationId xmlns:a16="http://schemas.microsoft.com/office/drawing/2014/main" id="{BEF920DD-CB19-4C09-A325-D68B24F9D3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D4D5CA51-7413-49A6-987F-29E0A988D4C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20066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943986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찾기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정보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를 해당 이메일로 발송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1657054"/>
              </p:ext>
            </p:extLst>
          </p:nvPr>
        </p:nvGraphicFramePr>
        <p:xfrm>
          <a:off x="9267391" y="748933"/>
          <a:ext cx="2922885" cy="222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을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문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주소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시 등록한 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이메일 주소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문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버튼 클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일치하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이메일 발송 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17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불일치하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불일치 안내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18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8AD50CD9-189B-4F2E-9CDD-DD0FAF7A4625}"/>
              </a:ext>
            </a:extLst>
          </p:cNvPr>
          <p:cNvSpPr/>
          <p:nvPr/>
        </p:nvSpPr>
        <p:spPr>
          <a:xfrm>
            <a:off x="1874741" y="2417623"/>
            <a:ext cx="5760640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가입 시 등록한 이메일 주소로 본인 확인 진행 후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2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와 임시비밀번호를 회원님의 이메일로 발송해 드립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003FD4C-EE27-4693-AD17-44F96079FA87}"/>
              </a:ext>
            </a:extLst>
          </p:cNvPr>
          <p:cNvSpPr/>
          <p:nvPr/>
        </p:nvSpPr>
        <p:spPr>
          <a:xfrm>
            <a:off x="3054083" y="312257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을 입력해주세요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D2C72608-200C-4980-9984-7F34779A4952}"/>
              </a:ext>
            </a:extLst>
          </p:cNvPr>
          <p:cNvSpPr/>
          <p:nvPr/>
        </p:nvSpPr>
        <p:spPr>
          <a:xfrm>
            <a:off x="3054083" y="4244818"/>
            <a:ext cx="340195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1065DD2-68C6-42B5-840C-FE1196914838}"/>
              </a:ext>
            </a:extLst>
          </p:cNvPr>
          <p:cNvSpPr/>
          <p:nvPr/>
        </p:nvSpPr>
        <p:spPr>
          <a:xfrm>
            <a:off x="2998903" y="3549250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18369E7-E1BC-43C5-806F-F4B3135F8D67}"/>
              </a:ext>
            </a:extLst>
          </p:cNvPr>
          <p:cNvSpPr/>
          <p:nvPr/>
        </p:nvSpPr>
        <p:spPr>
          <a:xfrm>
            <a:off x="3054083" y="3767845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시 등록한 소속</a:t>
            </a:r>
            <a:r>
              <a:rPr lang="en-US" altLang="ko-KR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</a:t>
            </a:r>
            <a:r>
              <a:rPr lang="en-US" altLang="ko-KR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</a:t>
            </a:r>
            <a:r>
              <a:rPr lang="en-US" altLang="ko-KR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</a:t>
            </a:r>
            <a:r>
              <a:rPr lang="ko-KR" altLang="en-US" sz="800" i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를</a:t>
            </a:r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입력해주세요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CBFB9FF-BCEE-485D-9BE7-DFEDF637FBEB}"/>
              </a:ext>
            </a:extLst>
          </p:cNvPr>
          <p:cNvSpPr/>
          <p:nvPr/>
        </p:nvSpPr>
        <p:spPr>
          <a:xfrm>
            <a:off x="2998902" y="2951892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</a:t>
            </a: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6531F7C1-CA0D-4B77-ADC2-9EAB40C9A93B}"/>
              </a:ext>
            </a:extLst>
          </p:cNvPr>
          <p:cNvSpPr/>
          <p:nvPr/>
        </p:nvSpPr>
        <p:spPr>
          <a:xfrm>
            <a:off x="2978338" y="30787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BEC6A947-8074-4E3B-B86D-D2A608C745E7}"/>
              </a:ext>
            </a:extLst>
          </p:cNvPr>
          <p:cNvSpPr/>
          <p:nvPr/>
        </p:nvSpPr>
        <p:spPr>
          <a:xfrm>
            <a:off x="2988268" y="373665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060C61E5-4AC1-4C9F-8EFF-7E1F093F3C2D}"/>
              </a:ext>
            </a:extLst>
          </p:cNvPr>
          <p:cNvSpPr/>
          <p:nvPr/>
        </p:nvSpPr>
        <p:spPr>
          <a:xfrm>
            <a:off x="2990965" y="42157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EC3124FE-EB93-4CAF-B5C5-753CF5DD5F76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FA5FE085-D0BF-4B01-8D26-FD0533A420A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69E0D031-2EBF-4A4C-8C52-E87C4271FE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01AD0165-9E06-4FA9-B47A-CB732F07D7A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0DF9926D-0E65-419F-9808-198904B165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1E6526BA-BD2E-4CFD-8593-FFC04F2829D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2F405983-0875-4E3D-8851-3D1CB3CBEB00}"/>
              </a:ext>
            </a:extLst>
          </p:cNvPr>
          <p:cNvSpPr/>
          <p:nvPr/>
        </p:nvSpPr>
        <p:spPr>
          <a:xfrm>
            <a:off x="1847151" y="1889985"/>
            <a:ext cx="5760640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∙ 비밀번호 찾기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24158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676239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이메일 발송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일치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시비밀번호 이메일 발송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437118"/>
              </p:ext>
            </p:extLst>
          </p:nvPr>
        </p:nvGraphicFramePr>
        <p:xfrm>
          <a:off x="9267391" y="764704"/>
          <a:ext cx="2922885" cy="6480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이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주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79F1A62D-9649-4415-9C74-56F25DCB6CC7}"/>
              </a:ext>
            </a:extLst>
          </p:cNvPr>
          <p:cNvSpPr/>
          <p:nvPr/>
        </p:nvSpPr>
        <p:spPr>
          <a:xfrm>
            <a:off x="2829325" y="2348880"/>
            <a:ext cx="3651596" cy="2420192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hlinkClick r:id="rId3"/>
              </a:rPr>
              <a:t>Samil_kim@pwc.com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으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와 임시 비밀번호를 전송하였습니다</a:t>
            </a:r>
            <a:r>
              <a:rPr lang="en-US" altLang="ko-KR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일을 받지 못하셨다면 </a:t>
            </a:r>
            <a:r>
              <a:rPr lang="ko-KR" altLang="en-US" sz="11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스팸함을</a:t>
            </a: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확인해보세요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임시 비밀번호는 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정보 수정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변경하여 주세요</a:t>
            </a:r>
            <a:r>
              <a:rPr lang="en-US" altLang="ko-KR" sz="1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30000"/>
              </a:lnSpc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AA9BBD20-AF8F-4807-A751-87246FD0C089}"/>
              </a:ext>
            </a:extLst>
          </p:cNvPr>
          <p:cNvCxnSpPr>
            <a:cxnSpLocks/>
            <a:endCxn id="29" idx="3"/>
          </p:cNvCxnSpPr>
          <p:nvPr/>
        </p:nvCxnSpPr>
        <p:spPr>
          <a:xfrm>
            <a:off x="2869354" y="3496458"/>
            <a:ext cx="3611567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8CEF8AF3-7528-4662-9EC6-129E3361CB09}"/>
              </a:ext>
            </a:extLst>
          </p:cNvPr>
          <p:cNvSpPr/>
          <p:nvPr/>
        </p:nvSpPr>
        <p:spPr>
          <a:xfrm>
            <a:off x="2978338" y="26459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899F39B1-BDC9-451A-8A5D-05210C28E00D}"/>
              </a:ext>
            </a:extLst>
          </p:cNvPr>
          <p:cNvSpPr/>
          <p:nvPr/>
        </p:nvSpPr>
        <p:spPr>
          <a:xfrm>
            <a:off x="3863752" y="264083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4A4ABBF6-EB55-4916-9F4D-2D3C625B767C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A357EA53-1232-4F6A-BB58-449EAF6FEA29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022B1C23-B853-4980-8E28-3A9EF14456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A114A3E6-B4DF-4FF7-BF51-359C9907372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BA4BBCF6-6629-471B-96B0-4EFEACA2D7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A709643-3228-48AD-8A93-2025D4A0E96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80999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70294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1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불일치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불일치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확인 안내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291172"/>
              </p:ext>
            </p:extLst>
          </p:nvPr>
        </p:nvGraphicFramePr>
        <p:xfrm>
          <a:off x="9267391" y="744775"/>
          <a:ext cx="2922885" cy="3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5F47612C-6402-41F2-A9C9-7FAC6562CD26}"/>
              </a:ext>
            </a:extLst>
          </p:cNvPr>
          <p:cNvCxnSpPr>
            <a:cxnSpLocks/>
          </p:cNvCxnSpPr>
          <p:nvPr/>
        </p:nvCxnSpPr>
        <p:spPr>
          <a:xfrm>
            <a:off x="3036502" y="2528580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8AD50CD9-189B-4F2E-9CDD-DD0FAF7A4625}"/>
              </a:ext>
            </a:extLst>
          </p:cNvPr>
          <p:cNvSpPr/>
          <p:nvPr/>
        </p:nvSpPr>
        <p:spPr>
          <a:xfrm>
            <a:off x="3054083" y="2104320"/>
            <a:ext cx="3384376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찾기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003FD4C-EE27-4693-AD17-44F96079FA87}"/>
              </a:ext>
            </a:extLst>
          </p:cNvPr>
          <p:cNvSpPr/>
          <p:nvPr/>
        </p:nvSpPr>
        <p:spPr>
          <a:xfrm>
            <a:off x="3054083" y="288040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D2C72608-200C-4980-9984-7F34779A4952}"/>
              </a:ext>
            </a:extLst>
          </p:cNvPr>
          <p:cNvSpPr/>
          <p:nvPr/>
        </p:nvSpPr>
        <p:spPr>
          <a:xfrm>
            <a:off x="3036503" y="4002648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1065DD2-68C6-42B5-840C-FE1196914838}"/>
              </a:ext>
            </a:extLst>
          </p:cNvPr>
          <p:cNvSpPr/>
          <p:nvPr/>
        </p:nvSpPr>
        <p:spPr>
          <a:xfrm>
            <a:off x="2998903" y="3307080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18369E7-E1BC-43C5-806F-F4B3135F8D67}"/>
              </a:ext>
            </a:extLst>
          </p:cNvPr>
          <p:cNvSpPr/>
          <p:nvPr/>
        </p:nvSpPr>
        <p:spPr>
          <a:xfrm>
            <a:off x="3054083" y="3525675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.kim@pwc.com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CBFB9FF-BCEE-485D-9BE7-DFEDF637FBEB}"/>
              </a:ext>
            </a:extLst>
          </p:cNvPr>
          <p:cNvSpPr/>
          <p:nvPr/>
        </p:nvSpPr>
        <p:spPr>
          <a:xfrm>
            <a:off x="2998902" y="2709722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D752BFB-0454-4E05-A1C9-3B045B1EA1CC}"/>
              </a:ext>
            </a:extLst>
          </p:cNvPr>
          <p:cNvSpPr/>
          <p:nvPr/>
        </p:nvSpPr>
        <p:spPr>
          <a:xfrm>
            <a:off x="325448" y="606168"/>
            <a:ext cx="8625043" cy="606319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0F0695D8-40E3-42D8-B43F-6826D0AF42E2}"/>
              </a:ext>
            </a:extLst>
          </p:cNvPr>
          <p:cNvGrpSpPr/>
          <p:nvPr/>
        </p:nvGrpSpPr>
        <p:grpSpPr>
          <a:xfrm>
            <a:off x="2888880" y="2179434"/>
            <a:ext cx="3651596" cy="2420192"/>
            <a:chOff x="886236" y="2420888"/>
            <a:chExt cx="3049524" cy="1944216"/>
          </a:xfrm>
        </p:grpSpPr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79F1A62D-9649-4415-9C74-56F25DCB6CC7}"/>
                </a:ext>
              </a:extLst>
            </p:cNvPr>
            <p:cNvSpPr/>
            <p:nvPr/>
          </p:nvSpPr>
          <p:spPr>
            <a:xfrm>
              <a:off x="886236" y="2420888"/>
              <a:ext cx="3049524" cy="194421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치하는 정보를 찾을 수 없습니다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가입 시 입력한 정보가 맞는지 확인해주세요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endPara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ED6D0FB7-0A2B-46C7-86AA-92BFDB76C1AB}"/>
                </a:ext>
              </a:extLst>
            </p:cNvPr>
            <p:cNvSpPr/>
            <p:nvPr/>
          </p:nvSpPr>
          <p:spPr>
            <a:xfrm>
              <a:off x="2060427" y="3917214"/>
              <a:ext cx="665119" cy="26583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확인</a:t>
              </a:r>
            </a:p>
          </p:txBody>
        </p:sp>
      </p:grp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FE180E26-A81E-4BA5-B452-F9C0A0D4D6FC}"/>
              </a:ext>
            </a:extLst>
          </p:cNvPr>
          <p:cNvSpPr/>
          <p:nvPr/>
        </p:nvSpPr>
        <p:spPr>
          <a:xfrm>
            <a:off x="4221513" y="39878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E5C0C9A3-4A77-46F7-B812-29D20BCD5909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3901DA3D-8646-4A23-82F3-27FF5E5D505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8D5BED5C-C9B5-4CA8-A8C8-A6F8D90941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FC94CD51-F654-463D-8678-3671D054EF1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E7C28282-85DF-4A00-982B-E564E1FCF5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FADDC86A-48B5-420E-9393-BA9245554A2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0779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680" y="5439324"/>
            <a:ext cx="1126800" cy="854677"/>
          </a:xfrm>
          <a:prstGeom prst="rect">
            <a:avLst/>
          </a:prstGeom>
        </p:spPr>
      </p:pic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821002"/>
              </p:ext>
            </p:extLst>
          </p:nvPr>
        </p:nvGraphicFramePr>
        <p:xfrm>
          <a:off x="335360" y="822057"/>
          <a:ext cx="11521280" cy="54719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546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8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23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55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39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00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회원만 접근 가능한 컨텐츠 서비스 클릭 시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유도하는 팝업 화면 신규 추가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비로그인 회원이 컨텐츠 클릭 시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도팝업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V005]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385155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디스크립션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넘버링 맞춰 수정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395026"/>
                  </a:ext>
                </a:extLst>
              </a:tr>
              <a:tr h="364653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회원가입 시 입력 정보 기입 기능 수정 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릿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 제한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소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 이상 최대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 이하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화번호 입력 양식 변경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류 체크 조건 추가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입력형식이 아닌 경우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얼럿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시지 출력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 추가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/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팩스 번호 삭제</a:t>
                      </a:r>
                      <a:endParaRPr lang="en-US" altLang="ko-KR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088850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회원탈퇴 시 필수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값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입력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시 </a:t>
                      </a:r>
                      <a:r>
                        <a:rPr lang="ko-KR" altLang="en-US" sz="800" b="0" u="none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얼럿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시지 출력 기능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가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337995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신청이 완료되었습니다 → 탈퇴가 완료되었습니다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정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684786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발송기능 삭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복사기능으로 대체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032796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9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〮평가〮인증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〮인증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정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832780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8] </a:t>
                      </a: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라인 문의요청하기 버튼 추가</a:t>
                      </a:r>
                      <a:endParaRPr lang="en-US" altLang="ko-KR" sz="800" b="0" u="none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220091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로그인 회원이 진단하기 버튼 클릭 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도팝업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V005]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화면 출력 기능 추가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13000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]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라인 문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은 처리상태가 미확인인 경우에만 수정 버튼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성화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 상태의 문의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은 문의유형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사항 수정</a:t>
                      </a:r>
                      <a:r>
                        <a:rPr kumimoji="0" lang="en-US" altLang="ko-KR" sz="800" b="0" i="0" u="none" strike="noStrike" kern="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193264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인화면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키워드 기능 추가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64475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017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7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분석 상세화면 추가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629677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결과 화면 전체 기획 수정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172123"/>
                  </a:ext>
                </a:extLst>
              </a:tr>
              <a:tr h="504756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4</a:t>
                      </a:r>
                    </a:p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4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회원가입 프로세스 변경 및 화면 분기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약관동의 → 정보입력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인증 → 가입완료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이메일 인증 프로세스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방식으로 변경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/ H004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제거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등록 제한 이메일 리스트 추가 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249458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6 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회원가입 프로세스에 맞춰 화면 변경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화번호 입력 방식 변경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인증 프로세스 변경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2-1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능 추가 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.4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07069"/>
                  </a:ext>
                </a:extLst>
              </a:tr>
              <a:tr h="286574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자가진단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본정보 입력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3]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분류선택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계 분류체계 반영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549683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CE05AF6-C1BF-471B-B26C-92D92AA62851}"/>
              </a:ext>
            </a:extLst>
          </p:cNvPr>
          <p:cNvSpPr/>
          <p:nvPr/>
        </p:nvSpPr>
        <p:spPr>
          <a:xfrm>
            <a:off x="6600056" y="4329100"/>
            <a:ext cx="936104" cy="21602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8160558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289809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신청서로 구성되어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522160"/>
              </p:ext>
            </p:extLst>
          </p:nvPr>
        </p:nvGraphicFramePr>
        <p:xfrm>
          <a:off x="9268771" y="756315"/>
          <a:ext cx="2922885" cy="22310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84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프로세스 분리 및 프로세스 나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4255858"/>
                  </a:ext>
                </a:extLst>
              </a:tr>
              <a:tr h="6586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용약관 동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 해제된 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동의 체크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단 동의 영역 모두 체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동의 체크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단 동의 영역 체크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동의 체크도 해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보기 클릭 시 해당 약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팝업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6586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 약관 동의 후 버튼 클릭 시 정보입력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 약관 미동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 약관에 모두 동의하셔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이 가능합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833407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1807118"/>
                <a:ext cx="188114" cy="359431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24076A07-1EBC-44F3-B4B4-8172A9BD90A8}"/>
              </a:ext>
            </a:extLst>
          </p:cNvPr>
          <p:cNvSpPr/>
          <p:nvPr/>
        </p:nvSpPr>
        <p:spPr>
          <a:xfrm>
            <a:off x="3727733" y="5693690"/>
            <a:ext cx="2034051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하고 가입하기</a:t>
            </a: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pic>
        <p:nvPicPr>
          <p:cNvPr id="70" name="그림 69">
            <a:extLst>
              <a:ext uri="{FF2B5EF4-FFF2-40B4-BE49-F238E27FC236}">
                <a16:creationId xmlns:a16="http://schemas.microsoft.com/office/drawing/2014/main" id="{64DD4050-FF68-446B-AEE0-DA012BE09F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3061" y="3222086"/>
            <a:ext cx="209865" cy="209865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44F2A9C-9F8C-4EF7-8B43-CFE43A23D37E}"/>
              </a:ext>
            </a:extLst>
          </p:cNvPr>
          <p:cNvSpPr txBox="1"/>
          <p:nvPr/>
        </p:nvSpPr>
        <p:spPr>
          <a:xfrm>
            <a:off x="2271575" y="3237445"/>
            <a:ext cx="23048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 동의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07D0DC6-64EA-4C78-9BC3-CCB572E58E88}"/>
              </a:ext>
            </a:extLst>
          </p:cNvPr>
          <p:cNvSpPr txBox="1"/>
          <p:nvPr/>
        </p:nvSpPr>
        <p:spPr>
          <a:xfrm>
            <a:off x="2271575" y="3483499"/>
            <a:ext cx="64368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항목에 동의하지 않은 경우도 회원가입 및 일반적인 서비스를 이용할 수 있습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4858E126-1AB5-43B4-8D12-5B5E5606EE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4289" y="3861048"/>
            <a:ext cx="209865" cy="20986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B3B5361-D10D-4C70-B00D-6B94D1BFAE56}"/>
              </a:ext>
            </a:extLst>
          </p:cNvPr>
          <p:cNvSpPr txBox="1"/>
          <p:nvPr/>
        </p:nvSpPr>
        <p:spPr>
          <a:xfrm>
            <a:off x="2299373" y="3885386"/>
            <a:ext cx="230480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용약관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61999584-C8A6-4D77-954F-DDA784BE6915}"/>
              </a:ext>
            </a:extLst>
          </p:cNvPr>
          <p:cNvSpPr/>
          <p:nvPr/>
        </p:nvSpPr>
        <p:spPr>
          <a:xfrm>
            <a:off x="4407182" y="3861048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BF25DEB8-754C-4FC1-91C0-B86CDD147F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24005" y="4367655"/>
            <a:ext cx="209865" cy="209865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2983B8E-DE51-4B21-B8B1-4FA3BF534944}"/>
              </a:ext>
            </a:extLst>
          </p:cNvPr>
          <p:cNvSpPr txBox="1"/>
          <p:nvPr/>
        </p:nvSpPr>
        <p:spPr>
          <a:xfrm>
            <a:off x="2309088" y="4391993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 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6E02AB27-C43B-4FA5-8B1E-E84C2461F1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38795" y="4879247"/>
            <a:ext cx="209865" cy="209865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58AE581A-DD61-4717-BA13-5F36D8061546}"/>
              </a:ext>
            </a:extLst>
          </p:cNvPr>
          <p:cNvSpPr txBox="1"/>
          <p:nvPr/>
        </p:nvSpPr>
        <p:spPr>
          <a:xfrm>
            <a:off x="2323878" y="4903585"/>
            <a:ext cx="274616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10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CC749CF-AF1B-4763-80E4-CC854D3A51CB}"/>
              </a:ext>
            </a:extLst>
          </p:cNvPr>
          <p:cNvSpPr/>
          <p:nvPr/>
        </p:nvSpPr>
        <p:spPr>
          <a:xfrm>
            <a:off x="4407182" y="4379799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80646078-7939-4C70-978F-33047D488134}"/>
              </a:ext>
            </a:extLst>
          </p:cNvPr>
          <p:cNvSpPr/>
          <p:nvPr/>
        </p:nvSpPr>
        <p:spPr>
          <a:xfrm>
            <a:off x="4407182" y="4913692"/>
            <a:ext cx="720080" cy="1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보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938FD-5A80-42F5-9DDA-8C892FC4744D}"/>
              </a:ext>
            </a:extLst>
          </p:cNvPr>
          <p:cNvSpPr txBox="1"/>
          <p:nvPr/>
        </p:nvSpPr>
        <p:spPr>
          <a:xfrm>
            <a:off x="2309088" y="4645045"/>
            <a:ext cx="54117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에 대하여 동의를 거부할 권리가 있으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거부 시에는 본 사이트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제한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554469-A449-4367-8BDC-CEF858F22FAB}"/>
              </a:ext>
            </a:extLst>
          </p:cNvPr>
          <p:cNvSpPr txBox="1"/>
          <p:nvPr/>
        </p:nvSpPr>
        <p:spPr>
          <a:xfrm>
            <a:off x="2303890" y="4132391"/>
            <a:ext cx="541693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서비스를 이용하시려면 이용약관 및 개인정보 수집 및 이용동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수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모두 동의하셔야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6D57CAB-616E-4C2B-A043-05BF90213E33}"/>
              </a:ext>
            </a:extLst>
          </p:cNvPr>
          <p:cNvSpPr txBox="1"/>
          <p:nvPr/>
        </p:nvSpPr>
        <p:spPr>
          <a:xfrm>
            <a:off x="2303890" y="5182684"/>
            <a:ext cx="541693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기 선택적 동의 항목에 동의하지 않아도 회원가입이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82E7B3B-2073-4350-9F1A-FF1EFBBBB2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17118" y="1544648"/>
            <a:ext cx="1029389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65F104A6-582F-4269-BC5A-B3D7A0A46AB9}"/>
              </a:ext>
            </a:extLst>
          </p:cNvPr>
          <p:cNvGrpSpPr/>
          <p:nvPr/>
        </p:nvGrpSpPr>
        <p:grpSpPr>
          <a:xfrm>
            <a:off x="3537499" y="1986591"/>
            <a:ext cx="2185272" cy="512152"/>
            <a:chOff x="3219789" y="2007332"/>
            <a:chExt cx="2853775" cy="668826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706BD0BB-B953-462E-9C89-B97C0C350448}"/>
                </a:ext>
              </a:extLst>
            </p:cNvPr>
            <p:cNvGrpSpPr/>
            <p:nvPr/>
          </p:nvGrpSpPr>
          <p:grpSpPr>
            <a:xfrm>
              <a:off x="3477909" y="2007332"/>
              <a:ext cx="367213" cy="367213"/>
              <a:chOff x="3477910" y="2060957"/>
              <a:chExt cx="367213" cy="367213"/>
            </a:xfrm>
          </p:grpSpPr>
          <p:sp>
            <p:nvSpPr>
              <p:cNvPr id="9" name="타원 8">
                <a:extLst>
                  <a:ext uri="{FF2B5EF4-FFF2-40B4-BE49-F238E27FC236}">
                    <a16:creationId xmlns:a16="http://schemas.microsoft.com/office/drawing/2014/main" id="{59718F04-31C9-4BB3-81B2-DAECD26EE556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19050">
                <a:solidFill>
                  <a:srgbClr val="C046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098FE51D-6800-42B9-A2EC-EC8B7E9E7E9F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04600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</a:t>
                </a:r>
              </a:p>
            </p:txBody>
          </p:sp>
        </p:grp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02DBBBE-3B78-4BE1-89E3-066A93B69FEB}"/>
                </a:ext>
              </a:extLst>
            </p:cNvPr>
            <p:cNvSpPr/>
            <p:nvPr/>
          </p:nvSpPr>
          <p:spPr>
            <a:xfrm>
              <a:off x="3219789" y="2422106"/>
              <a:ext cx="926949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약관동의</a:t>
              </a: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F9B74C3-4889-4FC1-A0FF-8660CFCB0537}"/>
                </a:ext>
              </a:extLst>
            </p:cNvPr>
            <p:cNvGrpSpPr/>
            <p:nvPr/>
          </p:nvGrpSpPr>
          <p:grpSpPr>
            <a:xfrm>
              <a:off x="4474996" y="2007332"/>
              <a:ext cx="367213" cy="367213"/>
              <a:chOff x="3477910" y="2060957"/>
              <a:chExt cx="367213" cy="367213"/>
            </a:xfrm>
          </p:grpSpPr>
          <p:sp>
            <p:nvSpPr>
              <p:cNvPr id="96" name="타원 95">
                <a:extLst>
                  <a:ext uri="{FF2B5EF4-FFF2-40B4-BE49-F238E27FC236}">
                    <a16:creationId xmlns:a16="http://schemas.microsoft.com/office/drawing/2014/main" id="{F546EEEF-D57A-4631-AE36-2DFEC3313A81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0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55A7B167-A0CA-48CC-A7C7-FF68025C173E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</a:p>
            </p:txBody>
          </p:sp>
        </p:grp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2030D2B-7FEA-4061-8DCF-06821C94B238}"/>
                </a:ext>
              </a:extLst>
            </p:cNvPr>
            <p:cNvSpPr/>
            <p:nvPr/>
          </p:nvSpPr>
          <p:spPr>
            <a:xfrm>
              <a:off x="4199303" y="2414670"/>
              <a:ext cx="947421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입력</a:t>
              </a:r>
            </a:p>
          </p:txBody>
        </p: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CFD26C24-26E9-4609-B3BD-C0119C428ECB}"/>
                </a:ext>
              </a:extLst>
            </p:cNvPr>
            <p:cNvGrpSpPr/>
            <p:nvPr/>
          </p:nvGrpSpPr>
          <p:grpSpPr>
            <a:xfrm>
              <a:off x="5455571" y="2025292"/>
              <a:ext cx="367213" cy="367213"/>
              <a:chOff x="3477910" y="2060957"/>
              <a:chExt cx="367213" cy="367213"/>
            </a:xfrm>
          </p:grpSpPr>
          <p:sp>
            <p:nvSpPr>
              <p:cNvPr id="103" name="타원 102">
                <a:extLst>
                  <a:ext uri="{FF2B5EF4-FFF2-40B4-BE49-F238E27FC236}">
                    <a16:creationId xmlns:a16="http://schemas.microsoft.com/office/drawing/2014/main" id="{4E277DD4-C473-46DA-8A42-10B6B36EE597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303EE1D4-98A6-4136-9E33-019E75B5F774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</a:p>
            </p:txBody>
          </p:sp>
        </p:grp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A23D7FE9-34DB-4C3D-867D-59C0520627C8}"/>
                </a:ext>
              </a:extLst>
            </p:cNvPr>
            <p:cNvSpPr/>
            <p:nvPr/>
          </p:nvSpPr>
          <p:spPr>
            <a:xfrm>
              <a:off x="5204789" y="2414670"/>
              <a:ext cx="868775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완료</a:t>
              </a:r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AF8442EC-5274-4D81-A793-91CE6FFAA208}"/>
                </a:ext>
              </a:extLst>
            </p:cNvPr>
            <p:cNvSpPr/>
            <p:nvPr/>
          </p:nvSpPr>
          <p:spPr>
            <a:xfrm>
              <a:off x="4053521" y="2154225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9E5B7C87-1075-4783-9DE4-F9F0BCF2DECA}"/>
                </a:ext>
              </a:extLst>
            </p:cNvPr>
            <p:cNvSpPr/>
            <p:nvPr/>
          </p:nvSpPr>
          <p:spPr>
            <a:xfrm>
              <a:off x="4212142" y="2154402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7" name="타원 106">
              <a:extLst>
                <a:ext uri="{FF2B5EF4-FFF2-40B4-BE49-F238E27FC236}">
                  <a16:creationId xmlns:a16="http://schemas.microsoft.com/office/drawing/2014/main" id="{7B9BA0F9-CE17-45EF-A7F4-5B1EDB820B78}"/>
                </a:ext>
              </a:extLst>
            </p:cNvPr>
            <p:cNvSpPr/>
            <p:nvPr/>
          </p:nvSpPr>
          <p:spPr>
            <a:xfrm>
              <a:off x="5045239" y="2165339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8" name="타원 107">
              <a:extLst>
                <a:ext uri="{FF2B5EF4-FFF2-40B4-BE49-F238E27FC236}">
                  <a16:creationId xmlns:a16="http://schemas.microsoft.com/office/drawing/2014/main" id="{895D2786-DB33-47F2-AD67-9D0FEE6A22CE}"/>
                </a:ext>
              </a:extLst>
            </p:cNvPr>
            <p:cNvSpPr/>
            <p:nvPr/>
          </p:nvSpPr>
          <p:spPr>
            <a:xfrm>
              <a:off x="5203860" y="2165516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6AADF247-5A8D-4ABD-848B-2B076DF4B11D}"/>
              </a:ext>
            </a:extLst>
          </p:cNvPr>
          <p:cNvSpPr/>
          <p:nvPr/>
        </p:nvSpPr>
        <p:spPr>
          <a:xfrm>
            <a:off x="2798621" y="2651458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 이용약관에 동의해주세요</a:t>
            </a: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08CAAB62-587D-45F0-8DC6-91F2172E536E}"/>
              </a:ext>
            </a:extLst>
          </p:cNvPr>
          <p:cNvSpPr/>
          <p:nvPr/>
        </p:nvSpPr>
        <p:spPr>
          <a:xfrm>
            <a:off x="1537163" y="307024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" name="왼쪽 대괄호 16">
            <a:extLst>
              <a:ext uri="{FF2B5EF4-FFF2-40B4-BE49-F238E27FC236}">
                <a16:creationId xmlns:a16="http://schemas.microsoft.com/office/drawing/2014/main" id="{EF806A45-FF97-4A5F-81F3-BE3A0E7D9A4F}"/>
              </a:ext>
            </a:extLst>
          </p:cNvPr>
          <p:cNvSpPr/>
          <p:nvPr/>
        </p:nvSpPr>
        <p:spPr>
          <a:xfrm>
            <a:off x="1755378" y="3157288"/>
            <a:ext cx="137683" cy="2375978"/>
          </a:xfrm>
          <a:prstGeom prst="leftBracket">
            <a:avLst/>
          </a:prstGeom>
          <a:ln w="12700">
            <a:solidFill>
              <a:srgbClr val="C04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90E5A703-F99C-46F7-BA08-893C69EF1341}"/>
              </a:ext>
            </a:extLst>
          </p:cNvPr>
          <p:cNvSpPr/>
          <p:nvPr/>
        </p:nvSpPr>
        <p:spPr>
          <a:xfrm>
            <a:off x="3208125" y="17686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왼쪽 대괄호 113">
            <a:extLst>
              <a:ext uri="{FF2B5EF4-FFF2-40B4-BE49-F238E27FC236}">
                <a16:creationId xmlns:a16="http://schemas.microsoft.com/office/drawing/2014/main" id="{5055DD7F-1ECD-444E-B641-B39013792C1F}"/>
              </a:ext>
            </a:extLst>
          </p:cNvPr>
          <p:cNvSpPr/>
          <p:nvPr/>
        </p:nvSpPr>
        <p:spPr>
          <a:xfrm>
            <a:off x="3426340" y="1855669"/>
            <a:ext cx="137683" cy="719012"/>
          </a:xfrm>
          <a:prstGeom prst="leftBracket">
            <a:avLst/>
          </a:prstGeom>
          <a:ln w="12700">
            <a:solidFill>
              <a:srgbClr val="C04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2FC8EA84-6F7F-431B-9078-F0960918E1FE}"/>
              </a:ext>
            </a:extLst>
          </p:cNvPr>
          <p:cNvSpPr/>
          <p:nvPr/>
        </p:nvSpPr>
        <p:spPr>
          <a:xfrm>
            <a:off x="9240994" y="-4192"/>
            <a:ext cx="2950181" cy="6978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회원가입 프로세스 변경 및 화면 분기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약관동의 → 정보입력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이메일 인증 → 가입완료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2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버튼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86579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신청서로 구성되어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980001"/>
              </p:ext>
            </p:extLst>
          </p:nvPr>
        </p:nvGraphicFramePr>
        <p:xfrm>
          <a:off x="9273919" y="511071"/>
          <a:ext cx="2917256" cy="63743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313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1807118"/>
                <a:ext cx="188114" cy="303853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65F104A6-582F-4269-BC5A-B3D7A0A46AB9}"/>
              </a:ext>
            </a:extLst>
          </p:cNvPr>
          <p:cNvGrpSpPr/>
          <p:nvPr/>
        </p:nvGrpSpPr>
        <p:grpSpPr>
          <a:xfrm>
            <a:off x="3569366" y="1568235"/>
            <a:ext cx="2185272" cy="512152"/>
            <a:chOff x="3219789" y="2007332"/>
            <a:chExt cx="2853775" cy="668826"/>
          </a:xfrm>
        </p:grpSpPr>
        <p:sp>
          <p:nvSpPr>
            <p:cNvPr id="9" name="타원 8">
              <a:extLst>
                <a:ext uri="{FF2B5EF4-FFF2-40B4-BE49-F238E27FC236}">
                  <a16:creationId xmlns:a16="http://schemas.microsoft.com/office/drawing/2014/main" id="{59718F04-31C9-4BB3-81B2-DAECD26EE556}"/>
                </a:ext>
              </a:extLst>
            </p:cNvPr>
            <p:cNvSpPr/>
            <p:nvPr/>
          </p:nvSpPr>
          <p:spPr>
            <a:xfrm>
              <a:off x="3477909" y="2007332"/>
              <a:ext cx="367214" cy="367214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02DBBBE-3B78-4BE1-89E3-066A93B69FEB}"/>
                </a:ext>
              </a:extLst>
            </p:cNvPr>
            <p:cNvSpPr/>
            <p:nvPr/>
          </p:nvSpPr>
          <p:spPr>
            <a:xfrm>
              <a:off x="3219789" y="2422106"/>
              <a:ext cx="926949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약관동의</a:t>
              </a: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F9B74C3-4889-4FC1-A0FF-8660CFCB0537}"/>
                </a:ext>
              </a:extLst>
            </p:cNvPr>
            <p:cNvGrpSpPr/>
            <p:nvPr/>
          </p:nvGrpSpPr>
          <p:grpSpPr>
            <a:xfrm>
              <a:off x="4474996" y="2007332"/>
              <a:ext cx="367213" cy="367213"/>
              <a:chOff x="3477910" y="2060957"/>
              <a:chExt cx="367213" cy="367213"/>
            </a:xfrm>
          </p:grpSpPr>
          <p:sp>
            <p:nvSpPr>
              <p:cNvPr id="96" name="타원 95">
                <a:extLst>
                  <a:ext uri="{FF2B5EF4-FFF2-40B4-BE49-F238E27FC236}">
                    <a16:creationId xmlns:a16="http://schemas.microsoft.com/office/drawing/2014/main" id="{F546EEEF-D57A-4631-AE36-2DFEC3313A81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19050">
                <a:solidFill>
                  <a:srgbClr val="C046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0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55A7B167-A0CA-48CC-A7C7-FF68025C173E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04600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</a:p>
            </p:txBody>
          </p:sp>
        </p:grp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2030D2B-7FEA-4061-8DCF-06821C94B238}"/>
                </a:ext>
              </a:extLst>
            </p:cNvPr>
            <p:cNvSpPr/>
            <p:nvPr/>
          </p:nvSpPr>
          <p:spPr>
            <a:xfrm>
              <a:off x="4199303" y="2414670"/>
              <a:ext cx="947421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입력</a:t>
              </a:r>
            </a:p>
          </p:txBody>
        </p: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CFD26C24-26E9-4609-B3BD-C0119C428ECB}"/>
                </a:ext>
              </a:extLst>
            </p:cNvPr>
            <p:cNvGrpSpPr/>
            <p:nvPr/>
          </p:nvGrpSpPr>
          <p:grpSpPr>
            <a:xfrm>
              <a:off x="5455571" y="2025292"/>
              <a:ext cx="367213" cy="367213"/>
              <a:chOff x="3477910" y="2060957"/>
              <a:chExt cx="367213" cy="367213"/>
            </a:xfrm>
          </p:grpSpPr>
          <p:sp>
            <p:nvSpPr>
              <p:cNvPr id="103" name="타원 102">
                <a:extLst>
                  <a:ext uri="{FF2B5EF4-FFF2-40B4-BE49-F238E27FC236}">
                    <a16:creationId xmlns:a16="http://schemas.microsoft.com/office/drawing/2014/main" id="{4E277DD4-C473-46DA-8A42-10B6B36EE597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303EE1D4-98A6-4136-9E33-019E75B5F774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</a:p>
            </p:txBody>
          </p:sp>
        </p:grp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A23D7FE9-34DB-4C3D-867D-59C0520627C8}"/>
                </a:ext>
              </a:extLst>
            </p:cNvPr>
            <p:cNvSpPr/>
            <p:nvPr/>
          </p:nvSpPr>
          <p:spPr>
            <a:xfrm>
              <a:off x="5204789" y="2414670"/>
              <a:ext cx="868775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완료</a:t>
              </a:r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AF8442EC-5274-4D81-A793-91CE6FFAA208}"/>
                </a:ext>
              </a:extLst>
            </p:cNvPr>
            <p:cNvSpPr/>
            <p:nvPr/>
          </p:nvSpPr>
          <p:spPr>
            <a:xfrm>
              <a:off x="4053521" y="2154225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9E5B7C87-1075-4783-9DE4-F9F0BCF2DECA}"/>
                </a:ext>
              </a:extLst>
            </p:cNvPr>
            <p:cNvSpPr/>
            <p:nvPr/>
          </p:nvSpPr>
          <p:spPr>
            <a:xfrm>
              <a:off x="4212142" y="2154402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7" name="타원 106">
              <a:extLst>
                <a:ext uri="{FF2B5EF4-FFF2-40B4-BE49-F238E27FC236}">
                  <a16:creationId xmlns:a16="http://schemas.microsoft.com/office/drawing/2014/main" id="{7B9BA0F9-CE17-45EF-A7F4-5B1EDB820B78}"/>
                </a:ext>
              </a:extLst>
            </p:cNvPr>
            <p:cNvSpPr/>
            <p:nvPr/>
          </p:nvSpPr>
          <p:spPr>
            <a:xfrm>
              <a:off x="5045239" y="2165339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8" name="타원 107">
              <a:extLst>
                <a:ext uri="{FF2B5EF4-FFF2-40B4-BE49-F238E27FC236}">
                  <a16:creationId xmlns:a16="http://schemas.microsoft.com/office/drawing/2014/main" id="{895D2786-DB33-47F2-AD67-9D0FEE6A22CE}"/>
                </a:ext>
              </a:extLst>
            </p:cNvPr>
            <p:cNvSpPr/>
            <p:nvPr/>
          </p:nvSpPr>
          <p:spPr>
            <a:xfrm>
              <a:off x="5203860" y="2165516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6AADF247-5A8D-4ABD-848B-2B076DF4B11D}"/>
              </a:ext>
            </a:extLst>
          </p:cNvPr>
          <p:cNvSpPr/>
          <p:nvPr/>
        </p:nvSpPr>
        <p:spPr>
          <a:xfrm>
            <a:off x="499842" y="2060848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 정보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CA6BA3-6CB6-480A-A8B4-E787DE233F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21066" y="1633900"/>
            <a:ext cx="157441" cy="157441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DEA5259-30ED-482E-B86D-2CC11CE7133B}"/>
              </a:ext>
            </a:extLst>
          </p:cNvPr>
          <p:cNvCxnSpPr>
            <a:cxnSpLocks/>
          </p:cNvCxnSpPr>
          <p:nvPr/>
        </p:nvCxnSpPr>
        <p:spPr>
          <a:xfrm>
            <a:off x="566604" y="2340991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B1282FFC-9C61-4878-9292-0C0B58754651}"/>
              </a:ext>
            </a:extLst>
          </p:cNvPr>
          <p:cNvSpPr/>
          <p:nvPr/>
        </p:nvSpPr>
        <p:spPr>
          <a:xfrm>
            <a:off x="583769" y="2386973"/>
            <a:ext cx="8049080" cy="155131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112" name="표 2">
            <a:extLst>
              <a:ext uri="{FF2B5EF4-FFF2-40B4-BE49-F238E27FC236}">
                <a16:creationId xmlns:a16="http://schemas.microsoft.com/office/drawing/2014/main" id="{5217C0BF-5C02-45E4-BAB9-6EB5C7DFD3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307193"/>
              </p:ext>
            </p:extLst>
          </p:nvPr>
        </p:nvGraphicFramePr>
        <p:xfrm>
          <a:off x="613850" y="2425933"/>
          <a:ext cx="8018999" cy="14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4335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54664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확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화번호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9520980"/>
                  </a:ext>
                </a:extLst>
              </a:tr>
            </a:tbl>
          </a:graphicData>
        </a:graphic>
      </p:graphicFrame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9F184F00-9ED2-4604-A55A-42FB69632B06}"/>
              </a:ext>
            </a:extLst>
          </p:cNvPr>
          <p:cNvSpPr/>
          <p:nvPr/>
        </p:nvSpPr>
        <p:spPr>
          <a:xfrm>
            <a:off x="2115384" y="2457543"/>
            <a:ext cx="2614043" cy="21544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를 입력해주세요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7F828E6-91AE-449D-AD6E-2CD2CF657E4D}"/>
              </a:ext>
            </a:extLst>
          </p:cNvPr>
          <p:cNvSpPr txBox="1"/>
          <p:nvPr/>
        </p:nvSpPr>
        <p:spPr>
          <a:xfrm>
            <a:off x="5566069" y="2465932"/>
            <a:ext cx="316402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 이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1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리 이하의 영문 혹은 영문과 숫자를 조합</a:t>
            </a: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732C13D4-9D45-4F08-8EB5-11E65065CCBB}"/>
              </a:ext>
            </a:extLst>
          </p:cNvPr>
          <p:cNvSpPr/>
          <p:nvPr/>
        </p:nvSpPr>
        <p:spPr>
          <a:xfrm>
            <a:off x="2115384" y="2752751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입력해주세요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B817C5A-D796-439D-AEB8-3268B7288BDE}"/>
              </a:ext>
            </a:extLst>
          </p:cNvPr>
          <p:cNvSpPr txBox="1"/>
          <p:nvPr/>
        </p:nvSpPr>
        <p:spPr>
          <a:xfrm>
            <a:off x="4801946" y="2759322"/>
            <a:ext cx="396564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숫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특수문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백제외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 허용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이상 조합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최소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8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자 이상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, 16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자 이하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5443B587-77B8-4C89-A65E-C928BBD4735E}"/>
              </a:ext>
            </a:extLst>
          </p:cNvPr>
          <p:cNvSpPr/>
          <p:nvPr/>
        </p:nvSpPr>
        <p:spPr>
          <a:xfrm>
            <a:off x="2115384" y="3031465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한번 더 입력해주세요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979DFB-3A3D-45C7-95A6-B44666835940}"/>
              </a:ext>
            </a:extLst>
          </p:cNvPr>
          <p:cNvSpPr/>
          <p:nvPr/>
        </p:nvSpPr>
        <p:spPr>
          <a:xfrm>
            <a:off x="2115384" y="3324206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을 입력해주세요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96C515F2-0E73-40CF-87D1-8B400E3C0F2F}"/>
              </a:ext>
            </a:extLst>
          </p:cNvPr>
          <p:cNvSpPr/>
          <p:nvPr/>
        </p:nvSpPr>
        <p:spPr>
          <a:xfrm>
            <a:off x="2997414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E18ED1E9-87BF-4BDA-B75D-08FD83B367D3}"/>
              </a:ext>
            </a:extLst>
          </p:cNvPr>
          <p:cNvSpPr/>
          <p:nvPr/>
        </p:nvSpPr>
        <p:spPr>
          <a:xfrm>
            <a:off x="4782553" y="2465932"/>
            <a:ext cx="710979" cy="206043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중복 확인</a:t>
            </a: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E76D6644-46B5-4C42-AEAC-C027161A9F2D}"/>
              </a:ext>
            </a:extLst>
          </p:cNvPr>
          <p:cNvSpPr/>
          <p:nvPr/>
        </p:nvSpPr>
        <p:spPr>
          <a:xfrm>
            <a:off x="4735955" y="24434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B5DB6009-99DF-4F5B-9BBF-C28BFFB092BB}"/>
              </a:ext>
            </a:extLst>
          </p:cNvPr>
          <p:cNvSpPr/>
          <p:nvPr/>
        </p:nvSpPr>
        <p:spPr>
          <a:xfrm>
            <a:off x="2141311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4A2389D1-5BB3-409A-B418-BE15BF45F197}"/>
              </a:ext>
            </a:extLst>
          </p:cNvPr>
          <p:cNvSpPr/>
          <p:nvPr/>
        </p:nvSpPr>
        <p:spPr>
          <a:xfrm>
            <a:off x="3860850" y="3604700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26" name="직선 연결선 125">
            <a:extLst>
              <a:ext uri="{FF2B5EF4-FFF2-40B4-BE49-F238E27FC236}">
                <a16:creationId xmlns:a16="http://schemas.microsoft.com/office/drawing/2014/main" id="{BF63AB66-C277-4DF4-890D-0A1577EF5FAC}"/>
              </a:ext>
            </a:extLst>
          </p:cNvPr>
          <p:cNvCxnSpPr/>
          <p:nvPr/>
        </p:nvCxnSpPr>
        <p:spPr>
          <a:xfrm>
            <a:off x="2847059" y="3704078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연결선 126">
            <a:extLst>
              <a:ext uri="{FF2B5EF4-FFF2-40B4-BE49-F238E27FC236}">
                <a16:creationId xmlns:a16="http://schemas.microsoft.com/office/drawing/2014/main" id="{731AC3C5-E39A-4018-8594-69DE1506AD05}"/>
              </a:ext>
            </a:extLst>
          </p:cNvPr>
          <p:cNvCxnSpPr/>
          <p:nvPr/>
        </p:nvCxnSpPr>
        <p:spPr>
          <a:xfrm>
            <a:off x="3717495" y="3704078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이등변 삼각형 127">
            <a:extLst>
              <a:ext uri="{FF2B5EF4-FFF2-40B4-BE49-F238E27FC236}">
                <a16:creationId xmlns:a16="http://schemas.microsoft.com/office/drawing/2014/main" id="{AA3B5F87-AFC9-4F1E-802C-AEE22EA531F6}"/>
              </a:ext>
            </a:extLst>
          </p:cNvPr>
          <p:cNvSpPr/>
          <p:nvPr/>
        </p:nvSpPr>
        <p:spPr>
          <a:xfrm flipV="1">
            <a:off x="2681775" y="3682229"/>
            <a:ext cx="88706" cy="62755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C1C6BBED-3328-4C50-A506-EBA80DE7E712}"/>
              </a:ext>
            </a:extLst>
          </p:cNvPr>
          <p:cNvSpPr/>
          <p:nvPr/>
        </p:nvSpPr>
        <p:spPr>
          <a:xfrm>
            <a:off x="2155540" y="3629212"/>
            <a:ext cx="497696" cy="1465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B0482722-8EAE-47B1-B281-03A81B35C3F3}"/>
              </a:ext>
            </a:extLst>
          </p:cNvPr>
          <p:cNvSpPr/>
          <p:nvPr/>
        </p:nvSpPr>
        <p:spPr>
          <a:xfrm>
            <a:off x="2059503" y="35527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C277009B-06A8-4867-84B5-AFABC03B55C3}"/>
              </a:ext>
            </a:extLst>
          </p:cNvPr>
          <p:cNvSpPr/>
          <p:nvPr/>
        </p:nvSpPr>
        <p:spPr>
          <a:xfrm>
            <a:off x="5751564" y="3617007"/>
            <a:ext cx="680100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이등변 삼각형 133">
            <a:extLst>
              <a:ext uri="{FF2B5EF4-FFF2-40B4-BE49-F238E27FC236}">
                <a16:creationId xmlns:a16="http://schemas.microsoft.com/office/drawing/2014/main" id="{895D9872-0169-4A95-A7BA-C5518332285D}"/>
              </a:ext>
            </a:extLst>
          </p:cNvPr>
          <p:cNvSpPr/>
          <p:nvPr/>
        </p:nvSpPr>
        <p:spPr>
          <a:xfrm flipV="1">
            <a:off x="6292028" y="3694536"/>
            <a:ext cx="88706" cy="62755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E30EEA41-5E85-4489-8D70-028AEED5DD2B}"/>
              </a:ext>
            </a:extLst>
          </p:cNvPr>
          <p:cNvSpPr/>
          <p:nvPr/>
        </p:nvSpPr>
        <p:spPr>
          <a:xfrm>
            <a:off x="5678184" y="35738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330C0F12-E2AA-4A76-A7FF-2A0525EA3746}"/>
              </a:ext>
            </a:extLst>
          </p:cNvPr>
          <p:cNvSpPr/>
          <p:nvPr/>
        </p:nvSpPr>
        <p:spPr>
          <a:xfrm>
            <a:off x="529832" y="4095612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정보</a:t>
            </a:r>
          </a:p>
        </p:txBody>
      </p:sp>
      <p:cxnSp>
        <p:nvCxnSpPr>
          <p:cNvPr id="156" name="직선 연결선 155">
            <a:extLst>
              <a:ext uri="{FF2B5EF4-FFF2-40B4-BE49-F238E27FC236}">
                <a16:creationId xmlns:a16="http://schemas.microsoft.com/office/drawing/2014/main" id="{65B36B0C-42CD-424A-AEE2-137DECAC6BE9}"/>
              </a:ext>
            </a:extLst>
          </p:cNvPr>
          <p:cNvCxnSpPr>
            <a:cxnSpLocks/>
          </p:cNvCxnSpPr>
          <p:nvPr/>
        </p:nvCxnSpPr>
        <p:spPr>
          <a:xfrm>
            <a:off x="596594" y="4375755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CE78C4C7-0330-4679-861D-30FDD4D163FC}"/>
              </a:ext>
            </a:extLst>
          </p:cNvPr>
          <p:cNvSpPr/>
          <p:nvPr/>
        </p:nvSpPr>
        <p:spPr>
          <a:xfrm>
            <a:off x="588442" y="4467739"/>
            <a:ext cx="8049080" cy="187452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158" name="표 2">
            <a:extLst>
              <a:ext uri="{FF2B5EF4-FFF2-40B4-BE49-F238E27FC236}">
                <a16:creationId xmlns:a16="http://schemas.microsoft.com/office/drawing/2014/main" id="{860CFB9D-029E-4A3F-9B89-59419BFBB5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252360"/>
              </p:ext>
            </p:extLst>
          </p:nvPr>
        </p:nvGraphicFramePr>
        <p:xfrm>
          <a:off x="630628" y="4495409"/>
          <a:ext cx="8033096" cy="172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6733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66363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이메일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85322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전화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751735"/>
                  </a:ext>
                </a:extLst>
              </a:tr>
            </a:tbl>
          </a:graphicData>
        </a:graphic>
      </p:graphicFrame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F08F0066-9665-4767-922D-1ECEB4D6ECB2}"/>
              </a:ext>
            </a:extLst>
          </p:cNvPr>
          <p:cNvSpPr/>
          <p:nvPr/>
        </p:nvSpPr>
        <p:spPr>
          <a:xfrm>
            <a:off x="2092246" y="4533559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명을 입력해주세요</a:t>
            </a:r>
          </a:p>
        </p:txBody>
      </p:sp>
      <p:sp>
        <p:nvSpPr>
          <p:cNvPr id="160" name="사각형: 둥근 모서리 159">
            <a:extLst>
              <a:ext uri="{FF2B5EF4-FFF2-40B4-BE49-F238E27FC236}">
                <a16:creationId xmlns:a16="http://schemas.microsoft.com/office/drawing/2014/main" id="{1848C716-5A50-4978-A1B4-EC5EED94AE03}"/>
              </a:ext>
            </a:extLst>
          </p:cNvPr>
          <p:cNvSpPr/>
          <p:nvPr/>
        </p:nvSpPr>
        <p:spPr>
          <a:xfrm>
            <a:off x="4770558" y="4533559"/>
            <a:ext cx="710979" cy="2160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검색</a:t>
            </a:r>
          </a:p>
        </p:txBody>
      </p: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F6142F7F-3230-4EAA-932E-C1ED9AA5F594}"/>
              </a:ext>
            </a:extLst>
          </p:cNvPr>
          <p:cNvSpPr/>
          <p:nvPr/>
        </p:nvSpPr>
        <p:spPr>
          <a:xfrm>
            <a:off x="2092246" y="4817792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내 부서명을 입력해주세요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E76985B0-C474-4CC7-8BDA-8F4F4BEA86E8}"/>
              </a:ext>
            </a:extLst>
          </p:cNvPr>
          <p:cNvSpPr/>
          <p:nvPr/>
        </p:nvSpPr>
        <p:spPr>
          <a:xfrm>
            <a:off x="2092245" y="5111081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내 직급을 입력해주세요</a:t>
            </a: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B63DCE24-2DA1-476E-9AE2-179F4DE0A62A}"/>
              </a:ext>
            </a:extLst>
          </p:cNvPr>
          <p:cNvSpPr/>
          <p:nvPr/>
        </p:nvSpPr>
        <p:spPr>
          <a:xfrm>
            <a:off x="2103388" y="5395314"/>
            <a:ext cx="2614043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에서 사용하는 이메일을 입력해주세요</a:t>
            </a: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84B1F2CA-995C-43B5-9E9F-8CA7B2453730}"/>
              </a:ext>
            </a:extLst>
          </p:cNvPr>
          <p:cNvSpPr/>
          <p:nvPr/>
        </p:nvSpPr>
        <p:spPr>
          <a:xfrm>
            <a:off x="4719619" y="44951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AB9C7392-37B6-471A-A56C-1692D653C4C0}"/>
              </a:ext>
            </a:extLst>
          </p:cNvPr>
          <p:cNvSpPr/>
          <p:nvPr/>
        </p:nvSpPr>
        <p:spPr>
          <a:xfrm>
            <a:off x="2030082" y="53740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80A06B7B-51F3-4C0C-83BE-5989A6DE1F23}"/>
              </a:ext>
            </a:extLst>
          </p:cNvPr>
          <p:cNvGrpSpPr/>
          <p:nvPr/>
        </p:nvGrpSpPr>
        <p:grpSpPr>
          <a:xfrm>
            <a:off x="2109895" y="6039281"/>
            <a:ext cx="2399639" cy="216000"/>
            <a:chOff x="2095311" y="5669274"/>
            <a:chExt cx="2399639" cy="2160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C231E698-2AB7-4A41-875D-9632EEFB399C}"/>
                </a:ext>
              </a:extLst>
            </p:cNvPr>
            <p:cNvSpPr/>
            <p:nvPr/>
          </p:nvSpPr>
          <p:spPr>
            <a:xfrm>
              <a:off x="2951414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6CC0F4B9-5D24-4679-9F92-70DA8D2C200D}"/>
                </a:ext>
              </a:extLst>
            </p:cNvPr>
            <p:cNvSpPr/>
            <p:nvPr/>
          </p:nvSpPr>
          <p:spPr>
            <a:xfrm>
              <a:off x="2095311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9" name="직사각형 168">
              <a:extLst>
                <a:ext uri="{FF2B5EF4-FFF2-40B4-BE49-F238E27FC236}">
                  <a16:creationId xmlns:a16="http://schemas.microsoft.com/office/drawing/2014/main" id="{F1A5D3C3-47F2-478A-97FA-70E9E8D666CC}"/>
                </a:ext>
              </a:extLst>
            </p:cNvPr>
            <p:cNvSpPr/>
            <p:nvPr/>
          </p:nvSpPr>
          <p:spPr>
            <a:xfrm>
              <a:off x="3814850" y="5669274"/>
              <a:ext cx="680100" cy="216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170" name="직선 연결선 169">
              <a:extLst>
                <a:ext uri="{FF2B5EF4-FFF2-40B4-BE49-F238E27FC236}">
                  <a16:creationId xmlns:a16="http://schemas.microsoft.com/office/drawing/2014/main" id="{AE1BE3F1-68C3-4787-9668-C8FCD4A04D4B}"/>
                </a:ext>
              </a:extLst>
            </p:cNvPr>
            <p:cNvCxnSpPr/>
            <p:nvPr/>
          </p:nvCxnSpPr>
          <p:spPr>
            <a:xfrm>
              <a:off x="2801059" y="5768652"/>
              <a:ext cx="109350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직선 연결선 170">
              <a:extLst>
                <a:ext uri="{FF2B5EF4-FFF2-40B4-BE49-F238E27FC236}">
                  <a16:creationId xmlns:a16="http://schemas.microsoft.com/office/drawing/2014/main" id="{FF4D262B-C24B-4791-B78E-25F2035903DE}"/>
                </a:ext>
              </a:extLst>
            </p:cNvPr>
            <p:cNvCxnSpPr/>
            <p:nvPr/>
          </p:nvCxnSpPr>
          <p:spPr>
            <a:xfrm>
              <a:off x="3671495" y="5768652"/>
              <a:ext cx="109350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이등변 삼각형 171">
              <a:extLst>
                <a:ext uri="{FF2B5EF4-FFF2-40B4-BE49-F238E27FC236}">
                  <a16:creationId xmlns:a16="http://schemas.microsoft.com/office/drawing/2014/main" id="{9BA33140-06FD-4EEC-8A28-157C534E98AA}"/>
                </a:ext>
              </a:extLst>
            </p:cNvPr>
            <p:cNvSpPr/>
            <p:nvPr/>
          </p:nvSpPr>
          <p:spPr>
            <a:xfrm flipV="1">
              <a:off x="2635775" y="5746803"/>
              <a:ext cx="88706" cy="6275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C7593E30-89ED-4F9B-834C-8E49C9CD8935}"/>
                </a:ext>
              </a:extLst>
            </p:cNvPr>
            <p:cNvSpPr/>
            <p:nvPr/>
          </p:nvSpPr>
          <p:spPr>
            <a:xfrm>
              <a:off x="2129317" y="5693785"/>
              <a:ext cx="465454" cy="148273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</p:grpSp>
      <p:graphicFrame>
        <p:nvGraphicFramePr>
          <p:cNvPr id="135" name="표 134">
            <a:extLst>
              <a:ext uri="{FF2B5EF4-FFF2-40B4-BE49-F238E27FC236}">
                <a16:creationId xmlns:a16="http://schemas.microsoft.com/office/drawing/2014/main" id="{107A3E64-06AF-4CED-8B3E-14E731A622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760096"/>
              </p:ext>
            </p:extLst>
          </p:nvPr>
        </p:nvGraphicFramePr>
        <p:xfrm>
          <a:off x="5754199" y="3840118"/>
          <a:ext cx="520573" cy="58828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0573">
                  <a:extLst>
                    <a:ext uri="{9D8B030D-6E8A-4147-A177-3AD203B41FA5}">
                      <a16:colId xmlns:a16="http://schemas.microsoft.com/office/drawing/2014/main" val="31833226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0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3156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06296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99052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7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07695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8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644723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9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42999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891307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6200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972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3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64203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76451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06824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2841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4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450042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49075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04226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505461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69593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5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70109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1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014367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52840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44003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6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35675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2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448406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3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905089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4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80906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5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299362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360575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6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689708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7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367964"/>
                  </a:ext>
                </a:extLst>
              </a:tr>
              <a:tr h="186618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508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659189"/>
                  </a:ext>
                </a:extLst>
              </a:tr>
              <a:tr h="1576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70</a:t>
                      </a:r>
                    </a:p>
                  </a:txBody>
                  <a:tcPr marL="4689" marR="4689" marT="468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283711"/>
                  </a:ext>
                </a:extLst>
              </a:tr>
            </a:tbl>
          </a:graphicData>
        </a:graphic>
      </p:graphicFrame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81E0FA71-622D-40C2-A169-B0B965318F54}"/>
              </a:ext>
            </a:extLst>
          </p:cNvPr>
          <p:cNvSpPr/>
          <p:nvPr/>
        </p:nvSpPr>
        <p:spPr>
          <a:xfrm>
            <a:off x="4758433" y="5395937"/>
            <a:ext cx="744543" cy="2268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받기</a:t>
            </a:r>
          </a:p>
        </p:txBody>
      </p: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8C17718F-AB63-40D3-9B43-33A9F0F696C3}"/>
              </a:ext>
            </a:extLst>
          </p:cNvPr>
          <p:cNvSpPr/>
          <p:nvPr/>
        </p:nvSpPr>
        <p:spPr>
          <a:xfrm>
            <a:off x="2637379" y="5692724"/>
            <a:ext cx="2080052" cy="21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8" name="사각형: 둥근 모서리 177">
            <a:extLst>
              <a:ext uri="{FF2B5EF4-FFF2-40B4-BE49-F238E27FC236}">
                <a16:creationId xmlns:a16="http://schemas.microsoft.com/office/drawing/2014/main" id="{56A7F69E-0A49-4F4C-ACFC-9D68BC450E4B}"/>
              </a:ext>
            </a:extLst>
          </p:cNvPr>
          <p:cNvSpPr/>
          <p:nvPr/>
        </p:nvSpPr>
        <p:spPr>
          <a:xfrm>
            <a:off x="4757409" y="5675614"/>
            <a:ext cx="744543" cy="22680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확인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5D50D51-672B-4E2D-A9D9-65A55A167008}"/>
              </a:ext>
            </a:extLst>
          </p:cNvPr>
          <p:cNvSpPr/>
          <p:nvPr/>
        </p:nvSpPr>
        <p:spPr>
          <a:xfrm>
            <a:off x="4265050" y="5733256"/>
            <a:ext cx="395283" cy="1199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5:00</a:t>
            </a:r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179" name="표 10">
            <a:extLst>
              <a:ext uri="{FF2B5EF4-FFF2-40B4-BE49-F238E27FC236}">
                <a16:creationId xmlns:a16="http://schemas.microsoft.com/office/drawing/2014/main" id="{FA39A221-1F32-477F-85C8-F1D4EF80D8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4760366"/>
              </p:ext>
            </p:extLst>
          </p:nvPr>
        </p:nvGraphicFramePr>
        <p:xfrm>
          <a:off x="9267391" y="759198"/>
          <a:ext cx="2922885" cy="65306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5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 중복 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내에서 중복된 아이디 체크 기능 有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141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화번호 형식 오류 체크 기능 有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첫번째 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콤보박스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클릭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에서 앞자리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두번째 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리 이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번째 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 조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불충족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효한 전화번호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메시지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323095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목록 내에서 검색하여 등록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 M032]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하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목록에 없는 경우 수기 작성 가능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466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형식 오류 체크 기능 有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입력형식이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효한 이메일 주소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제한 도메인 메일을 입력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이 제한된 포털 메일 주소입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에서 사용하는 고유한 도메인 주소로만 가입이 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능합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]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이메일로 메시지 발송 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인인증</a:t>
                      </a: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4]</a:t>
                      </a:r>
                      <a:r>
                        <a:rPr lang="en-US" altLang="ko-KR" sz="800" b="0" strike="no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4466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4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에서 인증번호 받기 클릭 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5]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 행 출력 됨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5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 내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효 시간이 만료되었습니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시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도해주세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 일치하는 경우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에 성공하였습니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 불일치하는 경우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잘못된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입니다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“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201939"/>
                  </a:ext>
                </a:extLst>
              </a:tr>
            </a:tbl>
          </a:graphicData>
        </a:graphic>
      </p:graphicFrame>
      <p:sp>
        <p:nvSpPr>
          <p:cNvPr id="22" name="양쪽 대괄호 21">
            <a:extLst>
              <a:ext uri="{FF2B5EF4-FFF2-40B4-BE49-F238E27FC236}">
                <a16:creationId xmlns:a16="http://schemas.microsoft.com/office/drawing/2014/main" id="{82FAE649-AC10-4441-A5B0-B84258BED29E}"/>
              </a:ext>
            </a:extLst>
          </p:cNvPr>
          <p:cNvSpPr/>
          <p:nvPr/>
        </p:nvSpPr>
        <p:spPr>
          <a:xfrm>
            <a:off x="2059503" y="5675614"/>
            <a:ext cx="3530892" cy="261046"/>
          </a:xfrm>
          <a:prstGeom prst="bracketPair">
            <a:avLst/>
          </a:prstGeom>
          <a:ln w="12700">
            <a:solidFill>
              <a:srgbClr val="C04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43C30D9F-9A72-4EA6-9783-352A131156DA}"/>
              </a:ext>
            </a:extLst>
          </p:cNvPr>
          <p:cNvSpPr/>
          <p:nvPr/>
        </p:nvSpPr>
        <p:spPr>
          <a:xfrm>
            <a:off x="1865822" y="57448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6390EF4B-88C5-44D2-A47C-7C10C40899CF}"/>
              </a:ext>
            </a:extLst>
          </p:cNvPr>
          <p:cNvSpPr/>
          <p:nvPr/>
        </p:nvSpPr>
        <p:spPr>
          <a:xfrm>
            <a:off x="9261385" y="1"/>
            <a:ext cx="2950181" cy="24575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비밀번호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자릿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수 제한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: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최소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8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자 이상 최대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16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자 이하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전화번호 입력 양식 변경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오류 체크 조건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이메일 입력형식이 아닌 경우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얼럿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메시지 출력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능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팩스 번호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이메일 인증 프로세스 변경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증코드 입력하여 일치여부 확인하는 프로세스로 진행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- 5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번 기능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등록제한 메일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등록제한 포털 메일 입력 후 인증번호 받기 버튼 클릭 시 출력되는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얼럿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메시지 정의 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23AD880-E39F-44E9-8630-0D404DE5E032}"/>
              </a:ext>
            </a:extLst>
          </p:cNvPr>
          <p:cNvGrpSpPr/>
          <p:nvPr/>
        </p:nvGrpSpPr>
        <p:grpSpPr>
          <a:xfrm>
            <a:off x="6814389" y="4608963"/>
            <a:ext cx="1310589" cy="1570602"/>
            <a:chOff x="6892694" y="4608963"/>
            <a:chExt cx="1310589" cy="1570602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DF08DAEF-1E60-4661-BDB0-91B7DC6B2467}"/>
                </a:ext>
              </a:extLst>
            </p:cNvPr>
            <p:cNvSpPr/>
            <p:nvPr/>
          </p:nvSpPr>
          <p:spPr bwMode="auto">
            <a:xfrm>
              <a:off x="6898102" y="4608963"/>
              <a:ext cx="1305181" cy="15706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algn="ctr">
              <a:noFill/>
              <a:prstDash val="solid"/>
              <a:round/>
              <a:headEnd/>
              <a:tailEnd/>
            </a:ln>
            <a:effectLst>
              <a:outerShdw blurRad="12700" dist="6350" dir="2700000" algn="ctr" rotWithShape="0">
                <a:schemeClr val="tx1">
                  <a:alpha val="10000"/>
                </a:schemeClr>
              </a:outerShdw>
            </a:effectLst>
          </p:spPr>
          <p:txBody>
            <a:bodyPr wrap="square" lIns="90000" tIns="46800" rIns="90000" bIns="46800" rtlCol="0" anchor="t">
              <a:noAutofit/>
            </a:bodyPr>
            <a:lstStyle/>
            <a:p>
              <a:pPr algn="l">
                <a:spcAft>
                  <a:spcPts val="300"/>
                </a:spcAft>
              </a:pPr>
              <a:endPara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ppleSDGothicNeoM00" panose="02000503000000000000" pitchFamily="2" charset="-127"/>
                <a:ea typeface="AppleSDGothicNeoM00" panose="02000503000000000000" pitchFamily="2" charset="-127"/>
                <a:cs typeface="Arial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84404CEA-5992-4986-A233-42329B352EDE}"/>
                </a:ext>
              </a:extLst>
            </p:cNvPr>
            <p:cNvSpPr txBox="1"/>
            <p:nvPr/>
          </p:nvSpPr>
          <p:spPr>
            <a:xfrm>
              <a:off x="6892694" y="4641559"/>
              <a:ext cx="1286249" cy="1520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10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[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등록제한 메일 리스트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]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altLang="ko-KR" sz="3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naver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hanmail.net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daum.net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nate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gmai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empa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freechal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korea.com</a:t>
              </a:r>
            </a:p>
            <a:p>
              <a:pPr marR="0" lvl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hotmail.com</a:t>
              </a:r>
              <a:endParaRPr lang="en-US" altLang="ko-KR" sz="10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47231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신청서로 구성되어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5AEC8CF7-C3D5-49D7-92DE-78F9B90479F0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28" y="1518147"/>
            <a:ext cx="152376" cy="4896000"/>
            <a:chOff x="9201450" y="1601344"/>
            <a:chExt cx="18815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50" y="1809130"/>
              <a:ext cx="188159" cy="392932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3566553"/>
                <a:ext cx="188114" cy="201608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F32CB217-3F20-4235-8FD9-BD248965251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C4932651-A50F-444C-B300-9C05827972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57B06EEC-C345-448C-A9F1-5DE1C6CB54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56" name="그림 55">
              <a:extLst>
                <a:ext uri="{FF2B5EF4-FFF2-40B4-BE49-F238E27FC236}">
                  <a16:creationId xmlns:a16="http://schemas.microsoft.com/office/drawing/2014/main" id="{7A1B64C8-EB4C-4FA2-8819-26BE8753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57978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9399A541-C542-4EF1-B0CC-7CED3BF1602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EACD446-57C4-4C92-A447-279E5B6BDA4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65F104A6-582F-4269-BC5A-B3D7A0A46AB9}"/>
              </a:ext>
            </a:extLst>
          </p:cNvPr>
          <p:cNvGrpSpPr/>
          <p:nvPr/>
        </p:nvGrpSpPr>
        <p:grpSpPr>
          <a:xfrm>
            <a:off x="3569366" y="1568235"/>
            <a:ext cx="2185272" cy="512152"/>
            <a:chOff x="3219789" y="2007332"/>
            <a:chExt cx="2853775" cy="668826"/>
          </a:xfrm>
        </p:grpSpPr>
        <p:sp>
          <p:nvSpPr>
            <p:cNvPr id="9" name="타원 8">
              <a:extLst>
                <a:ext uri="{FF2B5EF4-FFF2-40B4-BE49-F238E27FC236}">
                  <a16:creationId xmlns:a16="http://schemas.microsoft.com/office/drawing/2014/main" id="{59718F04-31C9-4BB3-81B2-DAECD26EE556}"/>
                </a:ext>
              </a:extLst>
            </p:cNvPr>
            <p:cNvSpPr/>
            <p:nvPr/>
          </p:nvSpPr>
          <p:spPr>
            <a:xfrm>
              <a:off x="3477909" y="2007332"/>
              <a:ext cx="367214" cy="367214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202DBBBE-3B78-4BE1-89E3-066A93B69FEB}"/>
                </a:ext>
              </a:extLst>
            </p:cNvPr>
            <p:cNvSpPr/>
            <p:nvPr/>
          </p:nvSpPr>
          <p:spPr>
            <a:xfrm>
              <a:off x="3219789" y="2422106"/>
              <a:ext cx="926949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약관동의</a:t>
              </a: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F9B74C3-4889-4FC1-A0FF-8660CFCB0537}"/>
                </a:ext>
              </a:extLst>
            </p:cNvPr>
            <p:cNvGrpSpPr/>
            <p:nvPr/>
          </p:nvGrpSpPr>
          <p:grpSpPr>
            <a:xfrm>
              <a:off x="4474996" y="2007332"/>
              <a:ext cx="367213" cy="367213"/>
              <a:chOff x="3477910" y="2060957"/>
              <a:chExt cx="367213" cy="367213"/>
            </a:xfrm>
          </p:grpSpPr>
          <p:sp>
            <p:nvSpPr>
              <p:cNvPr id="96" name="타원 95">
                <a:extLst>
                  <a:ext uri="{FF2B5EF4-FFF2-40B4-BE49-F238E27FC236}">
                    <a16:creationId xmlns:a16="http://schemas.microsoft.com/office/drawing/2014/main" id="{F546EEEF-D57A-4631-AE36-2DFEC3313A81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19050">
                <a:solidFill>
                  <a:srgbClr val="C046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0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55A7B167-A0CA-48CC-A7C7-FF68025C173E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04600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</a:p>
            </p:txBody>
          </p:sp>
        </p:grp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2030D2B-7FEA-4061-8DCF-06821C94B238}"/>
                </a:ext>
              </a:extLst>
            </p:cNvPr>
            <p:cNvSpPr/>
            <p:nvPr/>
          </p:nvSpPr>
          <p:spPr>
            <a:xfrm>
              <a:off x="4199303" y="2414670"/>
              <a:ext cx="947421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입력</a:t>
              </a:r>
            </a:p>
          </p:txBody>
        </p: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CFD26C24-26E9-4609-B3BD-C0119C428ECB}"/>
                </a:ext>
              </a:extLst>
            </p:cNvPr>
            <p:cNvGrpSpPr/>
            <p:nvPr/>
          </p:nvGrpSpPr>
          <p:grpSpPr>
            <a:xfrm>
              <a:off x="5455571" y="2025292"/>
              <a:ext cx="367213" cy="367213"/>
              <a:chOff x="3477910" y="2060957"/>
              <a:chExt cx="367213" cy="367213"/>
            </a:xfrm>
          </p:grpSpPr>
          <p:sp>
            <p:nvSpPr>
              <p:cNvPr id="103" name="타원 102">
                <a:extLst>
                  <a:ext uri="{FF2B5EF4-FFF2-40B4-BE49-F238E27FC236}">
                    <a16:creationId xmlns:a16="http://schemas.microsoft.com/office/drawing/2014/main" id="{4E277DD4-C473-46DA-8A42-10B6B36EE597}"/>
                  </a:ext>
                </a:extLst>
              </p:cNvPr>
              <p:cNvSpPr/>
              <p:nvPr/>
            </p:nvSpPr>
            <p:spPr>
              <a:xfrm>
                <a:off x="3477910" y="2060957"/>
                <a:ext cx="367213" cy="367213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303EE1D4-98A6-4136-9E33-019E75B5F774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3515845" y="2111645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</a:p>
            </p:txBody>
          </p:sp>
        </p:grp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A23D7FE9-34DB-4C3D-867D-59C0520627C8}"/>
                </a:ext>
              </a:extLst>
            </p:cNvPr>
            <p:cNvSpPr/>
            <p:nvPr/>
          </p:nvSpPr>
          <p:spPr>
            <a:xfrm>
              <a:off x="5204789" y="2414670"/>
              <a:ext cx="868775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완료</a:t>
              </a:r>
            </a:p>
          </p:txBody>
        </p:sp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AF8442EC-5274-4D81-A793-91CE6FFAA208}"/>
                </a:ext>
              </a:extLst>
            </p:cNvPr>
            <p:cNvSpPr/>
            <p:nvPr/>
          </p:nvSpPr>
          <p:spPr>
            <a:xfrm>
              <a:off x="4053521" y="2154225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6" name="타원 105">
              <a:extLst>
                <a:ext uri="{FF2B5EF4-FFF2-40B4-BE49-F238E27FC236}">
                  <a16:creationId xmlns:a16="http://schemas.microsoft.com/office/drawing/2014/main" id="{9E5B7C87-1075-4783-9DE4-F9F0BCF2DECA}"/>
                </a:ext>
              </a:extLst>
            </p:cNvPr>
            <p:cNvSpPr/>
            <p:nvPr/>
          </p:nvSpPr>
          <p:spPr>
            <a:xfrm>
              <a:off x="4212142" y="2154402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7" name="타원 106">
              <a:extLst>
                <a:ext uri="{FF2B5EF4-FFF2-40B4-BE49-F238E27FC236}">
                  <a16:creationId xmlns:a16="http://schemas.microsoft.com/office/drawing/2014/main" id="{7B9BA0F9-CE17-45EF-A7F4-5B1EDB820B78}"/>
                </a:ext>
              </a:extLst>
            </p:cNvPr>
            <p:cNvSpPr/>
            <p:nvPr/>
          </p:nvSpPr>
          <p:spPr>
            <a:xfrm>
              <a:off x="5045239" y="2165339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8" name="타원 107">
              <a:extLst>
                <a:ext uri="{FF2B5EF4-FFF2-40B4-BE49-F238E27FC236}">
                  <a16:creationId xmlns:a16="http://schemas.microsoft.com/office/drawing/2014/main" id="{895D2786-DB33-47F2-AD67-9D0FEE6A22CE}"/>
                </a:ext>
              </a:extLst>
            </p:cNvPr>
            <p:cNvSpPr/>
            <p:nvPr/>
          </p:nvSpPr>
          <p:spPr>
            <a:xfrm>
              <a:off x="5203860" y="2165516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6AADF247-5A8D-4ABD-848B-2B076DF4B11D}"/>
              </a:ext>
            </a:extLst>
          </p:cNvPr>
          <p:cNvSpPr/>
          <p:nvPr/>
        </p:nvSpPr>
        <p:spPr>
          <a:xfrm>
            <a:off x="499842" y="2060848"/>
            <a:ext cx="3720763" cy="32064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심 영역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CA6BA3-6CB6-480A-A8B4-E787DE233F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1066" y="1633900"/>
            <a:ext cx="157441" cy="157441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DEA5259-30ED-482E-B86D-2CC11CE7133B}"/>
              </a:ext>
            </a:extLst>
          </p:cNvPr>
          <p:cNvCxnSpPr>
            <a:cxnSpLocks/>
          </p:cNvCxnSpPr>
          <p:nvPr/>
        </p:nvCxnSpPr>
        <p:spPr>
          <a:xfrm>
            <a:off x="566604" y="2340991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74A94D04-0554-44A2-98B0-E3E37A594CB9}"/>
              </a:ext>
            </a:extLst>
          </p:cNvPr>
          <p:cNvSpPr/>
          <p:nvPr/>
        </p:nvSpPr>
        <p:spPr>
          <a:xfrm>
            <a:off x="565639" y="2421859"/>
            <a:ext cx="8049080" cy="3890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95C2F9C-0B7E-4384-A04A-DA5B553A6764}"/>
              </a:ext>
            </a:extLst>
          </p:cNvPr>
          <p:cNvSpPr txBox="1"/>
          <p:nvPr/>
        </p:nvSpPr>
        <p:spPr>
          <a:xfrm>
            <a:off x="603115" y="2502264"/>
            <a:ext cx="803091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EAE39FE-5C1D-4FD1-97B8-36FCFA766C83}"/>
              </a:ext>
            </a:extLst>
          </p:cNvPr>
          <p:cNvSpPr txBox="1"/>
          <p:nvPr/>
        </p:nvSpPr>
        <p:spPr>
          <a:xfrm>
            <a:off x="1541646" y="2119121"/>
            <a:ext cx="316402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심 영역 복수 선택</a:t>
            </a: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1B8FFDCF-48A7-40D1-95B9-1AD497C41F93}"/>
              </a:ext>
            </a:extLst>
          </p:cNvPr>
          <p:cNvGrpSpPr/>
          <p:nvPr/>
        </p:nvGrpSpPr>
        <p:grpSpPr>
          <a:xfrm>
            <a:off x="560707" y="3041810"/>
            <a:ext cx="8073962" cy="1651699"/>
            <a:chOff x="478967" y="4072617"/>
            <a:chExt cx="8073962" cy="1651699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68ED16F7-9115-4384-9B5F-BB89EBE81C2B}"/>
                </a:ext>
              </a:extLst>
            </p:cNvPr>
            <p:cNvSpPr/>
            <p:nvPr/>
          </p:nvSpPr>
          <p:spPr>
            <a:xfrm>
              <a:off x="501642" y="4410184"/>
              <a:ext cx="8049080" cy="13141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AC1A413D-19F1-4C3E-9C48-48F5F44C7C84}"/>
                </a:ext>
              </a:extLst>
            </p:cNvPr>
            <p:cNvSpPr txBox="1"/>
            <p:nvPr/>
          </p:nvSpPr>
          <p:spPr>
            <a:xfrm>
              <a:off x="478967" y="4072617"/>
              <a:ext cx="230480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레터 수신 동의</a:t>
              </a:r>
            </a:p>
          </p:txBody>
        </p:sp>
        <p:pic>
          <p:nvPicPr>
            <p:cNvPr id="138" name="그림 137">
              <a:extLst>
                <a:ext uri="{FF2B5EF4-FFF2-40B4-BE49-F238E27FC236}">
                  <a16:creationId xmlns:a16="http://schemas.microsoft.com/office/drawing/2014/main" id="{C16F8FAA-19EC-4E4C-80FD-1A5CA6EBC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3862" y="4490973"/>
              <a:ext cx="209865" cy="209865"/>
            </a:xfrm>
            <a:prstGeom prst="rect">
              <a:avLst/>
            </a:prstGeom>
          </p:spPr>
        </p:pic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F5D76A6D-2B3F-4314-99EF-9CD29D778D09}"/>
                </a:ext>
              </a:extLst>
            </p:cNvPr>
            <p:cNvSpPr txBox="1"/>
            <p:nvPr/>
          </p:nvSpPr>
          <p:spPr>
            <a:xfrm>
              <a:off x="1132376" y="4511267"/>
              <a:ext cx="42712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  <a:defRPr/>
              </a:pPr>
              <a:r>
                <a:rPr lang="ko-KR" altLang="en-US" sz="11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수신</a:t>
              </a:r>
            </a:p>
          </p:txBody>
        </p:sp>
        <p:sp>
          <p:nvSpPr>
            <p:cNvPr id="140" name="직사각형 139">
              <a:extLst>
                <a:ext uri="{FF2B5EF4-FFF2-40B4-BE49-F238E27FC236}">
                  <a16:creationId xmlns:a16="http://schemas.microsoft.com/office/drawing/2014/main" id="{8257B9C7-8EEB-4E61-875A-62EC84924BA5}"/>
                </a:ext>
              </a:extLst>
            </p:cNvPr>
            <p:cNvSpPr/>
            <p:nvPr/>
          </p:nvSpPr>
          <p:spPr>
            <a:xfrm>
              <a:off x="753862" y="4769451"/>
              <a:ext cx="7502378" cy="7933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21F09072-19D4-438D-89D5-F77978419364}"/>
                </a:ext>
              </a:extLst>
            </p:cNvPr>
            <p:cNvSpPr txBox="1"/>
            <p:nvPr/>
          </p:nvSpPr>
          <p:spPr>
            <a:xfrm>
              <a:off x="784843" y="4773556"/>
              <a:ext cx="7768086" cy="5468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4295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광고성 정보 수신 및 마케팅 활용 동의 </a:t>
              </a:r>
              <a:r>
                <a:rPr lang="en-US" altLang="ko-KR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  <a:r>
                <a:rPr lang="en-US" altLang="ko-KR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marL="0" marR="0" lvl="0" indent="0" algn="l" defTabSz="74295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이메일 </a:t>
              </a:r>
              <a:r>
                <a:rPr lang="en-US" altLang="ko-KR" sz="105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SMS </a:t>
              </a:r>
              <a:endPara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42" name="그림 141">
              <a:extLst>
                <a:ext uri="{FF2B5EF4-FFF2-40B4-BE49-F238E27FC236}">
                  <a16:creationId xmlns:a16="http://schemas.microsoft.com/office/drawing/2014/main" id="{2958ED91-A155-4D87-B2E7-837C3F41FE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6943" y="4846834"/>
              <a:ext cx="195709" cy="195709"/>
            </a:xfrm>
            <a:prstGeom prst="rect">
              <a:avLst/>
            </a:prstGeom>
          </p:spPr>
        </p:pic>
        <p:pic>
          <p:nvPicPr>
            <p:cNvPr id="143" name="그림 142">
              <a:extLst>
                <a:ext uri="{FF2B5EF4-FFF2-40B4-BE49-F238E27FC236}">
                  <a16:creationId xmlns:a16="http://schemas.microsoft.com/office/drawing/2014/main" id="{BE7BE792-EE6F-4538-8152-C77F14106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6943" y="5096312"/>
              <a:ext cx="195709" cy="195709"/>
            </a:xfrm>
            <a:prstGeom prst="rect">
              <a:avLst/>
            </a:prstGeom>
          </p:spPr>
        </p:pic>
        <p:pic>
          <p:nvPicPr>
            <p:cNvPr id="144" name="그림 143">
              <a:extLst>
                <a:ext uri="{FF2B5EF4-FFF2-40B4-BE49-F238E27FC236}">
                  <a16:creationId xmlns:a16="http://schemas.microsoft.com/office/drawing/2014/main" id="{4C5B6754-4BC1-4385-AEB2-5CD5DC6DD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15393" y="5108954"/>
              <a:ext cx="195709" cy="195709"/>
            </a:xfrm>
            <a:prstGeom prst="rect">
              <a:avLst/>
            </a:prstGeom>
          </p:spPr>
        </p:pic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47B56F55-4DD2-434C-8919-1E2710A820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52527" y="4490973"/>
              <a:ext cx="209865" cy="209865"/>
            </a:xfrm>
            <a:prstGeom prst="rect">
              <a:avLst/>
            </a:prstGeom>
          </p:spPr>
        </p:pic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25F2ED09-454E-41CA-8BA0-8BFA8D4B973F}"/>
                </a:ext>
              </a:extLst>
            </p:cNvPr>
            <p:cNvSpPr txBox="1"/>
            <p:nvPr/>
          </p:nvSpPr>
          <p:spPr>
            <a:xfrm>
              <a:off x="3031041" y="4511267"/>
              <a:ext cx="42712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  <a:defRPr/>
              </a:pPr>
              <a:r>
                <a:rPr lang="ko-KR" altLang="en-US" sz="110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수신</a:t>
              </a:r>
              <a:endParaRPr lang="ko-KR" altLang="en-US" sz="11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47" name="사각형: 둥근 모서리 146">
              <a:extLst>
                <a:ext uri="{FF2B5EF4-FFF2-40B4-BE49-F238E27FC236}">
                  <a16:creationId xmlns:a16="http://schemas.microsoft.com/office/drawing/2014/main" id="{52A7589A-4A37-4A11-901F-92B42D7F2D69}"/>
                </a:ext>
              </a:extLst>
            </p:cNvPr>
            <p:cNvSpPr/>
            <p:nvPr/>
          </p:nvSpPr>
          <p:spPr>
            <a:xfrm>
              <a:off x="3806102" y="4846834"/>
              <a:ext cx="720080" cy="180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보기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FED56CC-8AE8-4DC7-8705-70725CB69450}"/>
                </a:ext>
              </a:extLst>
            </p:cNvPr>
            <p:cNvSpPr txBox="1"/>
            <p:nvPr/>
          </p:nvSpPr>
          <p:spPr>
            <a:xfrm>
              <a:off x="852694" y="5369791"/>
              <a:ext cx="766069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상기 마케팅 동의 항목에 동의하셔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간 뉴스레터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 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안내문자 등 서비스를 제공받을 수 있습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</a:p>
          </p:txBody>
        </p:sp>
      </p:grpSp>
      <p:cxnSp>
        <p:nvCxnSpPr>
          <p:cNvPr id="149" name="직선 연결선 148">
            <a:extLst>
              <a:ext uri="{FF2B5EF4-FFF2-40B4-BE49-F238E27FC236}">
                <a16:creationId xmlns:a16="http://schemas.microsoft.com/office/drawing/2014/main" id="{3C39143B-7586-4FA8-82C2-3A277F7C6528}"/>
              </a:ext>
            </a:extLst>
          </p:cNvPr>
          <p:cNvCxnSpPr>
            <a:cxnSpLocks/>
          </p:cNvCxnSpPr>
          <p:nvPr/>
        </p:nvCxnSpPr>
        <p:spPr>
          <a:xfrm>
            <a:off x="590934" y="3308134"/>
            <a:ext cx="8025346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0" name="표 10">
            <a:extLst>
              <a:ext uri="{FF2B5EF4-FFF2-40B4-BE49-F238E27FC236}">
                <a16:creationId xmlns:a16="http://schemas.microsoft.com/office/drawing/2014/main" id="{C713436D-AF63-4C8A-884D-DBBA553573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180913"/>
              </p:ext>
            </p:extLst>
          </p:nvPr>
        </p:nvGraphicFramePr>
        <p:xfrm>
          <a:off x="9268771" y="756315"/>
          <a:ext cx="2922885" cy="1203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수신 동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체크 해제된 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수신 체크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광고성 정보 수신 및 마케팅 활용동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자동 체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광고성 정보수신 및 마케팅 활용동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체크 해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시 상단 뉴스레터 수신 동의 체크도 해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151" name="사각형: 둥근 모서리 150">
            <a:extLst>
              <a:ext uri="{FF2B5EF4-FFF2-40B4-BE49-F238E27FC236}">
                <a16:creationId xmlns:a16="http://schemas.microsoft.com/office/drawing/2014/main" id="{344D6F39-2AF6-44D9-B1BC-06BFF36E9A87}"/>
              </a:ext>
            </a:extLst>
          </p:cNvPr>
          <p:cNvSpPr/>
          <p:nvPr/>
        </p:nvSpPr>
        <p:spPr>
          <a:xfrm>
            <a:off x="545446" y="33471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7B31DF0D-8C18-4164-B5D1-1A7C21471D3D}"/>
              </a:ext>
            </a:extLst>
          </p:cNvPr>
          <p:cNvSpPr/>
          <p:nvPr/>
        </p:nvSpPr>
        <p:spPr>
          <a:xfrm>
            <a:off x="3528553" y="4999032"/>
            <a:ext cx="2034051" cy="26583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하기</a:t>
            </a:r>
          </a:p>
        </p:txBody>
      </p:sp>
    </p:spTree>
    <p:extLst>
      <p:ext uri="{BB962C8B-B14F-4D97-AF65-F5344CB8AC3E}">
        <p14:creationId xmlns:p14="http://schemas.microsoft.com/office/powerpoint/2010/main" val="39675740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011259"/>
              </p:ext>
            </p:extLst>
          </p:nvPr>
        </p:nvGraphicFramePr>
        <p:xfrm>
          <a:off x="1" y="9862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 완료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 완료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644777"/>
              </p:ext>
            </p:extLst>
          </p:nvPr>
        </p:nvGraphicFramePr>
        <p:xfrm>
          <a:off x="9268702" y="747966"/>
          <a:ext cx="2922885" cy="72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 이전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516367"/>
                  </a:ext>
                </a:extLst>
              </a:tr>
            </a:tbl>
          </a:graphicData>
        </a:graphic>
      </p:graphicFrame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1319EBB-9219-475D-B881-AEFE6797246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64295" y="2899293"/>
            <a:ext cx="1736509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완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A5904F7B-850D-442C-8E72-90A26815664A}"/>
              </a:ext>
            </a:extLst>
          </p:cNvPr>
          <p:cNvCxnSpPr>
            <a:cxnSpLocks/>
          </p:cNvCxnSpPr>
          <p:nvPr/>
        </p:nvCxnSpPr>
        <p:spPr>
          <a:xfrm>
            <a:off x="2732302" y="3429387"/>
            <a:ext cx="400049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67BAA9C-7C15-497E-A33B-38F1952F7C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14068" y="3639536"/>
            <a:ext cx="403696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이 완료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 latinLnBrk="0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금 바로 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다양한 서비스와 컨텐츠를 경험해보세요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88B5F7E7-EBF5-4A33-B371-AA813B03880C}"/>
              </a:ext>
            </a:extLst>
          </p:cNvPr>
          <p:cNvSpPr/>
          <p:nvPr/>
        </p:nvSpPr>
        <p:spPr>
          <a:xfrm>
            <a:off x="4869789" y="4488520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</a:t>
            </a: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54863836-4826-42BB-8019-08A7441F8D1C}"/>
              </a:ext>
            </a:extLst>
          </p:cNvPr>
          <p:cNvSpPr/>
          <p:nvPr/>
        </p:nvSpPr>
        <p:spPr>
          <a:xfrm>
            <a:off x="4756500" y="44301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C62B123A-112A-4DEF-AFE6-1F6CAA401A6E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E890FFFC-A358-409C-9884-7922CAEEBD3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A7339C38-D5C9-416C-958A-9945C6F25C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58DE5F21-1CFB-4599-8658-882D31A3097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F5E0FE2B-23A7-4FB1-A98B-50444CC15960}"/>
                </a:ext>
              </a:extLst>
            </p:cNvPr>
            <p:cNvSpPr/>
            <p:nvPr/>
          </p:nvSpPr>
          <p:spPr>
            <a:xfrm>
              <a:off x="5646245" y="724074"/>
              <a:ext cx="3134818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가입  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그인  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 </a:t>
              </a: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마이페이지     </a:t>
              </a:r>
              <a:r>
                <a:rPr lang="en-US" altLang="ko-KR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|     About Us          </a:t>
              </a:r>
              <a:endPara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03154A3C-EC85-4841-94D2-45A1595FE4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31D598A-8CCA-4E5F-A99E-E9263DF31237}"/>
              </a:ext>
            </a:extLst>
          </p:cNvPr>
          <p:cNvSpPr/>
          <p:nvPr/>
        </p:nvSpPr>
        <p:spPr>
          <a:xfrm>
            <a:off x="3688433" y="4491637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전화면 이동</a:t>
            </a: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142A5D5E-5E11-4762-9006-71C9BD9479CB}"/>
              </a:ext>
            </a:extLst>
          </p:cNvPr>
          <p:cNvSpPr/>
          <p:nvPr/>
        </p:nvSpPr>
        <p:spPr>
          <a:xfrm>
            <a:off x="3626669" y="44298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8BCEF418-A1B9-4E2B-9901-F2BE23A9EB29}"/>
              </a:ext>
            </a:extLst>
          </p:cNvPr>
          <p:cNvGrpSpPr/>
          <p:nvPr/>
        </p:nvGrpSpPr>
        <p:grpSpPr>
          <a:xfrm>
            <a:off x="3607566" y="1963563"/>
            <a:ext cx="2185272" cy="514546"/>
            <a:chOff x="3219789" y="2004205"/>
            <a:chExt cx="2853775" cy="671953"/>
          </a:xfrm>
        </p:grpSpPr>
        <p:sp>
          <p:nvSpPr>
            <p:cNvPr id="21" name="타원 20">
              <a:extLst>
                <a:ext uri="{FF2B5EF4-FFF2-40B4-BE49-F238E27FC236}">
                  <a16:creationId xmlns:a16="http://schemas.microsoft.com/office/drawing/2014/main" id="{F23B0CF9-1323-4441-9D24-43027B135886}"/>
                </a:ext>
              </a:extLst>
            </p:cNvPr>
            <p:cNvSpPr/>
            <p:nvPr/>
          </p:nvSpPr>
          <p:spPr>
            <a:xfrm>
              <a:off x="3477909" y="2007332"/>
              <a:ext cx="367214" cy="367214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D42F92EF-9C6A-4330-A94B-259120F22170}"/>
                </a:ext>
              </a:extLst>
            </p:cNvPr>
            <p:cNvSpPr/>
            <p:nvPr/>
          </p:nvSpPr>
          <p:spPr>
            <a:xfrm>
              <a:off x="3219789" y="2422106"/>
              <a:ext cx="926949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약관동의</a:t>
              </a:r>
            </a:p>
          </p:txBody>
        </p: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4D853A93-B8B8-4E86-B910-120FEAE5909F}"/>
                </a:ext>
              </a:extLst>
            </p:cNvPr>
            <p:cNvGrpSpPr/>
            <p:nvPr/>
          </p:nvGrpSpPr>
          <p:grpSpPr>
            <a:xfrm>
              <a:off x="5476580" y="2004205"/>
              <a:ext cx="367214" cy="367213"/>
              <a:chOff x="4479494" y="2057830"/>
              <a:chExt cx="367214" cy="367213"/>
            </a:xfrm>
          </p:grpSpPr>
          <p:sp>
            <p:nvSpPr>
              <p:cNvPr id="44" name="타원 43">
                <a:extLst>
                  <a:ext uri="{FF2B5EF4-FFF2-40B4-BE49-F238E27FC236}">
                    <a16:creationId xmlns:a16="http://schemas.microsoft.com/office/drawing/2014/main" id="{6A4B074E-76A6-4696-9A8B-34C6C355D557}"/>
                  </a:ext>
                </a:extLst>
              </p:cNvPr>
              <p:cNvSpPr/>
              <p:nvPr/>
            </p:nvSpPr>
            <p:spPr>
              <a:xfrm>
                <a:off x="4479494" y="2057830"/>
                <a:ext cx="367214" cy="367213"/>
              </a:xfrm>
              <a:prstGeom prst="ellipse">
                <a:avLst/>
              </a:prstGeom>
              <a:noFill/>
              <a:ln w="19050">
                <a:solidFill>
                  <a:srgbClr val="C046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4CC2F59E-FAAE-4FDE-A87F-900AF424DA39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4517428" y="2108518"/>
                <a:ext cx="291342" cy="265837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C04600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</a:t>
                </a:r>
              </a:p>
            </p:txBody>
          </p:sp>
        </p:grp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E4B8320C-BA62-4CA6-A113-517D676D1172}"/>
                </a:ext>
              </a:extLst>
            </p:cNvPr>
            <p:cNvSpPr/>
            <p:nvPr/>
          </p:nvSpPr>
          <p:spPr>
            <a:xfrm>
              <a:off x="4199303" y="2414670"/>
              <a:ext cx="947421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입력</a:t>
              </a:r>
            </a:p>
          </p:txBody>
        </p: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5423C92C-1A48-4B68-BD6D-6AAFE9CCC947}"/>
                </a:ext>
              </a:extLst>
            </p:cNvPr>
            <p:cNvGrpSpPr/>
            <p:nvPr/>
          </p:nvGrpSpPr>
          <p:grpSpPr>
            <a:xfrm>
              <a:off x="4488412" y="2004205"/>
              <a:ext cx="367212" cy="367214"/>
              <a:chOff x="2510751" y="2039870"/>
              <a:chExt cx="367212" cy="367214"/>
            </a:xfrm>
          </p:grpSpPr>
          <p:sp>
            <p:nvSpPr>
              <p:cNvPr id="42" name="타원 41">
                <a:extLst>
                  <a:ext uri="{FF2B5EF4-FFF2-40B4-BE49-F238E27FC236}">
                    <a16:creationId xmlns:a16="http://schemas.microsoft.com/office/drawing/2014/main" id="{E76E81A8-0353-460D-AD56-8F80E7A6EA22}"/>
                  </a:ext>
                </a:extLst>
              </p:cNvPr>
              <p:cNvSpPr/>
              <p:nvPr/>
            </p:nvSpPr>
            <p:spPr>
              <a:xfrm>
                <a:off x="2510751" y="2039870"/>
                <a:ext cx="367212" cy="367214"/>
              </a:xfrm>
              <a:prstGeom prst="ellipse">
                <a:avLst/>
              </a:prstGeom>
              <a:noFill/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Window Frame" descr="&lt;SmartSettings&gt;&lt;SmartResize anchorLeft=&quot;Absolute&quot; anchorTop=&quot;Absolute&quot; anchorRight=&quot;Absolute&quot; anchorBottom=&quot;Absolute&quot; /&gt;&lt;/SmartSettings&gt;">
                <a:extLst>
                  <a:ext uri="{FF2B5EF4-FFF2-40B4-BE49-F238E27FC236}">
                    <a16:creationId xmlns:a16="http://schemas.microsoft.com/office/drawing/2014/main" id="{271FA9EB-8E5B-4461-8A3F-1B5054DBCD20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2548688" y="2090559"/>
                <a:ext cx="291342" cy="265836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r>
                  <a:rPr lang="en-US" altLang="ko-KR" sz="13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</a:t>
                </a:r>
              </a:p>
            </p:txBody>
          </p:sp>
        </p:grp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DF64B7E6-F92D-4C2C-B25E-A22B901CDB38}"/>
                </a:ext>
              </a:extLst>
            </p:cNvPr>
            <p:cNvSpPr/>
            <p:nvPr/>
          </p:nvSpPr>
          <p:spPr>
            <a:xfrm>
              <a:off x="5204789" y="2414670"/>
              <a:ext cx="868775" cy="2540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완료</a:t>
              </a:r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ED68DDEF-2750-4B69-AA51-0F4F94FB2954}"/>
                </a:ext>
              </a:extLst>
            </p:cNvPr>
            <p:cNvSpPr/>
            <p:nvPr/>
          </p:nvSpPr>
          <p:spPr>
            <a:xfrm>
              <a:off x="4053521" y="2154225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25C2A8E3-A3D8-46A1-BF26-3D2AD887DCA1}"/>
                </a:ext>
              </a:extLst>
            </p:cNvPr>
            <p:cNvSpPr/>
            <p:nvPr/>
          </p:nvSpPr>
          <p:spPr>
            <a:xfrm>
              <a:off x="4212142" y="2154402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17A9B6E-2B66-4EDC-B098-8559E700B8F8}"/>
                </a:ext>
              </a:extLst>
            </p:cNvPr>
            <p:cNvSpPr/>
            <p:nvPr/>
          </p:nvSpPr>
          <p:spPr>
            <a:xfrm>
              <a:off x="5045239" y="2165339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49C538AA-E50C-49E3-A299-EAEB7ABDE26E}"/>
                </a:ext>
              </a:extLst>
            </p:cNvPr>
            <p:cNvSpPr/>
            <p:nvPr/>
          </p:nvSpPr>
          <p:spPr>
            <a:xfrm>
              <a:off x="5203860" y="2165516"/>
              <a:ext cx="64323" cy="6432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46" name="그림 45">
            <a:extLst>
              <a:ext uri="{FF2B5EF4-FFF2-40B4-BE49-F238E27FC236}">
                <a16:creationId xmlns:a16="http://schemas.microsoft.com/office/drawing/2014/main" id="{3D42E487-BDAC-4125-A8B2-B7C2292BB8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9266" y="2031625"/>
            <a:ext cx="157441" cy="15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6643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231169"/>
              </p:ext>
            </p:extLst>
          </p:nvPr>
        </p:nvGraphicFramePr>
        <p:xfrm>
          <a:off x="1" y="9862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검색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 시 소속 회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검색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53451" y="6414932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064903"/>
              </p:ext>
            </p:extLst>
          </p:nvPr>
        </p:nvGraphicFramePr>
        <p:xfrm>
          <a:off x="9268702" y="747966"/>
          <a:ext cx="2922885" cy="2943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443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텍스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자 이상 입력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887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박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만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516367"/>
                  </a:ext>
                </a:extLst>
              </a:tr>
              <a:tr h="4443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화면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정보 반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637234"/>
                  </a:ext>
                </a:extLst>
              </a:tr>
              <a:tr h="3887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등록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513941"/>
                  </a:ext>
                </a:extLst>
              </a:tr>
              <a:tr h="3887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없는 경우 출력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728904"/>
                  </a:ext>
                </a:extLst>
              </a:tr>
              <a:tr h="4443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영역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등록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3452277"/>
                  </a:ext>
                </a:extLst>
              </a:tr>
              <a:tr h="4443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2676854"/>
                  </a:ext>
                </a:extLst>
              </a:tr>
            </a:tbl>
          </a:graphicData>
        </a:graphic>
      </p:graphicFrame>
      <p:sp>
        <p:nvSpPr>
          <p:cNvPr id="163" name="TextBox 162">
            <a:extLst>
              <a:ext uri="{FF2B5EF4-FFF2-40B4-BE49-F238E27FC236}">
                <a16:creationId xmlns:a16="http://schemas.microsoft.com/office/drawing/2014/main" id="{1A0135AA-601E-4BD7-A51B-A5E383F4B661}"/>
              </a:ext>
            </a:extLst>
          </p:cNvPr>
          <p:cNvSpPr txBox="1"/>
          <p:nvPr/>
        </p:nvSpPr>
        <p:spPr>
          <a:xfrm>
            <a:off x="737147" y="1186047"/>
            <a:ext cx="1865337" cy="1958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소속 회사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관</a:t>
            </a:r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280" name="표 279">
            <a:extLst>
              <a:ext uri="{FF2B5EF4-FFF2-40B4-BE49-F238E27FC236}">
                <a16:creationId xmlns:a16="http://schemas.microsoft.com/office/drawing/2014/main" id="{6F3A9A58-7DA5-45AA-992F-FBB878895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992224"/>
              </p:ext>
            </p:extLst>
          </p:nvPr>
        </p:nvGraphicFramePr>
        <p:xfrm>
          <a:off x="652363" y="2134288"/>
          <a:ext cx="4654538" cy="28542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2646">
                  <a:extLst>
                    <a:ext uri="{9D8B030D-6E8A-4147-A177-3AD203B41FA5}">
                      <a16:colId xmlns:a16="http://schemas.microsoft.com/office/drawing/2014/main" val="4210229955"/>
                    </a:ext>
                  </a:extLst>
                </a:gridCol>
                <a:gridCol w="2165946">
                  <a:extLst>
                    <a:ext uri="{9D8B030D-6E8A-4147-A177-3AD203B41FA5}">
                      <a16:colId xmlns:a16="http://schemas.microsoft.com/office/drawing/2014/main" val="1716352177"/>
                    </a:ext>
                  </a:extLst>
                </a:gridCol>
                <a:gridCol w="2165946">
                  <a:extLst>
                    <a:ext uri="{9D8B030D-6E8A-4147-A177-3AD203B41FA5}">
                      <a16:colId xmlns:a16="http://schemas.microsoft.com/office/drawing/2014/main" val="3146456068"/>
                    </a:ext>
                  </a:extLst>
                </a:gridCol>
              </a:tblGrid>
              <a:tr h="2436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자등록번호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683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크로컨텍솔루션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1417980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포스코엠텍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2293495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네트웍스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059915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홀딩스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018251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테일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8476272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3572010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N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지주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1495215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YC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37014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235605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씨푸드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8741566"/>
                  </a:ext>
                </a:extLst>
              </a:tr>
            </a:tbl>
          </a:graphicData>
        </a:graphic>
      </p:graphicFrame>
      <p:grpSp>
        <p:nvGrpSpPr>
          <p:cNvPr id="285" name="그룹 284">
            <a:extLst>
              <a:ext uri="{FF2B5EF4-FFF2-40B4-BE49-F238E27FC236}">
                <a16:creationId xmlns:a16="http://schemas.microsoft.com/office/drawing/2014/main" id="{413C5C08-AA37-48DB-886B-94E4CDC2DE19}"/>
              </a:ext>
            </a:extLst>
          </p:cNvPr>
          <p:cNvGrpSpPr/>
          <p:nvPr/>
        </p:nvGrpSpPr>
        <p:grpSpPr>
          <a:xfrm>
            <a:off x="5154147" y="2378250"/>
            <a:ext cx="152754" cy="2628735"/>
            <a:chOff x="9201470" y="1601344"/>
            <a:chExt cx="188139" cy="4198759"/>
          </a:xfrm>
        </p:grpSpPr>
        <p:sp>
          <p:nvSpPr>
            <p:cNvPr id="286" name="직사각형 285">
              <a:extLst>
                <a:ext uri="{FF2B5EF4-FFF2-40B4-BE49-F238E27FC236}">
                  <a16:creationId xmlns:a16="http://schemas.microsoft.com/office/drawing/2014/main" id="{240D4DA0-D9F2-401A-8959-C5544832DC84}"/>
                </a:ext>
              </a:extLst>
            </p:cNvPr>
            <p:cNvSpPr/>
            <p:nvPr/>
          </p:nvSpPr>
          <p:spPr>
            <a:xfrm>
              <a:off x="9201474" y="1810108"/>
              <a:ext cx="188114" cy="378089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87" name="그룹 286">
              <a:extLst>
                <a:ext uri="{FF2B5EF4-FFF2-40B4-BE49-F238E27FC236}">
                  <a16:creationId xmlns:a16="http://schemas.microsoft.com/office/drawing/2014/main" id="{E28A946B-9C30-4D8C-BD41-5F3695D19B9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9"/>
              <a:chOff x="9201470" y="1601344"/>
              <a:chExt cx="188139" cy="4198759"/>
            </a:xfrm>
          </p:grpSpPr>
          <p:sp>
            <p:nvSpPr>
              <p:cNvPr id="288" name="직사각형 287">
                <a:extLst>
                  <a:ext uri="{FF2B5EF4-FFF2-40B4-BE49-F238E27FC236}">
                    <a16:creationId xmlns:a16="http://schemas.microsoft.com/office/drawing/2014/main" id="{B06AB8BE-C7B2-4680-918F-70FCFDF192D2}"/>
                  </a:ext>
                </a:extLst>
              </p:cNvPr>
              <p:cNvSpPr/>
              <p:nvPr/>
            </p:nvSpPr>
            <p:spPr>
              <a:xfrm>
                <a:off x="9201495" y="1731282"/>
                <a:ext cx="188114" cy="185704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289" name="직사각형 288">
                <a:extLst>
                  <a:ext uri="{FF2B5EF4-FFF2-40B4-BE49-F238E27FC236}">
                    <a16:creationId xmlns:a16="http://schemas.microsoft.com/office/drawing/2014/main" id="{7F64E52E-2AF9-433F-9B57-B2EFCA2FB25F}"/>
                  </a:ext>
                </a:extLst>
              </p:cNvPr>
              <p:cNvSpPr/>
              <p:nvPr/>
            </p:nvSpPr>
            <p:spPr>
              <a:xfrm rot="10800000">
                <a:off x="9201470" y="5590997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290" name="직사각형 289">
                <a:extLst>
                  <a:ext uri="{FF2B5EF4-FFF2-40B4-BE49-F238E27FC236}">
                    <a16:creationId xmlns:a16="http://schemas.microsoft.com/office/drawing/2014/main" id="{EE00A07E-C6B5-4094-8F38-999B94148B3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8520B025-531C-4517-94B6-315D34D92CED}"/>
              </a:ext>
            </a:extLst>
          </p:cNvPr>
          <p:cNvCxnSpPr>
            <a:cxnSpLocks/>
          </p:cNvCxnSpPr>
          <p:nvPr/>
        </p:nvCxnSpPr>
        <p:spPr>
          <a:xfrm>
            <a:off x="636111" y="5003176"/>
            <a:ext cx="4683509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직사각형 292">
            <a:extLst>
              <a:ext uri="{FF2B5EF4-FFF2-40B4-BE49-F238E27FC236}">
                <a16:creationId xmlns:a16="http://schemas.microsoft.com/office/drawing/2014/main" id="{8E7CC7EB-E1F4-45CB-BFEC-FC84A94605B3}"/>
              </a:ext>
            </a:extLst>
          </p:cNvPr>
          <p:cNvSpPr/>
          <p:nvPr/>
        </p:nvSpPr>
        <p:spPr>
          <a:xfrm>
            <a:off x="2501592" y="5113059"/>
            <a:ext cx="952545" cy="2306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</a:t>
            </a:r>
          </a:p>
        </p:txBody>
      </p:sp>
      <p:pic>
        <p:nvPicPr>
          <p:cNvPr id="294" name="Picture 2" descr="돋보기 ">
            <a:extLst>
              <a:ext uri="{FF2B5EF4-FFF2-40B4-BE49-F238E27FC236}">
                <a16:creationId xmlns:a16="http://schemas.microsoft.com/office/drawing/2014/main" id="{618A4A42-AE1C-4717-8BF0-1988F58C4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42" y="1679653"/>
            <a:ext cx="188230" cy="18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5" name="직사각형 294">
            <a:extLst>
              <a:ext uri="{FF2B5EF4-FFF2-40B4-BE49-F238E27FC236}">
                <a16:creationId xmlns:a16="http://schemas.microsoft.com/office/drawing/2014/main" id="{B56315AA-2BF1-4A1F-9A63-0A84CF56B220}"/>
              </a:ext>
            </a:extLst>
          </p:cNvPr>
          <p:cNvSpPr/>
          <p:nvPr/>
        </p:nvSpPr>
        <p:spPr>
          <a:xfrm>
            <a:off x="737147" y="1639815"/>
            <a:ext cx="2520279" cy="232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명을 입력하세요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B1E8D938-D2B3-4558-BECB-F970A4CA9EEC}"/>
              </a:ext>
            </a:extLst>
          </p:cNvPr>
          <p:cNvCxnSpPr/>
          <p:nvPr/>
        </p:nvCxnSpPr>
        <p:spPr>
          <a:xfrm>
            <a:off x="783387" y="1915613"/>
            <a:ext cx="4311413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ED97FFC2-0320-4B05-8DAA-89012067AE61}"/>
              </a:ext>
            </a:extLst>
          </p:cNvPr>
          <p:cNvSpPr/>
          <p:nvPr/>
        </p:nvSpPr>
        <p:spPr>
          <a:xfrm>
            <a:off x="623392" y="1098801"/>
            <a:ext cx="4683509" cy="4736951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296" name="직사각형 295">
            <a:extLst>
              <a:ext uri="{FF2B5EF4-FFF2-40B4-BE49-F238E27FC236}">
                <a16:creationId xmlns:a16="http://schemas.microsoft.com/office/drawing/2014/main" id="{6F22D857-3F51-4C3B-8B4B-67FD4F233F43}"/>
              </a:ext>
            </a:extLst>
          </p:cNvPr>
          <p:cNvSpPr/>
          <p:nvPr/>
        </p:nvSpPr>
        <p:spPr>
          <a:xfrm>
            <a:off x="617339" y="5546207"/>
            <a:ext cx="4524026" cy="2306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하시고자 하는 회사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명이 검색 결과에 없는 경우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등록하여 입력 바랍니다     </a:t>
            </a:r>
          </a:p>
        </p:txBody>
      </p:sp>
      <p:sp>
        <p:nvSpPr>
          <p:cNvPr id="297" name="직사각형 296">
            <a:extLst>
              <a:ext uri="{FF2B5EF4-FFF2-40B4-BE49-F238E27FC236}">
                <a16:creationId xmlns:a16="http://schemas.microsoft.com/office/drawing/2014/main" id="{AB594194-070F-448F-8919-1347218AD978}"/>
              </a:ext>
            </a:extLst>
          </p:cNvPr>
          <p:cNvSpPr/>
          <p:nvPr/>
        </p:nvSpPr>
        <p:spPr>
          <a:xfrm>
            <a:off x="4209279" y="5572850"/>
            <a:ext cx="955767" cy="17979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회사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명 등록 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426B830-9A3B-45B5-82CD-26259D5238C2}"/>
              </a:ext>
            </a:extLst>
          </p:cNvPr>
          <p:cNvSpPr/>
          <p:nvPr/>
        </p:nvSpPr>
        <p:spPr>
          <a:xfrm>
            <a:off x="5009339" y="1142308"/>
            <a:ext cx="221174" cy="19582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X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338" name="그림 337">
            <a:extLst>
              <a:ext uri="{FF2B5EF4-FFF2-40B4-BE49-F238E27FC236}">
                <a16:creationId xmlns:a16="http://schemas.microsoft.com/office/drawing/2014/main" id="{A64ADB1E-F827-44F1-92B9-23E19FD156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7751" y="2134288"/>
            <a:ext cx="339797" cy="339797"/>
          </a:xfrm>
          <a:prstGeom prst="rect">
            <a:avLst/>
          </a:prstGeom>
        </p:spPr>
      </p:pic>
      <p:sp>
        <p:nvSpPr>
          <p:cNvPr id="346" name="사각형: 둥근 모서리 345">
            <a:extLst>
              <a:ext uri="{FF2B5EF4-FFF2-40B4-BE49-F238E27FC236}">
                <a16:creationId xmlns:a16="http://schemas.microsoft.com/office/drawing/2014/main" id="{76DA3D6A-4DD7-428A-A5F9-A6BDDD7745FB}"/>
              </a:ext>
            </a:extLst>
          </p:cNvPr>
          <p:cNvSpPr/>
          <p:nvPr/>
        </p:nvSpPr>
        <p:spPr>
          <a:xfrm>
            <a:off x="709415" y="15243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91" name="그림 390">
            <a:extLst>
              <a:ext uri="{FF2B5EF4-FFF2-40B4-BE49-F238E27FC236}">
                <a16:creationId xmlns:a16="http://schemas.microsoft.com/office/drawing/2014/main" id="{BCF7F730-223D-479A-B212-5261FE11F1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1762" y="1104183"/>
            <a:ext cx="2711774" cy="2739803"/>
          </a:xfrm>
          <a:prstGeom prst="rect">
            <a:avLst/>
          </a:prstGeom>
        </p:spPr>
      </p:pic>
      <p:sp>
        <p:nvSpPr>
          <p:cNvPr id="335" name="직사각형 334">
            <a:extLst>
              <a:ext uri="{FF2B5EF4-FFF2-40B4-BE49-F238E27FC236}">
                <a16:creationId xmlns:a16="http://schemas.microsoft.com/office/drawing/2014/main" id="{A1197F8F-0EAE-4098-9FDD-2F42600E9725}"/>
              </a:ext>
            </a:extLst>
          </p:cNvPr>
          <p:cNvSpPr/>
          <p:nvPr/>
        </p:nvSpPr>
        <p:spPr>
          <a:xfrm>
            <a:off x="5848575" y="2614730"/>
            <a:ext cx="2564102" cy="521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결과가 없습니다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/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하시고자 하는 회사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명을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r>
              <a:rPr lang="ko-KR" altLang="en-US" sz="700" b="1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등록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주세요    </a:t>
            </a:r>
          </a:p>
        </p:txBody>
      </p:sp>
      <p:sp>
        <p:nvSpPr>
          <p:cNvPr id="405" name="사각형: 둥근 모서리 404">
            <a:extLst>
              <a:ext uri="{FF2B5EF4-FFF2-40B4-BE49-F238E27FC236}">
                <a16:creationId xmlns:a16="http://schemas.microsoft.com/office/drawing/2014/main" id="{A7984227-BDD3-4E65-B3C6-06760C8C1970}"/>
              </a:ext>
            </a:extLst>
          </p:cNvPr>
          <p:cNvSpPr/>
          <p:nvPr/>
        </p:nvSpPr>
        <p:spPr>
          <a:xfrm>
            <a:off x="570548" y="23181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6" name="사각형: 둥근 모서리 405">
            <a:extLst>
              <a:ext uri="{FF2B5EF4-FFF2-40B4-BE49-F238E27FC236}">
                <a16:creationId xmlns:a16="http://schemas.microsoft.com/office/drawing/2014/main" id="{4A617435-9158-44BF-A6E8-6FEEDE91D734}"/>
              </a:ext>
            </a:extLst>
          </p:cNvPr>
          <p:cNvSpPr/>
          <p:nvPr/>
        </p:nvSpPr>
        <p:spPr>
          <a:xfrm>
            <a:off x="2426085" y="50646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7" name="사각형: 둥근 모서리 406">
            <a:extLst>
              <a:ext uri="{FF2B5EF4-FFF2-40B4-BE49-F238E27FC236}">
                <a16:creationId xmlns:a16="http://schemas.microsoft.com/office/drawing/2014/main" id="{BB5B0C5B-195C-4C55-BB35-84FA81B38F90}"/>
              </a:ext>
            </a:extLst>
          </p:cNvPr>
          <p:cNvSpPr/>
          <p:nvPr/>
        </p:nvSpPr>
        <p:spPr>
          <a:xfrm>
            <a:off x="4136798" y="54920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8" name="사각형: 둥근 모서리 407">
            <a:extLst>
              <a:ext uri="{FF2B5EF4-FFF2-40B4-BE49-F238E27FC236}">
                <a16:creationId xmlns:a16="http://schemas.microsoft.com/office/drawing/2014/main" id="{30F4C0DA-B04D-4EB2-AB69-0BDC1B91470A}"/>
              </a:ext>
            </a:extLst>
          </p:cNvPr>
          <p:cNvSpPr/>
          <p:nvPr/>
        </p:nvSpPr>
        <p:spPr>
          <a:xfrm>
            <a:off x="5910169" y="17595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09" name="그림 408">
            <a:extLst>
              <a:ext uri="{FF2B5EF4-FFF2-40B4-BE49-F238E27FC236}">
                <a16:creationId xmlns:a16="http://schemas.microsoft.com/office/drawing/2014/main" id="{8E4F7FA5-D419-4F16-83E0-60B96945DF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3102" y="3090568"/>
            <a:ext cx="161003" cy="156908"/>
          </a:xfrm>
          <a:prstGeom prst="rect">
            <a:avLst/>
          </a:prstGeom>
        </p:spPr>
      </p:pic>
      <p:sp>
        <p:nvSpPr>
          <p:cNvPr id="410" name="사각형: 둥근 모서리 409">
            <a:extLst>
              <a:ext uri="{FF2B5EF4-FFF2-40B4-BE49-F238E27FC236}">
                <a16:creationId xmlns:a16="http://schemas.microsoft.com/office/drawing/2014/main" id="{E68F6B93-36B8-4943-B625-08189722ECC4}"/>
              </a:ext>
            </a:extLst>
          </p:cNvPr>
          <p:cNvSpPr/>
          <p:nvPr/>
        </p:nvSpPr>
        <p:spPr>
          <a:xfrm>
            <a:off x="6591645" y="29753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1" name="사각형: 둥근 모서리 410">
            <a:extLst>
              <a:ext uri="{FF2B5EF4-FFF2-40B4-BE49-F238E27FC236}">
                <a16:creationId xmlns:a16="http://schemas.microsoft.com/office/drawing/2014/main" id="{4CFECD11-A146-4029-A03D-AD8467BE4A6B}"/>
              </a:ext>
            </a:extLst>
          </p:cNvPr>
          <p:cNvSpPr/>
          <p:nvPr/>
        </p:nvSpPr>
        <p:spPr>
          <a:xfrm>
            <a:off x="4882473" y="11682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2" name="사각형: 둥근 모서리 411">
            <a:extLst>
              <a:ext uri="{FF2B5EF4-FFF2-40B4-BE49-F238E27FC236}">
                <a16:creationId xmlns:a16="http://schemas.microsoft.com/office/drawing/2014/main" id="{5EDE401E-BA27-4E3E-BBF3-80BAEF108087}"/>
              </a:ext>
            </a:extLst>
          </p:cNvPr>
          <p:cNvSpPr/>
          <p:nvPr/>
        </p:nvSpPr>
        <p:spPr>
          <a:xfrm>
            <a:off x="8112224" y="11423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3" name="직사각형 412">
            <a:extLst>
              <a:ext uri="{FF2B5EF4-FFF2-40B4-BE49-F238E27FC236}">
                <a16:creationId xmlns:a16="http://schemas.microsoft.com/office/drawing/2014/main" id="{CD68E7A4-E8E8-4A05-9AF3-0B48EA8960A6}"/>
              </a:ext>
            </a:extLst>
          </p:cNvPr>
          <p:cNvSpPr/>
          <p:nvPr/>
        </p:nvSpPr>
        <p:spPr>
          <a:xfrm>
            <a:off x="9083803" y="12071"/>
            <a:ext cx="3108197" cy="9445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34853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3178854"/>
              </p:ext>
            </p:extLst>
          </p:nvPr>
        </p:nvGraphicFramePr>
        <p:xfrm>
          <a:off x="1" y="9862"/>
          <a:ext cx="12191999" cy="5747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319914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회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등록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명 수동 등록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53451" y="6414932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710109"/>
              </p:ext>
            </p:extLst>
          </p:nvPr>
        </p:nvGraphicFramePr>
        <p:xfrm>
          <a:off x="9268702" y="747966"/>
          <a:ext cx="2922885" cy="2402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명 입력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자 이상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업자 등록 번호 입력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입력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동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###-##-#####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양식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숫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 이상 입력불가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51636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자 이상 입력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했거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숫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버튼 비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484095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버튼 클릭하면 해당 팝업 닫히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 완료 팝업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-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 뒤 자동 닫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44497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힘 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9289427"/>
                  </a:ext>
                </a:extLst>
              </a:tr>
            </a:tbl>
          </a:graphicData>
        </a:graphic>
      </p:graphicFrame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ECAB1493-72B6-46BF-BE42-6831750DDE92}"/>
              </a:ext>
            </a:extLst>
          </p:cNvPr>
          <p:cNvSpPr/>
          <p:nvPr/>
        </p:nvSpPr>
        <p:spPr>
          <a:xfrm>
            <a:off x="5662462" y="2705547"/>
            <a:ext cx="2962249" cy="152346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DB1EE92-08EE-46FD-B196-C9DE780668FB}"/>
              </a:ext>
            </a:extLst>
          </p:cNvPr>
          <p:cNvSpPr txBox="1"/>
          <p:nvPr/>
        </p:nvSpPr>
        <p:spPr>
          <a:xfrm>
            <a:off x="737147" y="1186047"/>
            <a:ext cx="1865337" cy="1958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소속 회사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관</a:t>
            </a:r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72CBB491-95C1-4522-9EA9-1BF07E2910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766862"/>
              </p:ext>
            </p:extLst>
          </p:nvPr>
        </p:nvGraphicFramePr>
        <p:xfrm>
          <a:off x="652363" y="2134288"/>
          <a:ext cx="4654538" cy="28542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2646">
                  <a:extLst>
                    <a:ext uri="{9D8B030D-6E8A-4147-A177-3AD203B41FA5}">
                      <a16:colId xmlns:a16="http://schemas.microsoft.com/office/drawing/2014/main" val="4210229955"/>
                    </a:ext>
                  </a:extLst>
                </a:gridCol>
                <a:gridCol w="2165946">
                  <a:extLst>
                    <a:ext uri="{9D8B030D-6E8A-4147-A177-3AD203B41FA5}">
                      <a16:colId xmlns:a16="http://schemas.microsoft.com/office/drawing/2014/main" val="1716352177"/>
                    </a:ext>
                  </a:extLst>
                </a:gridCol>
                <a:gridCol w="2165946">
                  <a:extLst>
                    <a:ext uri="{9D8B030D-6E8A-4147-A177-3AD203B41FA5}">
                      <a16:colId xmlns:a16="http://schemas.microsoft.com/office/drawing/2014/main" val="3146456068"/>
                    </a:ext>
                  </a:extLst>
                </a:gridCol>
              </a:tblGrid>
              <a:tr h="2436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자등록번호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683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크로컨텍솔루션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1417980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포스코엠텍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2293495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네트웍스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8059915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홀딩스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018251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테일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8476272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3572010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N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지주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1495215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YC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37014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2356059"/>
                  </a:ext>
                </a:extLst>
              </a:tr>
              <a:tr h="26106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씨푸드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8741566"/>
                  </a:ext>
                </a:extLst>
              </a:tr>
            </a:tbl>
          </a:graphicData>
        </a:graphic>
      </p:graphicFrame>
      <p:grpSp>
        <p:nvGrpSpPr>
          <p:cNvPr id="50" name="그룹 49">
            <a:extLst>
              <a:ext uri="{FF2B5EF4-FFF2-40B4-BE49-F238E27FC236}">
                <a16:creationId xmlns:a16="http://schemas.microsoft.com/office/drawing/2014/main" id="{751A0D26-D734-422D-9DF3-F55E94EB34FB}"/>
              </a:ext>
            </a:extLst>
          </p:cNvPr>
          <p:cNvGrpSpPr/>
          <p:nvPr/>
        </p:nvGrpSpPr>
        <p:grpSpPr>
          <a:xfrm>
            <a:off x="5154147" y="2378250"/>
            <a:ext cx="152754" cy="2628735"/>
            <a:chOff x="9201470" y="1601344"/>
            <a:chExt cx="188139" cy="4198759"/>
          </a:xfrm>
        </p:grpSpPr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B35F9E5A-8748-457B-AAE7-5A498AB71F05}"/>
                </a:ext>
              </a:extLst>
            </p:cNvPr>
            <p:cNvSpPr/>
            <p:nvPr/>
          </p:nvSpPr>
          <p:spPr>
            <a:xfrm>
              <a:off x="9201474" y="1810108"/>
              <a:ext cx="188114" cy="378089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7F90E1F2-5CE7-4167-ABEC-16B11ADB418B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9"/>
              <a:chOff x="9201470" y="1601344"/>
              <a:chExt cx="188139" cy="4198759"/>
            </a:xfrm>
          </p:grpSpPr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A0377097-6B39-49F9-B539-24C832105D4D}"/>
                  </a:ext>
                </a:extLst>
              </p:cNvPr>
              <p:cNvSpPr/>
              <p:nvPr/>
            </p:nvSpPr>
            <p:spPr>
              <a:xfrm>
                <a:off x="9201495" y="1731282"/>
                <a:ext cx="188114" cy="185704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7BAFD1FD-7F28-4786-AE0E-FEC727EB0D27}"/>
                  </a:ext>
                </a:extLst>
              </p:cNvPr>
              <p:cNvSpPr/>
              <p:nvPr/>
            </p:nvSpPr>
            <p:spPr>
              <a:xfrm rot="10800000">
                <a:off x="9201470" y="5590997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D549D81B-394B-46B0-B830-ED9C12F52A5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56" name="직선 연결선 55">
            <a:extLst>
              <a:ext uri="{FF2B5EF4-FFF2-40B4-BE49-F238E27FC236}">
                <a16:creationId xmlns:a16="http://schemas.microsoft.com/office/drawing/2014/main" id="{DD602E00-9F1F-4C28-A4E3-C3A3D7724E55}"/>
              </a:ext>
            </a:extLst>
          </p:cNvPr>
          <p:cNvCxnSpPr>
            <a:cxnSpLocks/>
          </p:cNvCxnSpPr>
          <p:nvPr/>
        </p:nvCxnSpPr>
        <p:spPr>
          <a:xfrm>
            <a:off x="636111" y="5003176"/>
            <a:ext cx="4683509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67C4831B-9C24-4446-A377-6C772F325FF9}"/>
              </a:ext>
            </a:extLst>
          </p:cNvPr>
          <p:cNvSpPr/>
          <p:nvPr/>
        </p:nvSpPr>
        <p:spPr>
          <a:xfrm>
            <a:off x="1959595" y="5115650"/>
            <a:ext cx="952545" cy="2306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6C005622-400A-4D4E-9F9D-F5AAAB1D1F8B}"/>
              </a:ext>
            </a:extLst>
          </p:cNvPr>
          <p:cNvSpPr/>
          <p:nvPr/>
        </p:nvSpPr>
        <p:spPr>
          <a:xfrm>
            <a:off x="2977865" y="5115649"/>
            <a:ext cx="952545" cy="2306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9" name="Picture 2" descr="돋보기 ">
            <a:extLst>
              <a:ext uri="{FF2B5EF4-FFF2-40B4-BE49-F238E27FC236}">
                <a16:creationId xmlns:a16="http://schemas.microsoft.com/office/drawing/2014/main" id="{17BD8E78-FA73-48DA-A256-2037CE44A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42" y="1679653"/>
            <a:ext cx="188230" cy="18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직사각형 59">
            <a:extLst>
              <a:ext uri="{FF2B5EF4-FFF2-40B4-BE49-F238E27FC236}">
                <a16:creationId xmlns:a16="http://schemas.microsoft.com/office/drawing/2014/main" id="{BBC57B1D-4B88-4708-85CF-283A12552CC3}"/>
              </a:ext>
            </a:extLst>
          </p:cNvPr>
          <p:cNvSpPr/>
          <p:nvPr/>
        </p:nvSpPr>
        <p:spPr>
          <a:xfrm>
            <a:off x="737147" y="1639815"/>
            <a:ext cx="2520279" cy="232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 또는 기관명을 입력하세요</a:t>
            </a: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1162CCD3-2B71-45A5-9055-DA4619C3DAFF}"/>
              </a:ext>
            </a:extLst>
          </p:cNvPr>
          <p:cNvCxnSpPr/>
          <p:nvPr/>
        </p:nvCxnSpPr>
        <p:spPr>
          <a:xfrm>
            <a:off x="783387" y="1915613"/>
            <a:ext cx="4311413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AF440B98-DD96-4E3A-B990-2A1186D4338D}"/>
              </a:ext>
            </a:extLst>
          </p:cNvPr>
          <p:cNvSpPr/>
          <p:nvPr/>
        </p:nvSpPr>
        <p:spPr>
          <a:xfrm>
            <a:off x="617339" y="5546207"/>
            <a:ext cx="4524026" cy="2306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하시고자 하는 회사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명이 검색 결과에 없는 경우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등록하여 입력 바랍니다     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7EB771F7-3583-4EA2-BFDA-7C9D7BE8308C}"/>
              </a:ext>
            </a:extLst>
          </p:cNvPr>
          <p:cNvSpPr/>
          <p:nvPr/>
        </p:nvSpPr>
        <p:spPr>
          <a:xfrm>
            <a:off x="4209279" y="5572850"/>
            <a:ext cx="955767" cy="17979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회사</a:t>
            </a:r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명 등록 </a:t>
            </a: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6BDC3409-4FCF-44E9-9E97-183E7DBF038C}"/>
              </a:ext>
            </a:extLst>
          </p:cNvPr>
          <p:cNvSpPr/>
          <p:nvPr/>
        </p:nvSpPr>
        <p:spPr>
          <a:xfrm>
            <a:off x="5009339" y="1142308"/>
            <a:ext cx="221174" cy="19582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X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C5B738B4-6D09-4F8E-BE6E-4957AEA9A21B}"/>
              </a:ext>
            </a:extLst>
          </p:cNvPr>
          <p:cNvSpPr/>
          <p:nvPr/>
        </p:nvSpPr>
        <p:spPr>
          <a:xfrm>
            <a:off x="623392" y="1098801"/>
            <a:ext cx="4683509" cy="473695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 w="28575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3235B7A8-9472-4D44-9C0A-20C111CEB7C1}"/>
              </a:ext>
            </a:extLst>
          </p:cNvPr>
          <p:cNvGrpSpPr/>
          <p:nvPr/>
        </p:nvGrpSpPr>
        <p:grpSpPr>
          <a:xfrm>
            <a:off x="1469362" y="2739202"/>
            <a:ext cx="2991568" cy="1523460"/>
            <a:chOff x="5578799" y="2450070"/>
            <a:chExt cx="2991568" cy="1523460"/>
          </a:xfrm>
        </p:grpSpPr>
        <p:sp>
          <p:nvSpPr>
            <p:cNvPr id="340" name="사각형: 둥근 모서리 339">
              <a:extLst>
                <a:ext uri="{FF2B5EF4-FFF2-40B4-BE49-F238E27FC236}">
                  <a16:creationId xmlns:a16="http://schemas.microsoft.com/office/drawing/2014/main" id="{1D4DCD98-0F13-4568-88F5-57988793C670}"/>
                </a:ext>
              </a:extLst>
            </p:cNvPr>
            <p:cNvSpPr/>
            <p:nvPr/>
          </p:nvSpPr>
          <p:spPr>
            <a:xfrm>
              <a:off x="5608118" y="2450070"/>
              <a:ext cx="2962249" cy="152346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900" b="1" dirty="0">
                  <a:latin typeface="+mn-ea"/>
                  <a:cs typeface="함초롬바탕" panose="02030604000101010101" pitchFamily="18" charset="-127"/>
                </a:rPr>
                <a:t>1</a:t>
              </a:r>
              <a:r>
                <a:rPr lang="ko-KR" altLang="en-US" sz="900" b="1" dirty="0">
                  <a:latin typeface="+mn-ea"/>
                  <a:cs typeface="함초롬바탕" panose="02030604000101010101" pitchFamily="18" charset="-127"/>
                </a:rPr>
                <a:t>단계</a:t>
              </a:r>
            </a:p>
          </p:txBody>
        </p:sp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4C7DF152-A87A-4A0E-85EA-A987B9E2026A}"/>
                </a:ext>
              </a:extLst>
            </p:cNvPr>
            <p:cNvSpPr txBox="1"/>
            <p:nvPr/>
          </p:nvSpPr>
          <p:spPr>
            <a:xfrm>
              <a:off x="5751393" y="2537035"/>
              <a:ext cx="1865337" cy="1969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indent="0" fontAlgn="auto">
                <a:lnSpc>
                  <a:spcPct val="13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회사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/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관명 등록</a:t>
              </a:r>
              <a:endParaRPr lang="ko-KR" altLang="en-US" sz="8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43" name="직사각형 342">
              <a:extLst>
                <a:ext uri="{FF2B5EF4-FFF2-40B4-BE49-F238E27FC236}">
                  <a16:creationId xmlns:a16="http://schemas.microsoft.com/office/drawing/2014/main" id="{7E206D8B-97AE-43A2-9E2F-EAF385AF4C90}"/>
                </a:ext>
              </a:extLst>
            </p:cNvPr>
            <p:cNvSpPr/>
            <p:nvPr/>
          </p:nvSpPr>
          <p:spPr>
            <a:xfrm>
              <a:off x="6744284" y="2922401"/>
              <a:ext cx="1612230" cy="21544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44" name="직사각형 343">
              <a:extLst>
                <a:ext uri="{FF2B5EF4-FFF2-40B4-BE49-F238E27FC236}">
                  <a16:creationId xmlns:a16="http://schemas.microsoft.com/office/drawing/2014/main" id="{BDD5EAA4-57EF-4415-9757-DE61125348B9}"/>
                </a:ext>
              </a:extLst>
            </p:cNvPr>
            <p:cNvSpPr/>
            <p:nvPr/>
          </p:nvSpPr>
          <p:spPr>
            <a:xfrm>
              <a:off x="6744284" y="3218576"/>
              <a:ext cx="1612230" cy="21544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endPara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45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CAFD6881-3FE5-4FD9-92D7-559749247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662176" y="2907107"/>
              <a:ext cx="868255" cy="292895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회사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/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기관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5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02FAA0CB-9F5C-4171-9CE6-1AA57A493C15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5578799" y="3179850"/>
              <a:ext cx="1216864" cy="292895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사업자등록번호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49AB989B-228A-4B93-B37F-B7240BB9C45E}"/>
                </a:ext>
              </a:extLst>
            </p:cNvPr>
            <p:cNvSpPr/>
            <p:nvPr/>
          </p:nvSpPr>
          <p:spPr>
            <a:xfrm>
              <a:off x="6572257" y="3611137"/>
              <a:ext cx="952545" cy="23064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B1E8FD-BEE5-4259-AD21-D7E4D3916CAC}"/>
                </a:ext>
              </a:extLst>
            </p:cNvPr>
            <p:cNvSpPr/>
            <p:nvPr/>
          </p:nvSpPr>
          <p:spPr>
            <a:xfrm>
              <a:off x="8261948" y="2450070"/>
              <a:ext cx="221174" cy="195823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X</a:t>
              </a:r>
              <a:endPara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9C407B7D-3DFC-4B32-AEC4-95E8D21F9955}"/>
              </a:ext>
            </a:extLst>
          </p:cNvPr>
          <p:cNvSpPr txBox="1"/>
          <p:nvPr/>
        </p:nvSpPr>
        <p:spPr>
          <a:xfrm>
            <a:off x="5947529" y="3204757"/>
            <a:ext cx="2480968" cy="4939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algn="ctr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삼일상사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###-##-#####)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가 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 marR="0" lvl="0" indent="0" algn="ctr" fontAlgn="auto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회사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/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관 리스트에 추가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 </a:t>
            </a:r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9FBD59D6-08F7-4E27-B5A5-45CA45FC6100}"/>
              </a:ext>
            </a:extLst>
          </p:cNvPr>
          <p:cNvSpPr/>
          <p:nvPr/>
        </p:nvSpPr>
        <p:spPr>
          <a:xfrm>
            <a:off x="2569644" y="31244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5826B994-A0AB-408E-B61A-C00C82BD2D1F}"/>
              </a:ext>
            </a:extLst>
          </p:cNvPr>
          <p:cNvSpPr/>
          <p:nvPr/>
        </p:nvSpPr>
        <p:spPr>
          <a:xfrm>
            <a:off x="2576768" y="34281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A502C27F-0F90-4FF8-BFE2-52BACDD11D76}"/>
              </a:ext>
            </a:extLst>
          </p:cNvPr>
          <p:cNvSpPr/>
          <p:nvPr/>
        </p:nvSpPr>
        <p:spPr>
          <a:xfrm>
            <a:off x="2418152" y="38422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1A4FA89F-2C2F-47A4-BCC7-45E2FFFCF34F}"/>
              </a:ext>
            </a:extLst>
          </p:cNvPr>
          <p:cNvSpPr/>
          <p:nvPr/>
        </p:nvSpPr>
        <p:spPr>
          <a:xfrm>
            <a:off x="4048235" y="28261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B33D7321-4BFC-4A22-A6A4-4A305D9ACB86}"/>
              </a:ext>
            </a:extLst>
          </p:cNvPr>
          <p:cNvSpPr/>
          <p:nvPr/>
        </p:nvSpPr>
        <p:spPr>
          <a:xfrm>
            <a:off x="5595279" y="266220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C6E1E744-6BA3-49B8-81D6-3C95EE9048B1}"/>
              </a:ext>
            </a:extLst>
          </p:cNvPr>
          <p:cNvSpPr/>
          <p:nvPr/>
        </p:nvSpPr>
        <p:spPr>
          <a:xfrm>
            <a:off x="9083803" y="12071"/>
            <a:ext cx="3108197" cy="9445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36241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14083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인인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입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 절차인 인증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615945"/>
              </p:ext>
            </p:extLst>
          </p:nvPr>
        </p:nvGraphicFramePr>
        <p:xfrm>
          <a:off x="9273919" y="724074"/>
          <a:ext cx="2922885" cy="411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인증 메일에서 본인인증 완료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완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5F47612C-6402-41F2-A9C9-7FAC6562CD26}"/>
              </a:ext>
            </a:extLst>
          </p:cNvPr>
          <p:cNvCxnSpPr>
            <a:cxnSpLocks/>
          </p:cNvCxnSpPr>
          <p:nvPr/>
        </p:nvCxnSpPr>
        <p:spPr>
          <a:xfrm>
            <a:off x="2937924" y="2833270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D003FD4C-EE27-4693-AD17-44F96079FA87}"/>
              </a:ext>
            </a:extLst>
          </p:cNvPr>
          <p:cNvSpPr/>
          <p:nvPr/>
        </p:nvSpPr>
        <p:spPr>
          <a:xfrm>
            <a:off x="2955505" y="318509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D2C72608-200C-4980-9984-7F34779A4952}"/>
              </a:ext>
            </a:extLst>
          </p:cNvPr>
          <p:cNvSpPr/>
          <p:nvPr/>
        </p:nvSpPr>
        <p:spPr>
          <a:xfrm>
            <a:off x="2937925" y="4307338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1065DD2-68C6-42B5-840C-FE1196914838}"/>
              </a:ext>
            </a:extLst>
          </p:cNvPr>
          <p:cNvSpPr/>
          <p:nvPr/>
        </p:nvSpPr>
        <p:spPr>
          <a:xfrm>
            <a:off x="2900325" y="3611770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주소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18369E7-E1BC-43C5-806F-F4B3135F8D67}"/>
              </a:ext>
            </a:extLst>
          </p:cNvPr>
          <p:cNvSpPr/>
          <p:nvPr/>
        </p:nvSpPr>
        <p:spPr>
          <a:xfrm>
            <a:off x="2955505" y="3830365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.kim@pwc.com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CBFB9FF-BCEE-485D-9BE7-DFEDF637FBEB}"/>
              </a:ext>
            </a:extLst>
          </p:cNvPr>
          <p:cNvSpPr/>
          <p:nvPr/>
        </p:nvSpPr>
        <p:spPr>
          <a:xfrm>
            <a:off x="2900324" y="3014412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름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D752BFB-0454-4E05-A1C9-3B045B1EA1CC}"/>
              </a:ext>
            </a:extLst>
          </p:cNvPr>
          <p:cNvSpPr/>
          <p:nvPr/>
        </p:nvSpPr>
        <p:spPr>
          <a:xfrm>
            <a:off x="355264" y="633702"/>
            <a:ext cx="8625043" cy="6063192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0F0695D8-40E3-42D8-B43F-6826D0AF42E2}"/>
              </a:ext>
            </a:extLst>
          </p:cNvPr>
          <p:cNvGrpSpPr/>
          <p:nvPr/>
        </p:nvGrpSpPr>
        <p:grpSpPr>
          <a:xfrm>
            <a:off x="2790302" y="2484124"/>
            <a:ext cx="3651596" cy="2420192"/>
            <a:chOff x="886236" y="2420888"/>
            <a:chExt cx="3049524" cy="1944216"/>
          </a:xfrm>
        </p:grpSpPr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79F1A62D-9649-4415-9C74-56F25DCB6CC7}"/>
                </a:ext>
              </a:extLst>
            </p:cNvPr>
            <p:cNvSpPr/>
            <p:nvPr/>
          </p:nvSpPr>
          <p:spPr>
            <a:xfrm>
              <a:off x="886236" y="2420888"/>
              <a:ext cx="3049524" cy="194421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rgbClr val="40404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김삼일님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  <a:hlinkClick r:id="rId3"/>
                </a:rPr>
                <a:t>Samil_kim@pwc.com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으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</a:t>
              </a: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메일을 전송하였습니다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endPara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메일을 받지 못하셨다면 </a:t>
              </a:r>
              <a:r>
                <a:rPr lang="ko-KR" altLang="en-US" sz="8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스팸함을</a:t>
              </a: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확인해보세요</a:t>
              </a:r>
              <a:r>
                <a:rPr lang="en-US" altLang="ko-KR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 메일에서 확인을 완료하셔야 이메일 인증이 완료 처리됩니다</a:t>
              </a:r>
              <a:r>
                <a:rPr lang="en-US" altLang="ko-KR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ko-KR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ED6D0FB7-0A2B-46C7-86AA-92BFDB76C1AB}"/>
                </a:ext>
              </a:extLst>
            </p:cNvPr>
            <p:cNvSpPr/>
            <p:nvPr/>
          </p:nvSpPr>
          <p:spPr>
            <a:xfrm>
              <a:off x="2060427" y="3917214"/>
              <a:ext cx="665119" cy="26583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완료</a:t>
              </a:r>
            </a:p>
          </p:txBody>
        </p:sp>
      </p:grp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AC929739-4AF8-4BCE-B0B0-73DD498A84E0}"/>
              </a:ext>
            </a:extLst>
          </p:cNvPr>
          <p:cNvCxnSpPr/>
          <p:nvPr/>
        </p:nvCxnSpPr>
        <p:spPr>
          <a:xfrm>
            <a:off x="3189110" y="3634840"/>
            <a:ext cx="295232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03D17510-E32C-490C-84BA-9D0151FE719F}"/>
              </a:ext>
            </a:extLst>
          </p:cNvPr>
          <p:cNvSpPr/>
          <p:nvPr/>
        </p:nvSpPr>
        <p:spPr>
          <a:xfrm>
            <a:off x="4137463" y="42925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A9C1D482-DB24-48C4-8433-9A9F35DDC015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3F3BA128-5E5D-48D1-B560-FB8079BC250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6" name="그림 35">
              <a:extLst>
                <a:ext uri="{FF2B5EF4-FFF2-40B4-BE49-F238E27FC236}">
                  <a16:creationId xmlns:a16="http://schemas.microsoft.com/office/drawing/2014/main" id="{0614001B-EAFA-4988-9D5E-39DF4F1924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B1B806C1-B7BD-4178-9756-9A5FA4B42A2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id="{789FED18-7E50-4006-A94B-626ADD61CA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8B911B6F-9210-41C0-9B80-3D38F318646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C7FE316-FF52-4BEE-BFB0-15A663C9C81F}"/>
              </a:ext>
            </a:extLst>
          </p:cNvPr>
          <p:cNvSpPr/>
          <p:nvPr/>
        </p:nvSpPr>
        <p:spPr>
          <a:xfrm>
            <a:off x="2650316" y="2326071"/>
            <a:ext cx="3888432" cy="2736298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F9CC2B09-C648-442C-9CA8-115C8DD06A7C}"/>
              </a:ext>
            </a:extLst>
          </p:cNvPr>
          <p:cNvSpPr/>
          <p:nvPr/>
        </p:nvSpPr>
        <p:spPr>
          <a:xfrm>
            <a:off x="3827780" y="3363559"/>
            <a:ext cx="1558756" cy="32456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1200" b="1" dirty="0">
                <a:solidFill>
                  <a:srgbClr val="C04600"/>
                </a:solidFill>
                <a:latin typeface="+mn-ea"/>
                <a:cs typeface="Segoe UI" panose="020B0502040204020203" pitchFamily="34" charset="0"/>
              </a:rPr>
              <a:t>제거</a:t>
            </a:r>
            <a:endParaRPr lang="en-US" altLang="ko-KR" sz="1200" b="1" dirty="0">
              <a:solidFill>
                <a:srgbClr val="C04600"/>
              </a:solidFill>
              <a:latin typeface="+mn-ea"/>
              <a:cs typeface="Segoe UI" panose="020B0502040204020203" pitchFamily="34" charset="0"/>
            </a:endParaRPr>
          </a:p>
          <a:p>
            <a:pPr algn="ctr"/>
            <a:r>
              <a:rPr lang="en-US" altLang="ko-KR" sz="1200" b="1" dirty="0">
                <a:solidFill>
                  <a:srgbClr val="C04600"/>
                </a:solidFill>
                <a:latin typeface="+mn-ea"/>
                <a:cs typeface="Segoe UI" panose="020B0502040204020203" pitchFamily="34" charset="0"/>
              </a:rPr>
              <a:t>(23.08.23)</a:t>
            </a:r>
            <a:endParaRPr lang="ko-KR" altLang="en-US" sz="1200" b="1" dirty="0">
              <a:solidFill>
                <a:srgbClr val="C046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2FA7365C-4BF2-4AF3-AB82-49EF510D8D73}"/>
              </a:ext>
            </a:extLst>
          </p:cNvPr>
          <p:cNvSpPr/>
          <p:nvPr/>
        </p:nvSpPr>
        <p:spPr>
          <a:xfrm>
            <a:off x="9261385" y="1"/>
            <a:ext cx="2950181" cy="50687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이메일 인증 프로세스 변경으로 화면 제거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35253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73756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이페이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기정보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역 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 확인 등의 기능을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999108"/>
              </p:ext>
            </p:extLst>
          </p:nvPr>
        </p:nvGraphicFramePr>
        <p:xfrm>
          <a:off x="9267391" y="756315"/>
          <a:ext cx="2922885" cy="53503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브타이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영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말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프로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주소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버튼 수정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H019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4410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상 여부 진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하여 최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리스트 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$ YYYY-MM-DD HH:SS 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$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리스트 출력하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진단 결과 화면으로 이동 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내역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도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하러 가기 버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  <a:tr h="12464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가 본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 내 열람한 컨텐츠 리스트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합계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조회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조회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조회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sp>
        <p:nvSpPr>
          <p:cNvPr id="2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4F2F704-82FE-4A82-8160-76739CF06D4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723737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나의 활동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latinLnBrk="0"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Batang" panose="02030600000101010101" pitchFamily="18" charset="-127"/>
                <a:ea typeface="Batang" panose="02030600000101010101" pitchFamily="18" charset="-127"/>
                <a:cs typeface="Arial"/>
              </a:rPr>
              <a:t>『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Batang" panose="02030600000101010101" pitchFamily="18" charset="-127"/>
                <a:ea typeface="Batang" panose="02030600000101010101" pitchFamily="18" charset="-127"/>
                <a:cs typeface="Arial"/>
              </a:rPr>
              <a:t>』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에서 활동한 내역을 한 눈에 확인하실 수 있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E0BD9183-5B40-4FE4-9C4F-8E21581F2A36}"/>
              </a:ext>
            </a:extLst>
          </p:cNvPr>
          <p:cNvSpPr/>
          <p:nvPr/>
        </p:nvSpPr>
        <p:spPr>
          <a:xfrm>
            <a:off x="520421" y="2698242"/>
            <a:ext cx="3724331" cy="1700155"/>
          </a:xfrm>
          <a:prstGeom prst="roundRect">
            <a:avLst>
              <a:gd name="adj" fmla="val 7503"/>
            </a:avLst>
          </a:prstGeom>
          <a:solidFill>
            <a:schemeClr val="tx1">
              <a:lumMod val="75000"/>
              <a:lumOff val="2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0232F93-A0A3-4D05-AD21-BBE6CD94608C}"/>
              </a:ext>
            </a:extLst>
          </p:cNvPr>
          <p:cNvSpPr/>
          <p:nvPr/>
        </p:nvSpPr>
        <p:spPr>
          <a:xfrm>
            <a:off x="575041" y="2778018"/>
            <a:ext cx="2592288" cy="8787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>
              <a:lnSpc>
                <a:spcPct val="150000"/>
              </a:lnSpc>
            </a:pPr>
            <a:r>
              <a:rPr lang="en-US" altLang="ko-KR" sz="14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_kim</a:t>
            </a:r>
            <a:endParaRPr lang="en-US" altLang="ko-KR" sz="14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endParaRPr lang="en-US" altLang="ko-KR" sz="5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endParaRPr lang="en-US" altLang="ko-KR" sz="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매니저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********@pwc.com</a:t>
            </a:r>
            <a:endParaRPr lang="en-US" altLang="ko-KR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E0199CE3-CDCF-4CBF-BD12-6E0BFC2C1064}"/>
              </a:ext>
            </a:extLst>
          </p:cNvPr>
          <p:cNvSpPr/>
          <p:nvPr/>
        </p:nvSpPr>
        <p:spPr>
          <a:xfrm>
            <a:off x="3045546" y="3952148"/>
            <a:ext cx="1008112" cy="3109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정보 수정</a:t>
            </a:r>
          </a:p>
        </p:txBody>
      </p:sp>
      <p:sp>
        <p:nvSpPr>
          <p:cNvPr id="4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C6F5DF7-1998-4DCF-B62B-A65FFF573B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8422" y="2324404"/>
            <a:ext cx="2916896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녕하세요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F93DB82B-9946-4CA8-A2A3-4100630E2B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488436" y="2325727"/>
            <a:ext cx="2916896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정보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78F6CC2A-AFF2-4740-8262-FAFB5AE1A638}"/>
              </a:ext>
            </a:extLst>
          </p:cNvPr>
          <p:cNvSpPr/>
          <p:nvPr/>
        </p:nvSpPr>
        <p:spPr>
          <a:xfrm>
            <a:off x="4538364" y="2698242"/>
            <a:ext cx="4149346" cy="1716335"/>
          </a:xfrm>
          <a:prstGeom prst="roundRect">
            <a:avLst>
              <a:gd name="adj" fmla="val 6102"/>
            </a:avLst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C0E6E33-DF86-41CA-8443-5AB16D45D8E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76632" y="2832493"/>
            <a:ext cx="1962382" cy="27686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</a:t>
            </a: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 </a:t>
            </a:r>
          </a:p>
        </p:txBody>
      </p:sp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59C458E-BA62-47EF-BFBE-451B99D841B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698561" y="2831001"/>
            <a:ext cx="1887688" cy="27686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여부 진단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6615C851-33BB-4570-A854-6450D71926C3}"/>
              </a:ext>
            </a:extLst>
          </p:cNvPr>
          <p:cNvSpPr/>
          <p:nvPr/>
        </p:nvSpPr>
        <p:spPr>
          <a:xfrm>
            <a:off x="6626656" y="3124039"/>
            <a:ext cx="1851506" cy="127436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.11.12 08:12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9B9689C-5F2D-45E8-B628-619F960EAD5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2800" y="4700720"/>
            <a:ext cx="2916896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6" name="그림 55">
            <a:extLst>
              <a:ext uri="{FF2B5EF4-FFF2-40B4-BE49-F238E27FC236}">
                <a16:creationId xmlns:a16="http://schemas.microsoft.com/office/drawing/2014/main" id="{2B523177-36F5-4ECE-BB29-53266D313D1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53042" y="3279463"/>
            <a:ext cx="154800" cy="154800"/>
          </a:xfrm>
          <a:prstGeom prst="rect">
            <a:avLst/>
          </a:prstGeom>
        </p:spPr>
      </p:pic>
      <p:grpSp>
        <p:nvGrpSpPr>
          <p:cNvPr id="19" name="그룹 18">
            <a:extLst>
              <a:ext uri="{FF2B5EF4-FFF2-40B4-BE49-F238E27FC236}">
                <a16:creationId xmlns:a16="http://schemas.microsoft.com/office/drawing/2014/main" id="{1C267C78-73A6-4023-9D3A-4CB10B7C69CA}"/>
              </a:ext>
            </a:extLst>
          </p:cNvPr>
          <p:cNvGrpSpPr/>
          <p:nvPr/>
        </p:nvGrpSpPr>
        <p:grpSpPr>
          <a:xfrm>
            <a:off x="4577063" y="3140217"/>
            <a:ext cx="1851506" cy="1274360"/>
            <a:chOff x="4468006" y="3094497"/>
            <a:chExt cx="1851506" cy="1274360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D491CA3D-30B4-412B-A6CF-41EA95498AA0}"/>
                </a:ext>
              </a:extLst>
            </p:cNvPr>
            <p:cNvSpPr/>
            <p:nvPr/>
          </p:nvSpPr>
          <p:spPr>
            <a:xfrm>
              <a:off x="4468006" y="3094497"/>
              <a:ext cx="1851506" cy="1274360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12-30 23:35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ctr" defTabSz="97717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.11.12 11:23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ctr" defTabSz="97717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.09.30 14:55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ctr" defTabSz="977172" rtl="0" eaLnBrk="1" fontAlgn="auto" latinLnBrk="0" hangingPunct="1">
                <a:lnSpc>
                  <a:spcPct val="2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9" name="그림 48">
              <a:extLst>
                <a:ext uri="{FF2B5EF4-FFF2-40B4-BE49-F238E27FC236}">
                  <a16:creationId xmlns:a16="http://schemas.microsoft.com/office/drawing/2014/main" id="{B33BE53E-1854-4F74-9123-1C0A8846F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071128" y="4007785"/>
              <a:ext cx="154800" cy="154800"/>
            </a:xfrm>
            <a:prstGeom prst="rect">
              <a:avLst/>
            </a:prstGeom>
          </p:spPr>
        </p:pic>
        <p:pic>
          <p:nvPicPr>
            <p:cNvPr id="50" name="그림 49">
              <a:extLst>
                <a:ext uri="{FF2B5EF4-FFF2-40B4-BE49-F238E27FC236}">
                  <a16:creationId xmlns:a16="http://schemas.microsoft.com/office/drawing/2014/main" id="{B3FBCC83-7ACD-4FD1-8272-32DDEFD85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068448" y="3638099"/>
              <a:ext cx="154800" cy="154800"/>
            </a:xfrm>
            <a:prstGeom prst="rect">
              <a:avLst/>
            </a:prstGeom>
          </p:spPr>
        </p:pic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738B213D-209A-43B9-A71C-6C1F2BAC8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068448" y="3251945"/>
              <a:ext cx="154800" cy="154800"/>
            </a:xfrm>
            <a:prstGeom prst="rect">
              <a:avLst/>
            </a:prstGeom>
          </p:spPr>
        </p:pic>
        <p:pic>
          <p:nvPicPr>
            <p:cNvPr id="57" name="그림 56">
              <a:extLst>
                <a:ext uri="{FF2B5EF4-FFF2-40B4-BE49-F238E27FC236}">
                  <a16:creationId xmlns:a16="http://schemas.microsoft.com/office/drawing/2014/main" id="{EF73D4A3-758B-4EF6-BCE2-89B9494CE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993033" y="3424730"/>
              <a:ext cx="161003" cy="156908"/>
            </a:xfrm>
            <a:prstGeom prst="rect">
              <a:avLst/>
            </a:prstGeom>
          </p:spPr>
        </p:pic>
      </p:grpSp>
      <p:sp>
        <p:nvSpPr>
          <p:cNvPr id="6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D2E2CDC-6E2E-4A0E-A770-AAB8AA081D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131155" y="2419290"/>
            <a:ext cx="2561409" cy="27686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일 기준 최신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의 진단결과를 저장 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A69F5206-3FC4-4636-B1BE-0FAEC11FE1C2}"/>
              </a:ext>
            </a:extLst>
          </p:cNvPr>
          <p:cNvCxnSpPr>
            <a:cxnSpLocks/>
          </p:cNvCxnSpPr>
          <p:nvPr/>
        </p:nvCxnSpPr>
        <p:spPr>
          <a:xfrm>
            <a:off x="6662379" y="2832493"/>
            <a:ext cx="0" cy="1430628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83AB6D6C-91AD-45CC-923A-6E81F8F52726}"/>
              </a:ext>
            </a:extLst>
          </p:cNvPr>
          <p:cNvGrpSpPr/>
          <p:nvPr/>
        </p:nvGrpSpPr>
        <p:grpSpPr>
          <a:xfrm>
            <a:off x="520421" y="5106604"/>
            <a:ext cx="4026254" cy="273774"/>
            <a:chOff x="3116101" y="2531225"/>
            <a:chExt cx="3802578" cy="273774"/>
          </a:xfrm>
        </p:grpSpPr>
        <p:sp>
          <p:nvSpPr>
            <p:cNvPr id="71" name="사각형: 둥근 모서리 70">
              <a:extLst>
                <a:ext uri="{FF2B5EF4-FFF2-40B4-BE49-F238E27FC236}">
                  <a16:creationId xmlns:a16="http://schemas.microsoft.com/office/drawing/2014/main" id="{9F35FC5F-8990-42FF-AD5F-F8395B5D5D75}"/>
                </a:ext>
              </a:extLst>
            </p:cNvPr>
            <p:cNvSpPr/>
            <p:nvPr/>
          </p:nvSpPr>
          <p:spPr>
            <a:xfrm>
              <a:off x="4437411" y="2531225"/>
              <a:ext cx="1159958" cy="2658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2" name="사각형: 둥근 모서리 71">
              <a:extLst>
                <a:ext uri="{FF2B5EF4-FFF2-40B4-BE49-F238E27FC236}">
                  <a16:creationId xmlns:a16="http://schemas.microsoft.com/office/drawing/2014/main" id="{841F2339-9E7E-4A51-96A8-8D01E04B028E}"/>
                </a:ext>
              </a:extLst>
            </p:cNvPr>
            <p:cNvSpPr/>
            <p:nvPr/>
          </p:nvSpPr>
          <p:spPr>
            <a:xfrm>
              <a:off x="3116101" y="2539163"/>
              <a:ext cx="1159958" cy="26583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33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E7BBF5D9-5726-445C-8D77-CFB961C163E0}"/>
                </a:ext>
              </a:extLst>
            </p:cNvPr>
            <p:cNvSpPr/>
            <p:nvPr/>
          </p:nvSpPr>
          <p:spPr>
            <a:xfrm>
              <a:off x="5758721" y="2536783"/>
              <a:ext cx="1159958" cy="2658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75" name="표 74">
            <a:extLst>
              <a:ext uri="{FF2B5EF4-FFF2-40B4-BE49-F238E27FC236}">
                <a16:creationId xmlns:a16="http://schemas.microsoft.com/office/drawing/2014/main" id="{C6BCA67E-9FFF-4662-AA16-8C4FAF48392F}"/>
              </a:ext>
            </a:extLst>
          </p:cNvPr>
          <p:cNvGraphicFramePr>
            <a:graphicFrameLocks noGrp="1"/>
          </p:cNvGraphicFramePr>
          <p:nvPr/>
        </p:nvGraphicFramePr>
        <p:xfrm>
          <a:off x="520421" y="5441430"/>
          <a:ext cx="8247955" cy="8892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759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1524301">
                  <a:extLst>
                    <a:ext uri="{9D8B030D-6E8A-4147-A177-3AD203B41FA5}">
                      <a16:colId xmlns:a16="http://schemas.microsoft.com/office/drawing/2014/main" val="4140189343"/>
                    </a:ext>
                  </a:extLst>
                </a:gridCol>
                <a:gridCol w="4614289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1025647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88959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</a:tblGrid>
              <a:tr h="21455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조회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33736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ko-KR" altLang="en-US" sz="9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 지속 가능성 보고 지침 주요 내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33736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</a:tbl>
          </a:graphicData>
        </a:graphic>
      </p:graphicFrame>
      <p:sp>
        <p:nvSpPr>
          <p:cNvPr id="77" name="직사각형 76">
            <a:extLst>
              <a:ext uri="{FF2B5EF4-FFF2-40B4-BE49-F238E27FC236}">
                <a16:creationId xmlns:a16="http://schemas.microsoft.com/office/drawing/2014/main" id="{378008F3-F051-45DB-961F-9E6BFD8CCE2B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BC94B626-2012-4B39-B91A-B55EE0BD0BA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180185" y="5121593"/>
            <a:ext cx="2561409" cy="27686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 기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컨텐츠를 저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3F75782C-C00A-4E64-A6D8-B1B8DB918630}"/>
              </a:ext>
            </a:extLst>
          </p:cNvPr>
          <p:cNvSpPr/>
          <p:nvPr/>
        </p:nvSpPr>
        <p:spPr>
          <a:xfrm>
            <a:off x="372792" y="15022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553E31C7-1826-4CBE-9098-41E5FCB67C4B}"/>
              </a:ext>
            </a:extLst>
          </p:cNvPr>
          <p:cNvSpPr/>
          <p:nvPr/>
        </p:nvSpPr>
        <p:spPr>
          <a:xfrm>
            <a:off x="407845" y="22791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768D9C38-233E-46E3-B814-2A87FFDD6E28}"/>
              </a:ext>
            </a:extLst>
          </p:cNvPr>
          <p:cNvSpPr/>
          <p:nvPr/>
        </p:nvSpPr>
        <p:spPr>
          <a:xfrm>
            <a:off x="463621" y="26996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16B95CA0-5066-4740-9743-E70DC6F907DA}"/>
              </a:ext>
            </a:extLst>
          </p:cNvPr>
          <p:cNvSpPr/>
          <p:nvPr/>
        </p:nvSpPr>
        <p:spPr>
          <a:xfrm>
            <a:off x="4510161" y="26996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BEFF8FA-DB91-45F0-A674-181BEDC888F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47643" y="3658318"/>
            <a:ext cx="1962380" cy="834744"/>
          </a:xfrm>
          <a:prstGeom prst="rect">
            <a:avLst/>
          </a:prstGeom>
        </p:spPr>
      </p:pic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049EC150-B1FF-4F6C-B1F5-3FD3ED402F05}"/>
              </a:ext>
            </a:extLst>
          </p:cNvPr>
          <p:cNvSpPr/>
          <p:nvPr/>
        </p:nvSpPr>
        <p:spPr>
          <a:xfrm>
            <a:off x="468467" y="50674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80382FBA-CBF8-4722-9443-5BA45B2E9FBB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DE7125E7-356B-496F-9B78-764248DF0221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9" name="그림 58">
              <a:extLst>
                <a:ext uri="{FF2B5EF4-FFF2-40B4-BE49-F238E27FC236}">
                  <a16:creationId xmlns:a16="http://schemas.microsoft.com/office/drawing/2014/main" id="{A4C3E5AE-6AB0-4A4A-B177-4D545F32D3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6D8582D2-9D1F-4FBF-AC93-0D11C804E70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2" name="그림 61">
              <a:extLst>
                <a:ext uri="{FF2B5EF4-FFF2-40B4-BE49-F238E27FC236}">
                  <a16:creationId xmlns:a16="http://schemas.microsoft.com/office/drawing/2014/main" id="{4EB557B7-0923-4D9D-8236-ADD62B51EA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F1111251-6449-4985-9484-890705BBD0A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25107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857341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이페이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기정보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역 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 확인 등의 기능을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40F9F09-5DE3-418A-87D0-EC10487C95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382" y="1501535"/>
            <a:ext cx="291689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B1F8AD6-CAC8-4F61-9EBC-7E055F5B37A2}"/>
              </a:ext>
            </a:extLst>
          </p:cNvPr>
          <p:cNvGrpSpPr/>
          <p:nvPr/>
        </p:nvGrpSpPr>
        <p:grpSpPr>
          <a:xfrm>
            <a:off x="512341" y="1879792"/>
            <a:ext cx="4026254" cy="273774"/>
            <a:chOff x="3116101" y="2531225"/>
            <a:chExt cx="3802578" cy="273774"/>
          </a:xfrm>
        </p:grpSpPr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E632F085-8CD3-489D-8EA0-41406D876EDA}"/>
                </a:ext>
              </a:extLst>
            </p:cNvPr>
            <p:cNvSpPr/>
            <p:nvPr/>
          </p:nvSpPr>
          <p:spPr>
            <a:xfrm>
              <a:off x="4437411" y="2531225"/>
              <a:ext cx="1159958" cy="2658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689BB38A-5D83-4B21-9B26-EFDD6E92FF94}"/>
                </a:ext>
              </a:extLst>
            </p:cNvPr>
            <p:cNvSpPr/>
            <p:nvPr/>
          </p:nvSpPr>
          <p:spPr>
            <a:xfrm>
              <a:off x="3116101" y="2539163"/>
              <a:ext cx="1159958" cy="26583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33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A10713C5-D89A-4106-998E-508E104738C2}"/>
                </a:ext>
              </a:extLst>
            </p:cNvPr>
            <p:cNvSpPr/>
            <p:nvPr/>
          </p:nvSpPr>
          <p:spPr>
            <a:xfrm>
              <a:off x="5758721" y="2536783"/>
              <a:ext cx="1159958" cy="2658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52" name="표 51">
            <a:extLst>
              <a:ext uri="{FF2B5EF4-FFF2-40B4-BE49-F238E27FC236}">
                <a16:creationId xmlns:a16="http://schemas.microsoft.com/office/drawing/2014/main" id="{9485FFE3-435F-4E49-AF29-2817DBE6E5E0}"/>
              </a:ext>
            </a:extLst>
          </p:cNvPr>
          <p:cNvGraphicFramePr>
            <a:graphicFrameLocks noGrp="1"/>
          </p:cNvGraphicFramePr>
          <p:nvPr/>
        </p:nvGraphicFramePr>
        <p:xfrm>
          <a:off x="512341" y="2214618"/>
          <a:ext cx="8247955" cy="36764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759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1524301">
                  <a:extLst>
                    <a:ext uri="{9D8B030D-6E8A-4147-A177-3AD203B41FA5}">
                      <a16:colId xmlns:a16="http://schemas.microsoft.com/office/drawing/2014/main" val="4140189343"/>
                    </a:ext>
                  </a:extLst>
                </a:gridCol>
                <a:gridCol w="4614289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1025647">
                  <a:extLst>
                    <a:ext uri="{9D8B030D-6E8A-4147-A177-3AD203B41FA5}">
                      <a16:colId xmlns:a16="http://schemas.microsoft.com/office/drawing/2014/main" val="615321643"/>
                    </a:ext>
                  </a:extLst>
                </a:gridCol>
                <a:gridCol w="788959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</a:tblGrid>
              <a:tr h="21455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조회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33736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ko-KR" altLang="en-US" sz="9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 지속 가능성 보고 지침 주요 내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337367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위기 대응을 위한 </a:t>
                      </a:r>
                      <a:r>
                        <a:rPr lang="ko-KR" altLang="en-US" sz="95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중립ㆍ녹색성장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통상리포트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3-12)] 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저감기술 및 정책동향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OTRA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3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080398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5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쉽게활용하는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E100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핸드북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소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KRESG)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213473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ko-KR" altLang="en-US" sz="9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 지속 가능성 보고 지침 주요 내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771157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SB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비재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Multiline and Specialty Retailers &amp; Distributors)</a:t>
                      </a:r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SB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41768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위기 대응을 위한 </a:t>
                      </a:r>
                      <a:r>
                        <a:rPr lang="ko-KR" altLang="en-US" sz="95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중립ㆍ녹색성장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966570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통상리포트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3-12)] EU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저감기술 및 정책동향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OTRA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800575"/>
                  </a:ext>
                </a:extLst>
              </a:tr>
              <a:tr h="3483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9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r>
                        <a:rPr lang="ko-KR" altLang="en-US" sz="950" b="1" u="sng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쉽게활용하는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E100 </a:t>
                      </a:r>
                      <a:r>
                        <a:rPr lang="ko-KR" altLang="en-US" sz="95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핸드북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국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소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KRESG)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724257"/>
                  </a:ext>
                </a:extLst>
              </a:tr>
            </a:tbl>
          </a:graphicData>
        </a:graphic>
      </p:graphicFrame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D5F259F2-162C-49FF-8956-0355E463D6E6}"/>
              </a:ext>
            </a:extLst>
          </p:cNvPr>
          <p:cNvGraphicFramePr>
            <a:graphicFrameLocks noGrp="1"/>
          </p:cNvGraphicFramePr>
          <p:nvPr/>
        </p:nvGraphicFramePr>
        <p:xfrm>
          <a:off x="3452347" y="6000080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5" name="직사각형 54">
            <a:extLst>
              <a:ext uri="{FF2B5EF4-FFF2-40B4-BE49-F238E27FC236}">
                <a16:creationId xmlns:a16="http://schemas.microsoft.com/office/drawing/2014/main" id="{FE881862-142B-49F1-88A5-3F7E93950CC1}"/>
              </a:ext>
            </a:extLst>
          </p:cNvPr>
          <p:cNvSpPr/>
          <p:nvPr/>
        </p:nvSpPr>
        <p:spPr>
          <a:xfrm>
            <a:off x="2886120" y="6013692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D88F928-8C3C-4832-A248-502FA352B3AD}"/>
              </a:ext>
            </a:extLst>
          </p:cNvPr>
          <p:cNvSpPr/>
          <p:nvPr/>
        </p:nvSpPr>
        <p:spPr>
          <a:xfrm flipV="1">
            <a:off x="6051165" y="600008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DF19D9F-FADC-4391-AC73-2AB738FC3ACB}"/>
              </a:ext>
            </a:extLst>
          </p:cNvPr>
          <p:cNvSpPr txBox="1"/>
          <p:nvPr/>
        </p:nvSpPr>
        <p:spPr>
          <a:xfrm>
            <a:off x="9250609" y="794373"/>
            <a:ext cx="292941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예시</a:t>
            </a: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F9A62C8C-E0A8-4293-B50F-9313ED8C39FA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06DF23E5-5706-4E55-AE23-58B8D00400C6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927BCAD5-0BA4-40C3-97FE-8EC9969072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54AD3F16-C692-4896-A1E0-E90F82FD4FF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2" name="그림 31">
              <a:extLst>
                <a:ext uri="{FF2B5EF4-FFF2-40B4-BE49-F238E27FC236}">
                  <a16:creationId xmlns:a16="http://schemas.microsoft.com/office/drawing/2014/main" id="{84442B7F-7051-40C6-8C19-C8C7CEC50D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1D11E7EE-1ABE-4EB8-B8DE-99013102225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42753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표 31">
            <a:extLst>
              <a:ext uri="{FF2B5EF4-FFF2-40B4-BE49-F238E27FC236}">
                <a16:creationId xmlns:a16="http://schemas.microsoft.com/office/drawing/2014/main" id="{C7CB555A-4A50-4C76-97B2-22F6E2F55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75208"/>
              </p:ext>
            </p:extLst>
          </p:nvPr>
        </p:nvGraphicFramePr>
        <p:xfrm>
          <a:off x="526574" y="2244228"/>
          <a:ext cx="8233722" cy="36705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932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6667730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1140060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</a:tblGrid>
              <a:tr h="21455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조회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3598376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AB8A4441-C524-4072-9676-0D349C2A4C8C}"/>
              </a:ext>
            </a:extLst>
          </p:cNvPr>
          <p:cNvGrpSpPr/>
          <p:nvPr/>
        </p:nvGrpSpPr>
        <p:grpSpPr>
          <a:xfrm>
            <a:off x="1082873" y="5165149"/>
            <a:ext cx="6775424" cy="625795"/>
            <a:chOff x="-2783748" y="2486921"/>
            <a:chExt cx="6775424" cy="625795"/>
          </a:xfrm>
        </p:grpSpPr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9CD42F7E-34A4-4F13-80D1-8773A403AD22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4B63C627-CE0C-4BB4-B3A8-316D50584934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1" name="직선 연결선 60">
                <a:extLst>
                  <a:ext uri="{FF2B5EF4-FFF2-40B4-BE49-F238E27FC236}">
                    <a16:creationId xmlns:a16="http://schemas.microsoft.com/office/drawing/2014/main" id="{E409C904-8B46-47AF-BDFC-258599EBAD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직선 연결선 61">
                <a:extLst>
                  <a:ext uri="{FF2B5EF4-FFF2-40B4-BE49-F238E27FC236}">
                    <a16:creationId xmlns:a16="http://schemas.microsoft.com/office/drawing/2014/main" id="{C4E2C723-D14F-4201-B206-42FA40A4398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9B4CE724-96C6-47FD-8EEF-5317B580EF3F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IFRS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지속가능성 공시기준 어떻게 진행되고 있나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?</a:t>
              </a:r>
            </a:p>
            <a:p>
              <a:pPr>
                <a:lnSpc>
                  <a:spcPct val="130000"/>
                </a:lnSpc>
              </a:pPr>
              <a:endParaRPr lang="en-US" altLang="ko-KR" sz="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삼일회계법인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3F923681-C03A-45DF-A0F3-E002752CCF57}"/>
              </a:ext>
            </a:extLst>
          </p:cNvPr>
          <p:cNvSpPr/>
          <p:nvPr/>
        </p:nvSpPr>
        <p:spPr>
          <a:xfrm>
            <a:off x="464016" y="5763773"/>
            <a:ext cx="8425056" cy="565353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40F9F09-5DE3-418A-87D0-EC10487C95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382" y="1501535"/>
            <a:ext cx="291689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B1F8AD6-CAC8-4F61-9EBC-7E055F5B37A2}"/>
              </a:ext>
            </a:extLst>
          </p:cNvPr>
          <p:cNvGrpSpPr/>
          <p:nvPr/>
        </p:nvGrpSpPr>
        <p:grpSpPr>
          <a:xfrm>
            <a:off x="512341" y="1879792"/>
            <a:ext cx="4026254" cy="273774"/>
            <a:chOff x="3116101" y="2531225"/>
            <a:chExt cx="3802578" cy="273774"/>
          </a:xfrm>
        </p:grpSpPr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E632F085-8CD3-489D-8EA0-41406D876EDA}"/>
                </a:ext>
              </a:extLst>
            </p:cNvPr>
            <p:cNvSpPr/>
            <p:nvPr/>
          </p:nvSpPr>
          <p:spPr>
            <a:xfrm>
              <a:off x="4437411" y="2531225"/>
              <a:ext cx="1159958" cy="265836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689BB38A-5D83-4B21-9B26-EFDD6E92FF94}"/>
                </a:ext>
              </a:extLst>
            </p:cNvPr>
            <p:cNvSpPr/>
            <p:nvPr/>
          </p:nvSpPr>
          <p:spPr>
            <a:xfrm>
              <a:off x="3116101" y="2539163"/>
              <a:ext cx="1159958" cy="265836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A10713C5-D89A-4106-998E-508E104738C2}"/>
                </a:ext>
              </a:extLst>
            </p:cNvPr>
            <p:cNvSpPr/>
            <p:nvPr/>
          </p:nvSpPr>
          <p:spPr>
            <a:xfrm>
              <a:off x="5758721" y="2536783"/>
              <a:ext cx="1159958" cy="265836"/>
            </a:xfrm>
            <a:prstGeom prst="roundRect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9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D5F259F2-162C-49FF-8956-0355E463D6E6}"/>
              </a:ext>
            </a:extLst>
          </p:cNvPr>
          <p:cNvGraphicFramePr>
            <a:graphicFrameLocks noGrp="1"/>
          </p:cNvGraphicFramePr>
          <p:nvPr/>
        </p:nvGraphicFramePr>
        <p:xfrm>
          <a:off x="3452347" y="6000080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5" name="직사각형 54">
            <a:extLst>
              <a:ext uri="{FF2B5EF4-FFF2-40B4-BE49-F238E27FC236}">
                <a16:creationId xmlns:a16="http://schemas.microsoft.com/office/drawing/2014/main" id="{FE881862-142B-49F1-88A5-3F7E93950CC1}"/>
              </a:ext>
            </a:extLst>
          </p:cNvPr>
          <p:cNvSpPr/>
          <p:nvPr/>
        </p:nvSpPr>
        <p:spPr>
          <a:xfrm>
            <a:off x="2886120" y="6013692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D88F928-8C3C-4832-A248-502FA352B3AD}"/>
              </a:ext>
            </a:extLst>
          </p:cNvPr>
          <p:cNvSpPr/>
          <p:nvPr/>
        </p:nvSpPr>
        <p:spPr>
          <a:xfrm flipV="1">
            <a:off x="6051165" y="600008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908FAE6-A416-4F7B-97BD-405880E26D89}"/>
              </a:ext>
            </a:extLst>
          </p:cNvPr>
          <p:cNvGrpSpPr/>
          <p:nvPr/>
        </p:nvGrpSpPr>
        <p:grpSpPr>
          <a:xfrm>
            <a:off x="1082873" y="2543832"/>
            <a:ext cx="6775424" cy="625795"/>
            <a:chOff x="-2783748" y="2486921"/>
            <a:chExt cx="6775424" cy="625795"/>
          </a:xfrm>
        </p:grpSpPr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88ED1038-57ED-4BC2-937E-EDDE832DE7A8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23" name="직사각형 22">
                <a:extLst>
                  <a:ext uri="{FF2B5EF4-FFF2-40B4-BE49-F238E27FC236}">
                    <a16:creationId xmlns:a16="http://schemas.microsoft.com/office/drawing/2014/main" id="{7E014662-7252-4CCC-9C77-6BB90D3F437B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24" name="직선 연결선 23">
                <a:extLst>
                  <a:ext uri="{FF2B5EF4-FFF2-40B4-BE49-F238E27FC236}">
                    <a16:creationId xmlns:a16="http://schemas.microsoft.com/office/drawing/2014/main" id="{D8F5D5D3-F07C-4376-9413-2EC78E586D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직선 연결선 25">
                <a:extLst>
                  <a:ext uri="{FF2B5EF4-FFF2-40B4-BE49-F238E27FC236}">
                    <a16:creationId xmlns:a16="http://schemas.microsoft.com/office/drawing/2014/main" id="{3C61618E-53B2-4F52-AD42-D828FCEDC1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2C035B61-962B-47F0-8DBA-57832D093765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제정과 기업의 대응</a:t>
              </a:r>
              <a:endPara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endParaRPr lang="ko-KR" altLang="en-US" sz="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대한상공회의소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1CA1CB91-4E32-409D-A68A-CCBECA7B6222}"/>
              </a:ext>
            </a:extLst>
          </p:cNvPr>
          <p:cNvGrpSpPr/>
          <p:nvPr/>
        </p:nvGrpSpPr>
        <p:grpSpPr>
          <a:xfrm>
            <a:off x="1082873" y="3392979"/>
            <a:ext cx="6775424" cy="625795"/>
            <a:chOff x="-2783748" y="2486921"/>
            <a:chExt cx="6775424" cy="625795"/>
          </a:xfrm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C2CF8D6D-BA16-4146-B7FC-F4216C4404CB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D4631DA9-6225-4D8E-A4B4-AB5B14320E39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38" name="직선 연결선 37">
                <a:extLst>
                  <a:ext uri="{FF2B5EF4-FFF2-40B4-BE49-F238E27FC236}">
                    <a16:creationId xmlns:a16="http://schemas.microsoft.com/office/drawing/2014/main" id="{C9C230B0-E384-49EC-8572-D2FA7DC309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5F47B6EB-D940-406E-950C-4EC4A42A212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1826719C-2098-4612-A1CE-2D70D101009A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거버넌스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(Governance)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어떻게 시작하나요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?</a:t>
              </a:r>
            </a:p>
            <a:p>
              <a:pPr>
                <a:lnSpc>
                  <a:spcPct val="130000"/>
                </a:lnSpc>
              </a:pPr>
              <a:endParaRPr lang="en-US" altLang="ko-KR" sz="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서울대학교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27D76081-ED5B-417D-8F2C-16C09BE6BC36}"/>
              </a:ext>
            </a:extLst>
          </p:cNvPr>
          <p:cNvGrpSpPr/>
          <p:nvPr/>
        </p:nvGrpSpPr>
        <p:grpSpPr>
          <a:xfrm>
            <a:off x="1082873" y="4320740"/>
            <a:ext cx="6775424" cy="625795"/>
            <a:chOff x="-2783748" y="2486921"/>
            <a:chExt cx="6775424" cy="625795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A274CEB8-4F0C-4639-B0E8-B2B3DEB648DB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25971E3A-556C-4ED2-8823-C71240757415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45" name="직선 연결선 44">
                <a:extLst>
                  <a:ext uri="{FF2B5EF4-FFF2-40B4-BE49-F238E27FC236}">
                    <a16:creationId xmlns:a16="http://schemas.microsoft.com/office/drawing/2014/main" id="{7D8C9E13-3EA8-4997-B64C-2DD394698B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직선 연결선 45">
                <a:extLst>
                  <a:ext uri="{FF2B5EF4-FFF2-40B4-BE49-F238E27FC236}">
                    <a16:creationId xmlns:a16="http://schemas.microsoft.com/office/drawing/2014/main" id="{72D4BBB9-4735-4CE1-9484-6EA3BE7D6D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99BC7FFB-AE0F-4C75-A7E9-7CA50449EF86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  <a:p>
              <a:pPr>
                <a:lnSpc>
                  <a:spcPct val="130000"/>
                </a:lnSpc>
              </a:pPr>
              <a:endParaRPr lang="en-US" altLang="ko-KR" sz="1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환경부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2186C54E-8B2C-4800-9577-7F8D5D394BBF}"/>
              </a:ext>
            </a:extLst>
          </p:cNvPr>
          <p:cNvGrpSpPr/>
          <p:nvPr/>
        </p:nvGrpSpPr>
        <p:grpSpPr>
          <a:xfrm>
            <a:off x="1486726" y="2743087"/>
            <a:ext cx="207665" cy="227717"/>
            <a:chOff x="1519093" y="5661249"/>
            <a:chExt cx="504056" cy="504056"/>
          </a:xfrm>
        </p:grpSpPr>
        <p:sp>
          <p:nvSpPr>
            <p:cNvPr id="63" name="타원 62">
              <a:extLst>
                <a:ext uri="{FF2B5EF4-FFF2-40B4-BE49-F238E27FC236}">
                  <a16:creationId xmlns:a16="http://schemas.microsoft.com/office/drawing/2014/main" id="{B6EC39A8-FF9B-4A92-977B-1BA7DEDF3C34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64" name="이등변 삼각형 63">
              <a:extLst>
                <a:ext uri="{FF2B5EF4-FFF2-40B4-BE49-F238E27FC236}">
                  <a16:creationId xmlns:a16="http://schemas.microsoft.com/office/drawing/2014/main" id="{36606B3F-66C0-4129-8998-EE1564E59592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ECC80DBD-6021-4651-A841-C50511DECC56}"/>
              </a:ext>
            </a:extLst>
          </p:cNvPr>
          <p:cNvGrpSpPr/>
          <p:nvPr/>
        </p:nvGrpSpPr>
        <p:grpSpPr>
          <a:xfrm>
            <a:off x="1486726" y="3608425"/>
            <a:ext cx="207665" cy="227717"/>
            <a:chOff x="1519093" y="5661249"/>
            <a:chExt cx="504056" cy="504056"/>
          </a:xfrm>
        </p:grpSpPr>
        <p:sp>
          <p:nvSpPr>
            <p:cNvPr id="66" name="타원 65">
              <a:extLst>
                <a:ext uri="{FF2B5EF4-FFF2-40B4-BE49-F238E27FC236}">
                  <a16:creationId xmlns:a16="http://schemas.microsoft.com/office/drawing/2014/main" id="{877D2EFD-A042-4EBA-BC47-484D29FE5FB1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67" name="이등변 삼각형 66">
              <a:extLst>
                <a:ext uri="{FF2B5EF4-FFF2-40B4-BE49-F238E27FC236}">
                  <a16:creationId xmlns:a16="http://schemas.microsoft.com/office/drawing/2014/main" id="{FB6419F1-E825-4D2A-9D0C-9661C51A763B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04650CDB-088C-44F7-A4C4-52B8A5F46B4A}"/>
              </a:ext>
            </a:extLst>
          </p:cNvPr>
          <p:cNvGrpSpPr/>
          <p:nvPr/>
        </p:nvGrpSpPr>
        <p:grpSpPr>
          <a:xfrm>
            <a:off x="1473685" y="4523467"/>
            <a:ext cx="207665" cy="227717"/>
            <a:chOff x="1519093" y="5661249"/>
            <a:chExt cx="504056" cy="504056"/>
          </a:xfrm>
        </p:grpSpPr>
        <p:sp>
          <p:nvSpPr>
            <p:cNvPr id="69" name="타원 68">
              <a:extLst>
                <a:ext uri="{FF2B5EF4-FFF2-40B4-BE49-F238E27FC236}">
                  <a16:creationId xmlns:a16="http://schemas.microsoft.com/office/drawing/2014/main" id="{0C654A93-4137-47FD-9625-46AE960CEEF8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0" name="이등변 삼각형 69">
              <a:extLst>
                <a:ext uri="{FF2B5EF4-FFF2-40B4-BE49-F238E27FC236}">
                  <a16:creationId xmlns:a16="http://schemas.microsoft.com/office/drawing/2014/main" id="{A9833BE4-1529-42DA-A61B-275120AD1664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6994CCED-5A3F-4D7F-A5F0-5A5DE46C61A0}"/>
              </a:ext>
            </a:extLst>
          </p:cNvPr>
          <p:cNvGrpSpPr/>
          <p:nvPr/>
        </p:nvGrpSpPr>
        <p:grpSpPr>
          <a:xfrm>
            <a:off x="1473685" y="5364187"/>
            <a:ext cx="207665" cy="227717"/>
            <a:chOff x="1519093" y="5661249"/>
            <a:chExt cx="504056" cy="504056"/>
          </a:xfrm>
        </p:grpSpPr>
        <p:sp>
          <p:nvSpPr>
            <p:cNvPr id="72" name="타원 71">
              <a:extLst>
                <a:ext uri="{FF2B5EF4-FFF2-40B4-BE49-F238E27FC236}">
                  <a16:creationId xmlns:a16="http://schemas.microsoft.com/office/drawing/2014/main" id="{323A1CD6-DB53-4636-9C07-D15A4333568A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73" name="이등변 삼각형 72">
              <a:extLst>
                <a:ext uri="{FF2B5EF4-FFF2-40B4-BE49-F238E27FC236}">
                  <a16:creationId xmlns:a16="http://schemas.microsoft.com/office/drawing/2014/main" id="{422C606F-90B1-437E-B2A9-FAF9D7EC61F2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131A3B46-16B1-4149-86BF-7767CD4EA610}"/>
              </a:ext>
            </a:extLst>
          </p:cNvPr>
          <p:cNvSpPr txBox="1"/>
          <p:nvPr/>
        </p:nvSpPr>
        <p:spPr>
          <a:xfrm>
            <a:off x="9250609" y="794373"/>
            <a:ext cx="292941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디어 예시</a:t>
            </a:r>
          </a:p>
        </p:txBody>
      </p:sp>
      <p:graphicFrame>
        <p:nvGraphicFramePr>
          <p:cNvPr id="77" name="표 76">
            <a:extLst>
              <a:ext uri="{FF2B5EF4-FFF2-40B4-BE49-F238E27FC236}">
                <a16:creationId xmlns:a16="http://schemas.microsoft.com/office/drawing/2014/main" id="{A4F9AFEF-0BB6-4A99-A157-A20500DC20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166785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이페이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기정보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역 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 확인 등의 기능을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cxnSp>
        <p:nvCxnSpPr>
          <p:cNvPr id="79" name="직선 연결선 78">
            <a:extLst>
              <a:ext uri="{FF2B5EF4-FFF2-40B4-BE49-F238E27FC236}">
                <a16:creationId xmlns:a16="http://schemas.microsoft.com/office/drawing/2014/main" id="{7059107B-A06C-45E5-A420-EB6FFAB7B9CD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375C2011-5CCC-47AF-9AAD-E988A0CD3D6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1" name="그림 80">
              <a:extLst>
                <a:ext uri="{FF2B5EF4-FFF2-40B4-BE49-F238E27FC236}">
                  <a16:creationId xmlns:a16="http://schemas.microsoft.com/office/drawing/2014/main" id="{59DB4CFE-3E2C-4930-95CA-E4163B33FB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236A2A2D-F52F-433C-B655-C1B83D52D59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4" name="그림 83">
              <a:extLst>
                <a:ext uri="{FF2B5EF4-FFF2-40B4-BE49-F238E27FC236}">
                  <a16:creationId xmlns:a16="http://schemas.microsoft.com/office/drawing/2014/main" id="{298879DD-7886-4318-A670-9BAB2E1187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5D76350-7263-43E7-BB27-77748DB75D0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6848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680" y="5439324"/>
            <a:ext cx="1126800" cy="854677"/>
          </a:xfrm>
          <a:prstGeom prst="rect">
            <a:avLst/>
          </a:prstGeom>
        </p:spPr>
      </p:pic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398484"/>
              </p:ext>
            </p:extLst>
          </p:nvPr>
        </p:nvGraphicFramePr>
        <p:xfrm>
          <a:off x="335360" y="822058"/>
          <a:ext cx="11673125" cy="55870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4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23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55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092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6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대상 진단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]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분류선택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계 분류체계 반영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80301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Q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문의요청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값에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따른 화면 정의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9173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lvl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이메일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탬플릿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 화면 기획서 추가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 : 1)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이메일 인증 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2)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아이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임시비밀번호 안내 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3)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문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요청 답변 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4)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뉴스레터 발송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88881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[1-2] :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별 컨텐츠 클릭 시 문서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상세화면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L010/L011/L013)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55837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[13]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가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‘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업별 추가 의견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역 </a:t>
                      </a:r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출력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조건 설정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8801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업별 추가 의견 영역의 본문 수정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06200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인증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ESG </a:t>
                      </a:r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 화면 </a:t>
                      </a: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병합</a:t>
                      </a:r>
                      <a:r>
                        <a:rPr kumimoji="0" lang="en-US" altLang="ko-KR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성 변경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5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50021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lnSpc>
                          <a:spcPct val="110000"/>
                        </a:lnSpc>
                        <a:defRPr/>
                      </a:pP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NB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내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Tax, ESG Deal </a:t>
                      </a:r>
                      <a:endParaRPr kumimoji="0" lang="en-US" altLang="ko-KR" sz="800" b="0" i="0" u="none" strike="noStrike" kern="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GNB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명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인화면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섹션명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변경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PwC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 →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인사이트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섹션명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→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Topic 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5839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7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삼일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적과 역할 이미지 구조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변경 </a:t>
                      </a:r>
                      <a:endParaRPr lang="en-US" altLang="ko-KR" sz="800" b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25007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1 - P015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변경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반영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과제 이행 → 환경 과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// 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과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행 → 사회 과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//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 과제 → 거버넌스 과제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82803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3 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자가진단 결과 화면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업별 추가의견 → 산업별 주요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변경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57494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5 - P015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섹션명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변경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전체 반영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경영활동 → 주요 실행 과제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34491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-O004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명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확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7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금융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, ESG Tax(3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, ESG Deal(3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) 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81904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-O004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삼일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alk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정 버튼 액션 변경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펼치기 버튼 제거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</a:t>
                      </a:r>
                      <a:r>
                        <a:rPr lang="en-US" altLang="ko-KR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Talk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치한 화면 최하단으로 이동 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952034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5 – R007 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대상 진단 화면 전면 수정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352977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획서 통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피그마디자인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피드백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사항 답변 내용 현행화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06563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3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등록제한 포털 메일 입력 후 인증번호 받기 버튼 클릭 시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되는얼럿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메시지 정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0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351461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28 / H029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신규 화면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검색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3p)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회사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수동 등록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4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21099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CE05AF6-C1BF-471B-B26C-92D92AA62851}"/>
              </a:ext>
            </a:extLst>
          </p:cNvPr>
          <p:cNvSpPr/>
          <p:nvPr/>
        </p:nvSpPr>
        <p:spPr>
          <a:xfrm>
            <a:off x="6600056" y="4329100"/>
            <a:ext cx="936104" cy="21602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2908369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표 31">
            <a:extLst>
              <a:ext uri="{FF2B5EF4-FFF2-40B4-BE49-F238E27FC236}">
                <a16:creationId xmlns:a16="http://schemas.microsoft.com/office/drawing/2014/main" id="{C7CB555A-4A50-4C76-97B2-22F6E2F55E0D}"/>
              </a:ext>
            </a:extLst>
          </p:cNvPr>
          <p:cNvGraphicFramePr>
            <a:graphicFrameLocks noGrp="1"/>
          </p:cNvGraphicFramePr>
          <p:nvPr/>
        </p:nvGraphicFramePr>
        <p:xfrm>
          <a:off x="526574" y="2244228"/>
          <a:ext cx="8233722" cy="36705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932">
                  <a:extLst>
                    <a:ext uri="{9D8B030D-6E8A-4147-A177-3AD203B41FA5}">
                      <a16:colId xmlns:a16="http://schemas.microsoft.com/office/drawing/2014/main" val="3565291490"/>
                    </a:ext>
                  </a:extLst>
                </a:gridCol>
                <a:gridCol w="6667730">
                  <a:extLst>
                    <a:ext uri="{9D8B030D-6E8A-4147-A177-3AD203B41FA5}">
                      <a16:colId xmlns:a16="http://schemas.microsoft.com/office/drawing/2014/main" val="917594539"/>
                    </a:ext>
                  </a:extLst>
                </a:gridCol>
                <a:gridCol w="1140060">
                  <a:extLst>
                    <a:ext uri="{9D8B030D-6E8A-4147-A177-3AD203B41FA5}">
                      <a16:colId xmlns:a16="http://schemas.microsoft.com/office/drawing/2014/main" val="3324185031"/>
                    </a:ext>
                  </a:extLst>
                </a:gridCol>
              </a:tblGrid>
              <a:tr h="21455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조회일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32171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1673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늘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310852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921345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9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9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1" hangingPunct="1"/>
                      <a:endParaRPr lang="ko-KR" altLang="en-US" sz="95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3598376"/>
                  </a:ext>
                </a:extLst>
              </a:tr>
            </a:tbl>
          </a:graphicData>
        </a:graphic>
      </p:graphicFrame>
      <p:grpSp>
        <p:nvGrpSpPr>
          <p:cNvPr id="57" name="그룹 56">
            <a:extLst>
              <a:ext uri="{FF2B5EF4-FFF2-40B4-BE49-F238E27FC236}">
                <a16:creationId xmlns:a16="http://schemas.microsoft.com/office/drawing/2014/main" id="{AB8A4441-C524-4072-9676-0D349C2A4C8C}"/>
              </a:ext>
            </a:extLst>
          </p:cNvPr>
          <p:cNvGrpSpPr/>
          <p:nvPr/>
        </p:nvGrpSpPr>
        <p:grpSpPr>
          <a:xfrm>
            <a:off x="1082873" y="5165149"/>
            <a:ext cx="6775424" cy="625795"/>
            <a:chOff x="-2783748" y="2486921"/>
            <a:chExt cx="6775424" cy="625795"/>
          </a:xfrm>
        </p:grpSpPr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9CD42F7E-34A4-4F13-80D1-8773A403AD22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4B63C627-CE0C-4BB4-B3A8-316D50584934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61" name="직선 연결선 60">
                <a:extLst>
                  <a:ext uri="{FF2B5EF4-FFF2-40B4-BE49-F238E27FC236}">
                    <a16:creationId xmlns:a16="http://schemas.microsoft.com/office/drawing/2014/main" id="{E409C904-8B46-47AF-BDFC-258599EBAD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직선 연결선 61">
                <a:extLst>
                  <a:ext uri="{FF2B5EF4-FFF2-40B4-BE49-F238E27FC236}">
                    <a16:creationId xmlns:a16="http://schemas.microsoft.com/office/drawing/2014/main" id="{C4E2C723-D14F-4201-B206-42FA40A4398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9B4CE724-96C6-47FD-8EEF-5317B580EF3F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ISSB, SASB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표준 개선 나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…'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지역 상관없이 적용할 수 있어야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’</a:t>
              </a:r>
            </a:p>
            <a:p>
              <a:pPr>
                <a:lnSpc>
                  <a:spcPct val="130000"/>
                </a:lnSpc>
              </a:pPr>
              <a:endParaRPr lang="ko-KR" altLang="en-US" sz="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임팩트온</a:t>
              </a: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3F923681-C03A-45DF-A0F3-E002752CCF57}"/>
              </a:ext>
            </a:extLst>
          </p:cNvPr>
          <p:cNvSpPr/>
          <p:nvPr/>
        </p:nvSpPr>
        <p:spPr>
          <a:xfrm>
            <a:off x="464016" y="5763773"/>
            <a:ext cx="8425056" cy="565353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40F9F09-5DE3-418A-87D0-EC10487C95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382" y="1501535"/>
            <a:ext cx="291689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endParaRPr lang="en-US" altLang="ko-KR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B1F8AD6-CAC8-4F61-9EBC-7E055F5B37A2}"/>
              </a:ext>
            </a:extLst>
          </p:cNvPr>
          <p:cNvGrpSpPr/>
          <p:nvPr/>
        </p:nvGrpSpPr>
        <p:grpSpPr>
          <a:xfrm>
            <a:off x="512341" y="1879792"/>
            <a:ext cx="4026254" cy="273774"/>
            <a:chOff x="3116101" y="2531225"/>
            <a:chExt cx="3802578" cy="273774"/>
          </a:xfrm>
        </p:grpSpPr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E632F085-8CD3-489D-8EA0-41406D876EDA}"/>
                </a:ext>
              </a:extLst>
            </p:cNvPr>
            <p:cNvSpPr/>
            <p:nvPr/>
          </p:nvSpPr>
          <p:spPr>
            <a:xfrm>
              <a:off x="4437411" y="2531225"/>
              <a:ext cx="1159958" cy="265836"/>
            </a:xfrm>
            <a:prstGeom prst="roundRect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25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689BB38A-5D83-4B21-9B26-EFDD6E92FF94}"/>
                </a:ext>
              </a:extLst>
            </p:cNvPr>
            <p:cNvSpPr/>
            <p:nvPr/>
          </p:nvSpPr>
          <p:spPr>
            <a:xfrm>
              <a:off x="3116101" y="2539163"/>
              <a:ext cx="1159958" cy="265836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A10713C5-D89A-4106-998E-508E104738C2}"/>
                </a:ext>
              </a:extLst>
            </p:cNvPr>
            <p:cNvSpPr/>
            <p:nvPr/>
          </p:nvSpPr>
          <p:spPr>
            <a:xfrm>
              <a:off x="5758721" y="2536783"/>
              <a:ext cx="1159958" cy="2658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D5F259F2-162C-49FF-8956-0355E463D6E6}"/>
              </a:ext>
            </a:extLst>
          </p:cNvPr>
          <p:cNvGraphicFramePr>
            <a:graphicFrameLocks noGrp="1"/>
          </p:cNvGraphicFramePr>
          <p:nvPr/>
        </p:nvGraphicFramePr>
        <p:xfrm>
          <a:off x="3452347" y="6000080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5" name="직사각형 54">
            <a:extLst>
              <a:ext uri="{FF2B5EF4-FFF2-40B4-BE49-F238E27FC236}">
                <a16:creationId xmlns:a16="http://schemas.microsoft.com/office/drawing/2014/main" id="{FE881862-142B-49F1-88A5-3F7E93950CC1}"/>
              </a:ext>
            </a:extLst>
          </p:cNvPr>
          <p:cNvSpPr/>
          <p:nvPr/>
        </p:nvSpPr>
        <p:spPr>
          <a:xfrm>
            <a:off x="2886120" y="6013692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D88F928-8C3C-4832-A248-502FA352B3AD}"/>
              </a:ext>
            </a:extLst>
          </p:cNvPr>
          <p:cNvSpPr/>
          <p:nvPr/>
        </p:nvSpPr>
        <p:spPr>
          <a:xfrm flipV="1">
            <a:off x="6051165" y="600008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908FAE6-A416-4F7B-97BD-405880E26D89}"/>
              </a:ext>
            </a:extLst>
          </p:cNvPr>
          <p:cNvGrpSpPr/>
          <p:nvPr/>
        </p:nvGrpSpPr>
        <p:grpSpPr>
          <a:xfrm>
            <a:off x="1082873" y="2543832"/>
            <a:ext cx="6775424" cy="625795"/>
            <a:chOff x="-2783748" y="2486921"/>
            <a:chExt cx="6775424" cy="625795"/>
          </a:xfrm>
        </p:grpSpPr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88ED1038-57ED-4BC2-937E-EDDE832DE7A8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23" name="직사각형 22">
                <a:extLst>
                  <a:ext uri="{FF2B5EF4-FFF2-40B4-BE49-F238E27FC236}">
                    <a16:creationId xmlns:a16="http://schemas.microsoft.com/office/drawing/2014/main" id="{7E014662-7252-4CCC-9C77-6BB90D3F437B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24" name="직선 연결선 23">
                <a:extLst>
                  <a:ext uri="{FF2B5EF4-FFF2-40B4-BE49-F238E27FC236}">
                    <a16:creationId xmlns:a16="http://schemas.microsoft.com/office/drawing/2014/main" id="{D8F5D5D3-F07C-4376-9413-2EC78E586D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직선 연결선 25">
                <a:extLst>
                  <a:ext uri="{FF2B5EF4-FFF2-40B4-BE49-F238E27FC236}">
                    <a16:creationId xmlns:a16="http://schemas.microsoft.com/office/drawing/2014/main" id="{3C61618E-53B2-4F52-AD42-D828FCEDC1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2C035B61-962B-47F0-8DBA-57832D093765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ISSB, SASB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표준 개선 나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…'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지역 상관없이 적용할 수 있어야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’</a:t>
              </a:r>
            </a:p>
            <a:p>
              <a:pPr>
                <a:lnSpc>
                  <a:spcPct val="130000"/>
                </a:lnSpc>
              </a:pPr>
              <a:endParaRPr lang="ko-KR" altLang="en-US" sz="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임팩트온</a:t>
              </a: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1CA1CB91-4E32-409D-A68A-CCBECA7B6222}"/>
              </a:ext>
            </a:extLst>
          </p:cNvPr>
          <p:cNvGrpSpPr/>
          <p:nvPr/>
        </p:nvGrpSpPr>
        <p:grpSpPr>
          <a:xfrm>
            <a:off x="1082873" y="3392979"/>
            <a:ext cx="6775424" cy="625795"/>
            <a:chOff x="-2783748" y="2486921"/>
            <a:chExt cx="6775424" cy="625795"/>
          </a:xfrm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C2CF8D6D-BA16-4146-B7FC-F4216C4404CB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D4631DA9-6225-4D8E-A4B4-AB5B14320E39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38" name="직선 연결선 37">
                <a:extLst>
                  <a:ext uri="{FF2B5EF4-FFF2-40B4-BE49-F238E27FC236}">
                    <a16:creationId xmlns:a16="http://schemas.microsoft.com/office/drawing/2014/main" id="{C9C230B0-E384-49EC-8572-D2FA7DC309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5F47B6EB-D940-406E-950C-4EC4A42A212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1826719C-2098-4612-A1CE-2D70D101009A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ISSB, SASB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표준 개선 나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…'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지역 상관없이 적용할 수 있어야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’</a:t>
              </a:r>
            </a:p>
            <a:p>
              <a:pPr>
                <a:lnSpc>
                  <a:spcPct val="130000"/>
                </a:lnSpc>
              </a:pPr>
              <a:endParaRPr lang="ko-KR" altLang="en-US" sz="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임팩트온</a:t>
              </a: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27D76081-ED5B-417D-8F2C-16C09BE6BC36}"/>
              </a:ext>
            </a:extLst>
          </p:cNvPr>
          <p:cNvGrpSpPr/>
          <p:nvPr/>
        </p:nvGrpSpPr>
        <p:grpSpPr>
          <a:xfrm>
            <a:off x="1082873" y="4320740"/>
            <a:ext cx="6775424" cy="625795"/>
            <a:chOff x="-2783748" y="2486921"/>
            <a:chExt cx="6775424" cy="625795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A274CEB8-4F0C-4639-B0E8-B2B3DEB648DB}"/>
                </a:ext>
              </a:extLst>
            </p:cNvPr>
            <p:cNvGrpSpPr/>
            <p:nvPr/>
          </p:nvGrpSpPr>
          <p:grpSpPr>
            <a:xfrm>
              <a:off x="-2783748" y="2486921"/>
              <a:ext cx="981283" cy="625795"/>
              <a:chOff x="3925318" y="3675504"/>
              <a:chExt cx="1124954" cy="765997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25971E3A-556C-4ED2-8823-C71240757415}"/>
                  </a:ext>
                </a:extLst>
              </p:cNvPr>
              <p:cNvSpPr/>
              <p:nvPr/>
            </p:nvSpPr>
            <p:spPr>
              <a:xfrm>
                <a:off x="3925318" y="3675504"/>
                <a:ext cx="1124954" cy="765997"/>
              </a:xfrm>
              <a:prstGeom prst="rect">
                <a:avLst/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cxnSp>
            <p:nvCxnSpPr>
              <p:cNvPr id="45" name="직선 연결선 44">
                <a:extLst>
                  <a:ext uri="{FF2B5EF4-FFF2-40B4-BE49-F238E27FC236}">
                    <a16:creationId xmlns:a16="http://schemas.microsoft.com/office/drawing/2014/main" id="{7D8C9E13-3EA8-4997-B64C-2DD394698B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27194" y="3684535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직선 연결선 45">
                <a:extLst>
                  <a:ext uri="{FF2B5EF4-FFF2-40B4-BE49-F238E27FC236}">
                    <a16:creationId xmlns:a16="http://schemas.microsoft.com/office/drawing/2014/main" id="{72D4BBB9-4735-4CE1-9484-6EA3BE7D6D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25318" y="3680019"/>
                <a:ext cx="1123077" cy="75696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99BC7FFB-AE0F-4C75-A7E9-7CA50449EF86}"/>
                </a:ext>
              </a:extLst>
            </p:cNvPr>
            <p:cNvSpPr/>
            <p:nvPr/>
          </p:nvSpPr>
          <p:spPr>
            <a:xfrm>
              <a:off x="-1804102" y="2514487"/>
              <a:ext cx="5795778" cy="54349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>
                <a:lnSpc>
                  <a:spcPct val="130000"/>
                </a:lnSpc>
              </a:pP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ISSB, SASB 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표준 개선 나서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…'</a:t>
              </a:r>
              <a:r>
                <a:rPr lang="ko-KR" altLang="en-US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지역 상관없이 적용할 수 있어야</a:t>
              </a:r>
              <a:r>
                <a:rPr lang="en-US" altLang="ko-KR" sz="10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’</a:t>
              </a:r>
            </a:p>
            <a:p>
              <a:pPr>
                <a:lnSpc>
                  <a:spcPct val="130000"/>
                </a:lnSpc>
              </a:pPr>
              <a:endParaRPr lang="ko-KR" altLang="en-US" sz="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  <a:p>
              <a:pPr>
                <a:lnSpc>
                  <a:spcPct val="130000"/>
                </a:lnSpc>
              </a:pPr>
              <a:r>
                <a:rPr lang="ko-KR" altLang="en-US" sz="105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임팩트온</a:t>
              </a:r>
              <a:r>
                <a:rPr lang="ko-KR" altLang="en-US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   </a:t>
              </a:r>
              <a:r>
                <a:rPr lang="en-US" altLang="ko-KR" sz="10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10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25987DA-DFB0-402E-9BFB-5E95783F2D57}"/>
              </a:ext>
            </a:extLst>
          </p:cNvPr>
          <p:cNvSpPr txBox="1"/>
          <p:nvPr/>
        </p:nvSpPr>
        <p:spPr>
          <a:xfrm>
            <a:off x="9250609" y="794373"/>
            <a:ext cx="292941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가 본 컨텐츠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예시</a:t>
            </a:r>
          </a:p>
        </p:txBody>
      </p:sp>
      <p:graphicFrame>
        <p:nvGraphicFramePr>
          <p:cNvPr id="64" name="표 63">
            <a:extLst>
              <a:ext uri="{FF2B5EF4-FFF2-40B4-BE49-F238E27FC236}">
                <a16:creationId xmlns:a16="http://schemas.microsoft.com/office/drawing/2014/main" id="{74BA0BC8-A745-4C28-BD8E-E64C49233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166785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이페이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기정보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역 확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 확인 등의 기능을 제공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F829B6A2-A788-4FAA-8EFA-2C8AD154A10E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그룹 65">
            <a:extLst>
              <a:ext uri="{FF2B5EF4-FFF2-40B4-BE49-F238E27FC236}">
                <a16:creationId xmlns:a16="http://schemas.microsoft.com/office/drawing/2014/main" id="{8A0164CB-61B9-445F-8CA5-2468649C95E1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7" name="그림 66">
              <a:extLst>
                <a:ext uri="{FF2B5EF4-FFF2-40B4-BE49-F238E27FC236}">
                  <a16:creationId xmlns:a16="http://schemas.microsoft.com/office/drawing/2014/main" id="{5A9F3F5F-1834-4F14-90BF-BBAED7C608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35523F72-679E-4DD8-A274-742592441BC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0" name="그림 69">
              <a:extLst>
                <a:ext uri="{FF2B5EF4-FFF2-40B4-BE49-F238E27FC236}">
                  <a16:creationId xmlns:a16="http://schemas.microsoft.com/office/drawing/2014/main" id="{B4F7546A-9F10-4ED0-B54B-12590B5011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DEA1A59-0A13-49D7-8DCF-0CBB8037BAB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5570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3957916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을 위한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2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4F2F704-82FE-4A82-8160-76739CF06D4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484784"/>
            <a:ext cx="291689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정보 수정 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5C1DB7C9-768B-4A91-8D3D-492C03E0AD8E}"/>
              </a:ext>
            </a:extLst>
          </p:cNvPr>
          <p:cNvSpPr/>
          <p:nvPr/>
        </p:nvSpPr>
        <p:spPr>
          <a:xfrm>
            <a:off x="466528" y="1846518"/>
            <a:ext cx="8049080" cy="108272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aphicFrame>
        <p:nvGraphicFramePr>
          <p:cNvPr id="29" name="표 2">
            <a:extLst>
              <a:ext uri="{FF2B5EF4-FFF2-40B4-BE49-F238E27FC236}">
                <a16:creationId xmlns:a16="http://schemas.microsoft.com/office/drawing/2014/main" id="{388312DD-837B-4153-8D40-52410D2CFC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463721"/>
              </p:ext>
            </p:extLst>
          </p:nvPr>
        </p:nvGraphicFramePr>
        <p:xfrm>
          <a:off x="496609" y="1885477"/>
          <a:ext cx="8018999" cy="9426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4335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54664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95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amil_kim</a:t>
                      </a:r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●●●●●●●●●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95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삼일</a:t>
                      </a:r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화번호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</a:tbl>
          </a:graphicData>
        </a:graphic>
      </p:graphicFrame>
      <p:sp>
        <p:nvSpPr>
          <p:cNvPr id="49" name="직사각형 48">
            <a:extLst>
              <a:ext uri="{FF2B5EF4-FFF2-40B4-BE49-F238E27FC236}">
                <a16:creationId xmlns:a16="http://schemas.microsoft.com/office/drawing/2014/main" id="{8F9841E7-A862-4427-B1D7-5A40D0DA3105}"/>
              </a:ext>
            </a:extLst>
          </p:cNvPr>
          <p:cNvSpPr/>
          <p:nvPr/>
        </p:nvSpPr>
        <p:spPr>
          <a:xfrm>
            <a:off x="458662" y="3167026"/>
            <a:ext cx="8049080" cy="15628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776F90C-FE3E-468B-A22F-09551A09AE34}"/>
              </a:ext>
            </a:extLst>
          </p:cNvPr>
          <p:cNvSpPr txBox="1"/>
          <p:nvPr/>
        </p:nvSpPr>
        <p:spPr>
          <a:xfrm>
            <a:off x="455157" y="2995561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관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정보</a:t>
            </a:r>
          </a:p>
        </p:txBody>
      </p:sp>
      <p:graphicFrame>
        <p:nvGraphicFramePr>
          <p:cNvPr id="51" name="표 2">
            <a:extLst>
              <a:ext uri="{FF2B5EF4-FFF2-40B4-BE49-F238E27FC236}">
                <a16:creationId xmlns:a16="http://schemas.microsoft.com/office/drawing/2014/main" id="{0E9CFFC3-2A1D-4EFA-BA91-8018701DD6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282634"/>
              </p:ext>
            </p:extLst>
          </p:nvPr>
        </p:nvGraphicFramePr>
        <p:xfrm>
          <a:off x="500848" y="3194695"/>
          <a:ext cx="8033096" cy="15399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6733">
                  <a:extLst>
                    <a:ext uri="{9D8B030D-6E8A-4147-A177-3AD203B41FA5}">
                      <a16:colId xmlns:a16="http://schemas.microsoft.com/office/drawing/2014/main" val="3242500208"/>
                    </a:ext>
                  </a:extLst>
                </a:gridCol>
                <a:gridCol w="6666363">
                  <a:extLst>
                    <a:ext uri="{9D8B030D-6E8A-4147-A177-3AD203B41FA5}">
                      <a16:colId xmlns:a16="http://schemas.microsoft.com/office/drawing/2014/main" val="148512927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관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1595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417859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6157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이메일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35177"/>
                  </a:ext>
                </a:extLst>
              </a:tr>
              <a:tr h="297537">
                <a:tc>
                  <a:txBody>
                    <a:bodyPr/>
                    <a:lstStyle/>
                    <a:p>
                      <a:pPr latinLnBrk="1"/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751735"/>
                  </a:ext>
                </a:extLst>
              </a:tr>
              <a:tr h="297537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전화번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95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2438549"/>
                  </a:ext>
                </a:extLst>
              </a:tr>
            </a:tbl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8CCE7B58-3B56-4814-95A6-2A010E2CF780}"/>
              </a:ext>
            </a:extLst>
          </p:cNvPr>
          <p:cNvSpPr txBox="1"/>
          <p:nvPr/>
        </p:nvSpPr>
        <p:spPr>
          <a:xfrm>
            <a:off x="455157" y="4797152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심 영역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97E42A3B-DA85-40C2-8455-87B23961DCC3}"/>
              </a:ext>
            </a:extLst>
          </p:cNvPr>
          <p:cNvSpPr/>
          <p:nvPr/>
        </p:nvSpPr>
        <p:spPr>
          <a:xfrm>
            <a:off x="455157" y="4997492"/>
            <a:ext cx="8049080" cy="26044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6DA15A9-04E4-482C-9851-3210F78451C0}"/>
              </a:ext>
            </a:extLst>
          </p:cNvPr>
          <p:cNvSpPr txBox="1"/>
          <p:nvPr/>
        </p:nvSpPr>
        <p:spPr>
          <a:xfrm>
            <a:off x="492633" y="5018835"/>
            <a:ext cx="803091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            ■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  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          □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882E33-66F0-4A5F-8B31-1C070F7773D5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1F859635-1816-4CF8-90B0-F8526D5A473D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9589D49-FF6B-4CE1-8C88-368D6AD1A60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C3F957EB-5EE3-42CF-9888-E9BF633AB3C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7204A040-D5DB-4DDA-8BD4-459CC6F2F41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784F7A7-FE75-489B-9E5A-32761696CE62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E97A46BE-E0CC-4737-971B-1313E937600C}"/>
              </a:ext>
            </a:extLst>
          </p:cNvPr>
          <p:cNvSpPr/>
          <p:nvPr/>
        </p:nvSpPr>
        <p:spPr>
          <a:xfrm>
            <a:off x="3124645" y="2153463"/>
            <a:ext cx="763641" cy="174125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 변경</a:t>
            </a:r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76137A88-B21E-48C9-80FD-B7C7CD7BAFCB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그룹 70">
            <a:extLst>
              <a:ext uri="{FF2B5EF4-FFF2-40B4-BE49-F238E27FC236}">
                <a16:creationId xmlns:a16="http://schemas.microsoft.com/office/drawing/2014/main" id="{03F63644-190E-46D3-B685-FFBCD9E3D94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4777E026-9D08-406D-B251-D46B2B9E18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3" name="직사각형 72">
              <a:extLst>
                <a:ext uri="{FF2B5EF4-FFF2-40B4-BE49-F238E27FC236}">
                  <a16:creationId xmlns:a16="http://schemas.microsoft.com/office/drawing/2014/main" id="{5B9C1DE7-9CB3-443B-B439-56E781CD4C9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9BCD0FFB-4B21-416E-9CE0-B4D2CAB82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761C1CA9-1203-46DD-A38D-0F29EB53323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27765" y="637882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ABDFD0EA-2E10-475C-88B6-22A8F83B805B}"/>
              </a:ext>
            </a:extLst>
          </p:cNvPr>
          <p:cNvSpPr/>
          <p:nvPr/>
        </p:nvSpPr>
        <p:spPr>
          <a:xfrm>
            <a:off x="1958123" y="3222288"/>
            <a:ext cx="1884604" cy="17412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삼일회계법인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8D8A017F-1FB3-4FB3-AFB5-47CCF3A22602}"/>
              </a:ext>
            </a:extLst>
          </p:cNvPr>
          <p:cNvSpPr/>
          <p:nvPr/>
        </p:nvSpPr>
        <p:spPr>
          <a:xfrm>
            <a:off x="1958123" y="3464386"/>
            <a:ext cx="1884604" cy="17412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팀</a:t>
            </a: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F60BF24F-A201-43C7-89C6-E3FC9A090D11}"/>
              </a:ext>
            </a:extLst>
          </p:cNvPr>
          <p:cNvSpPr/>
          <p:nvPr/>
        </p:nvSpPr>
        <p:spPr>
          <a:xfrm>
            <a:off x="3902965" y="3229237"/>
            <a:ext cx="608859" cy="174125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검색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8DE977F4-08CE-4EED-B81C-713D1A16D39D}"/>
              </a:ext>
            </a:extLst>
          </p:cNvPr>
          <p:cNvSpPr/>
          <p:nvPr/>
        </p:nvSpPr>
        <p:spPr>
          <a:xfrm>
            <a:off x="1958123" y="3699395"/>
            <a:ext cx="1884604" cy="17412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매니저</a:t>
            </a: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0FE67056-D67E-459A-9537-1B7C86156FEC}"/>
              </a:ext>
            </a:extLst>
          </p:cNvPr>
          <p:cNvSpPr/>
          <p:nvPr/>
        </p:nvSpPr>
        <p:spPr>
          <a:xfrm>
            <a:off x="1958123" y="3935433"/>
            <a:ext cx="1884604" cy="17412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_kim@pwc.com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6C382845-A4B7-4164-8BDE-E2C4DDF22650}"/>
              </a:ext>
            </a:extLst>
          </p:cNvPr>
          <p:cNvSpPr/>
          <p:nvPr/>
        </p:nvSpPr>
        <p:spPr>
          <a:xfrm>
            <a:off x="3902965" y="3927871"/>
            <a:ext cx="824883" cy="174125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받기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1DC476F-0A18-4AA8-8B3F-5F1F7B735FDC}"/>
              </a:ext>
            </a:extLst>
          </p:cNvPr>
          <p:cNvSpPr txBox="1"/>
          <p:nvPr/>
        </p:nvSpPr>
        <p:spPr>
          <a:xfrm>
            <a:off x="4398877" y="534793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레터 수신 동의</a:t>
            </a: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05D62F1B-FC24-4419-9EED-D159785AE3E8}"/>
              </a:ext>
            </a:extLst>
          </p:cNvPr>
          <p:cNvSpPr/>
          <p:nvPr/>
        </p:nvSpPr>
        <p:spPr>
          <a:xfrm>
            <a:off x="455157" y="5538666"/>
            <a:ext cx="3706654" cy="96128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pic>
        <p:nvPicPr>
          <p:cNvPr id="96" name="그림 95">
            <a:extLst>
              <a:ext uri="{FF2B5EF4-FFF2-40B4-BE49-F238E27FC236}">
                <a16:creationId xmlns:a16="http://schemas.microsoft.com/office/drawing/2014/main" id="{CB861787-1919-425C-9914-3F9019E1C5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570" y="5660880"/>
            <a:ext cx="151233" cy="169015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3380C43A-5EF7-4EDE-8BF9-8186E666618D}"/>
              </a:ext>
            </a:extLst>
          </p:cNvPr>
          <p:cNvSpPr txBox="1"/>
          <p:nvPr/>
        </p:nvSpPr>
        <p:spPr>
          <a:xfrm>
            <a:off x="749582" y="5669698"/>
            <a:ext cx="27461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인정보 수집 및 이용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6A4FAEAA-E875-410E-BBD4-C15A803CB43C}"/>
              </a:ext>
            </a:extLst>
          </p:cNvPr>
          <p:cNvSpPr/>
          <p:nvPr/>
        </p:nvSpPr>
        <p:spPr>
          <a:xfrm>
            <a:off x="2534840" y="5642694"/>
            <a:ext cx="608859" cy="19459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보기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D53ECEC-9805-488E-B5FA-CD84A04AC053}"/>
              </a:ext>
            </a:extLst>
          </p:cNvPr>
          <p:cNvSpPr txBox="1"/>
          <p:nvPr/>
        </p:nvSpPr>
        <p:spPr>
          <a:xfrm>
            <a:off x="455157" y="5347938"/>
            <a:ext cx="2304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 약관 동의 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86DA9A62-72FB-453B-A1CB-EC596107A31D}"/>
              </a:ext>
            </a:extLst>
          </p:cNvPr>
          <p:cNvSpPr/>
          <p:nvPr/>
        </p:nvSpPr>
        <p:spPr>
          <a:xfrm>
            <a:off x="4355483" y="5538666"/>
            <a:ext cx="4148754" cy="96128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pic>
        <p:nvPicPr>
          <p:cNvPr id="124" name="그림 123">
            <a:extLst>
              <a:ext uri="{FF2B5EF4-FFF2-40B4-BE49-F238E27FC236}">
                <a16:creationId xmlns:a16="http://schemas.microsoft.com/office/drawing/2014/main" id="{21D5C8A6-D7D0-438E-9E4F-5D88323B36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5090" y="5641329"/>
            <a:ext cx="151233" cy="169015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2339A529-3343-4AF5-9CF3-CE9580A1C031}"/>
              </a:ext>
            </a:extLst>
          </p:cNvPr>
          <p:cNvSpPr txBox="1"/>
          <p:nvPr/>
        </p:nvSpPr>
        <p:spPr>
          <a:xfrm>
            <a:off x="4631103" y="5658509"/>
            <a:ext cx="3426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신</a:t>
            </a:r>
          </a:p>
        </p:txBody>
      </p:sp>
      <p:pic>
        <p:nvPicPr>
          <p:cNvPr id="126" name="그림 125">
            <a:extLst>
              <a:ext uri="{FF2B5EF4-FFF2-40B4-BE49-F238E27FC236}">
                <a16:creationId xmlns:a16="http://schemas.microsoft.com/office/drawing/2014/main" id="{98BDAE79-2086-45F6-B730-7764464453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8358" y="5621778"/>
            <a:ext cx="151233" cy="169015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866B2836-FB63-43A0-AE55-955C75AC2332}"/>
              </a:ext>
            </a:extLst>
          </p:cNvPr>
          <p:cNvSpPr txBox="1"/>
          <p:nvPr/>
        </p:nvSpPr>
        <p:spPr>
          <a:xfrm>
            <a:off x="6114370" y="5638958"/>
            <a:ext cx="4856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수신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D89F59AD-3201-4832-8641-E95B33A4DE19}"/>
              </a:ext>
            </a:extLst>
          </p:cNvPr>
          <p:cNvSpPr/>
          <p:nvPr/>
        </p:nvSpPr>
        <p:spPr>
          <a:xfrm>
            <a:off x="4435090" y="5873544"/>
            <a:ext cx="3257533" cy="48677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C77C2FD-FC39-4CF6-879F-5FA2ADBB11A6}"/>
              </a:ext>
            </a:extLst>
          </p:cNvPr>
          <p:cNvSpPr txBox="1"/>
          <p:nvPr/>
        </p:nvSpPr>
        <p:spPr>
          <a:xfrm>
            <a:off x="4398877" y="5884108"/>
            <a:ext cx="296309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광고성 정보 수신 및 마케팅 활용 동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marL="0" marR="0" lvl="0" indent="0" algn="l" defTabSz="742950" rtl="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SMS 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16" name="그림 115">
            <a:extLst>
              <a:ext uri="{FF2B5EF4-FFF2-40B4-BE49-F238E27FC236}">
                <a16:creationId xmlns:a16="http://schemas.microsoft.com/office/drawing/2014/main" id="{DA715EFB-913E-421A-B796-68AE7290FE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3759" y="5906308"/>
            <a:ext cx="195709" cy="195709"/>
          </a:xfrm>
          <a:prstGeom prst="rect">
            <a:avLst/>
          </a:prstGeom>
        </p:spPr>
      </p:pic>
      <p:pic>
        <p:nvPicPr>
          <p:cNvPr id="117" name="그림 116">
            <a:extLst>
              <a:ext uri="{FF2B5EF4-FFF2-40B4-BE49-F238E27FC236}">
                <a16:creationId xmlns:a16="http://schemas.microsoft.com/office/drawing/2014/main" id="{5E5B380E-1C19-4523-A8C5-5EC185DDF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3759" y="6155786"/>
            <a:ext cx="195709" cy="195709"/>
          </a:xfrm>
          <a:prstGeom prst="rect">
            <a:avLst/>
          </a:prstGeom>
        </p:spPr>
      </p:pic>
      <p:graphicFrame>
        <p:nvGraphicFramePr>
          <p:cNvPr id="128" name="표 10">
            <a:extLst>
              <a:ext uri="{FF2B5EF4-FFF2-40B4-BE49-F238E27FC236}">
                <a16:creationId xmlns:a16="http://schemas.microsoft.com/office/drawing/2014/main" id="{01A8E310-175C-4158-A205-5D018CC0FD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56063"/>
              </p:ext>
            </p:extLst>
          </p:nvPr>
        </p:nvGraphicFramePr>
        <p:xfrm>
          <a:off x="9273919" y="1263249"/>
          <a:ext cx="2922885" cy="42693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변경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20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형식 오류 체크 기능 有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입력형식이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메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효한 이메일 주소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받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이메일로 메시지 발송 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인인증</a:t>
                      </a:r>
                      <a:r>
                        <a:rPr lang="en-US" altLang="ko-KR" sz="800" b="0" strike="sng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4]</a:t>
                      </a:r>
                      <a:r>
                        <a:rPr lang="en-US" altLang="ko-KR" sz="800" b="0" strike="noStrike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-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-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에서 인증번호 받기 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5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 행 출력 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 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효 시간이 만료되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도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 일치하는 경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에 성공하였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번호 입력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 불일치하는 경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잘못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코드입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팝업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취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전 마이페이지 화면으로 이동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732226"/>
                  </a:ext>
                </a:extLst>
              </a:tr>
              <a:tr h="4206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수정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완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</a:tbl>
          </a:graphicData>
        </a:graphic>
      </p:graphicFrame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05095CC1-CF45-4311-B4C0-FD9F8BC86B32}"/>
              </a:ext>
            </a:extLst>
          </p:cNvPr>
          <p:cNvSpPr/>
          <p:nvPr/>
        </p:nvSpPr>
        <p:spPr>
          <a:xfrm>
            <a:off x="9268290" y="781482"/>
            <a:ext cx="3092406" cy="32572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30000"/>
              </a:lnSpc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아이디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이름 외 모든 정보 수정 가능</a:t>
            </a: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/>
              </a:rPr>
              <a:t>비밀번호 변경 외 모든 항목은 회원가입 항목과 기능 동일</a:t>
            </a: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43A75E3B-0BB8-4945-B322-BEF02C12C42C}"/>
              </a:ext>
            </a:extLst>
          </p:cNvPr>
          <p:cNvSpPr/>
          <p:nvPr/>
        </p:nvSpPr>
        <p:spPr>
          <a:xfrm>
            <a:off x="3046535" y="20907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4F708F16-F764-4A29-9A05-E933D7D44D72}"/>
              </a:ext>
            </a:extLst>
          </p:cNvPr>
          <p:cNvSpPr/>
          <p:nvPr/>
        </p:nvSpPr>
        <p:spPr>
          <a:xfrm>
            <a:off x="3857672" y="38910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2" name="사각형: 둥근 모서리 131">
            <a:extLst>
              <a:ext uri="{FF2B5EF4-FFF2-40B4-BE49-F238E27FC236}">
                <a16:creationId xmlns:a16="http://schemas.microsoft.com/office/drawing/2014/main" id="{D17BA664-93C8-4B62-84CC-575FEA42DCE7}"/>
              </a:ext>
            </a:extLst>
          </p:cNvPr>
          <p:cNvSpPr/>
          <p:nvPr/>
        </p:nvSpPr>
        <p:spPr>
          <a:xfrm>
            <a:off x="4365616" y="6460481"/>
            <a:ext cx="864096" cy="22645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정보 수정</a:t>
            </a:r>
          </a:p>
        </p:txBody>
      </p: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701F6158-A474-4A71-A0BF-07AC48D63354}"/>
              </a:ext>
            </a:extLst>
          </p:cNvPr>
          <p:cNvSpPr/>
          <p:nvPr/>
        </p:nvSpPr>
        <p:spPr>
          <a:xfrm>
            <a:off x="3425053" y="6460481"/>
            <a:ext cx="864096" cy="22645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65AD2499-B87A-4750-B90F-3205BFD22138}"/>
              </a:ext>
            </a:extLst>
          </p:cNvPr>
          <p:cNvSpPr/>
          <p:nvPr/>
        </p:nvSpPr>
        <p:spPr>
          <a:xfrm>
            <a:off x="3384223" y="642114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12B2D23D-270F-48C1-A838-7331753563C6}"/>
              </a:ext>
            </a:extLst>
          </p:cNvPr>
          <p:cNvSpPr/>
          <p:nvPr/>
        </p:nvSpPr>
        <p:spPr>
          <a:xfrm>
            <a:off x="4317440" y="64123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C8B14D8-BB6C-42F7-8C3D-BD7F707BF53B}"/>
              </a:ext>
            </a:extLst>
          </p:cNvPr>
          <p:cNvSpPr/>
          <p:nvPr/>
        </p:nvSpPr>
        <p:spPr>
          <a:xfrm>
            <a:off x="2851447" y="2627634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1D098B2-844E-4815-9B17-36FA28A41BA9}"/>
              </a:ext>
            </a:extLst>
          </p:cNvPr>
          <p:cNvSpPr/>
          <p:nvPr/>
        </p:nvSpPr>
        <p:spPr>
          <a:xfrm>
            <a:off x="1995344" y="2627634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E2DD9F8-41A7-4001-A22C-F48F71BBD16F}"/>
              </a:ext>
            </a:extLst>
          </p:cNvPr>
          <p:cNvSpPr/>
          <p:nvPr/>
        </p:nvSpPr>
        <p:spPr>
          <a:xfrm>
            <a:off x="3714883" y="2627634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75" name="직선 연결선 74">
            <a:extLst>
              <a:ext uri="{FF2B5EF4-FFF2-40B4-BE49-F238E27FC236}">
                <a16:creationId xmlns:a16="http://schemas.microsoft.com/office/drawing/2014/main" id="{88B58496-3437-46B8-A1D3-E7BF8D83C3BC}"/>
              </a:ext>
            </a:extLst>
          </p:cNvPr>
          <p:cNvCxnSpPr>
            <a:cxnSpLocks/>
          </p:cNvCxnSpPr>
          <p:nvPr/>
        </p:nvCxnSpPr>
        <p:spPr>
          <a:xfrm>
            <a:off x="2705284" y="2734671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3D0EB7AA-2857-495A-B3D0-B2272EE6DF78}"/>
              </a:ext>
            </a:extLst>
          </p:cNvPr>
          <p:cNvCxnSpPr>
            <a:cxnSpLocks/>
          </p:cNvCxnSpPr>
          <p:nvPr/>
        </p:nvCxnSpPr>
        <p:spPr>
          <a:xfrm>
            <a:off x="3575720" y="2734671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이등변 삼각형 77">
            <a:extLst>
              <a:ext uri="{FF2B5EF4-FFF2-40B4-BE49-F238E27FC236}">
                <a16:creationId xmlns:a16="http://schemas.microsoft.com/office/drawing/2014/main" id="{1D5FC829-27CE-482F-8C7F-10FBFB4AF6B6}"/>
              </a:ext>
            </a:extLst>
          </p:cNvPr>
          <p:cNvSpPr/>
          <p:nvPr/>
        </p:nvSpPr>
        <p:spPr>
          <a:xfrm flipV="1">
            <a:off x="2535808" y="2681575"/>
            <a:ext cx="88706" cy="53096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B0DD8D2F-741C-47CB-88C2-772B1633268F}"/>
              </a:ext>
            </a:extLst>
          </p:cNvPr>
          <p:cNvSpPr/>
          <p:nvPr/>
        </p:nvSpPr>
        <p:spPr>
          <a:xfrm>
            <a:off x="1974953" y="2659543"/>
            <a:ext cx="497696" cy="12395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A4446BCF-8E0F-45E0-B8F8-F95B9BFF96F6}"/>
              </a:ext>
            </a:extLst>
          </p:cNvPr>
          <p:cNvSpPr/>
          <p:nvPr/>
        </p:nvSpPr>
        <p:spPr>
          <a:xfrm>
            <a:off x="9261385" y="1"/>
            <a:ext cx="2950181" cy="693622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회원가입 프로세스에 맞춰 화면 변경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전화번호 입력 방식 변경 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이메일 인증 프로세스 변경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2-1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능 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4C64234D-9ADE-4256-9E32-CAAF2AB4F34D}"/>
              </a:ext>
            </a:extLst>
          </p:cNvPr>
          <p:cNvSpPr/>
          <p:nvPr/>
        </p:nvSpPr>
        <p:spPr>
          <a:xfrm>
            <a:off x="2831819" y="4487855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C5A36C85-598D-478A-BC54-FB542A58BB39}"/>
              </a:ext>
            </a:extLst>
          </p:cNvPr>
          <p:cNvSpPr/>
          <p:nvPr/>
        </p:nvSpPr>
        <p:spPr>
          <a:xfrm>
            <a:off x="1975716" y="4487855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B61F232-C5F2-4B73-A179-B1D47F9F7E2A}"/>
              </a:ext>
            </a:extLst>
          </p:cNvPr>
          <p:cNvSpPr/>
          <p:nvPr/>
        </p:nvSpPr>
        <p:spPr>
          <a:xfrm>
            <a:off x="3695255" y="4487855"/>
            <a:ext cx="680100" cy="1827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4" name="직선 연결선 93">
            <a:extLst>
              <a:ext uri="{FF2B5EF4-FFF2-40B4-BE49-F238E27FC236}">
                <a16:creationId xmlns:a16="http://schemas.microsoft.com/office/drawing/2014/main" id="{3CFD15D2-E378-4A9B-ABC1-824638DA45F4}"/>
              </a:ext>
            </a:extLst>
          </p:cNvPr>
          <p:cNvCxnSpPr>
            <a:cxnSpLocks/>
          </p:cNvCxnSpPr>
          <p:nvPr/>
        </p:nvCxnSpPr>
        <p:spPr>
          <a:xfrm>
            <a:off x="2685656" y="4594892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연결선 94">
            <a:extLst>
              <a:ext uri="{FF2B5EF4-FFF2-40B4-BE49-F238E27FC236}">
                <a16:creationId xmlns:a16="http://schemas.microsoft.com/office/drawing/2014/main" id="{57111FF3-CFAF-4677-BDDD-7164B3B49C04}"/>
              </a:ext>
            </a:extLst>
          </p:cNvPr>
          <p:cNvCxnSpPr>
            <a:cxnSpLocks/>
          </p:cNvCxnSpPr>
          <p:nvPr/>
        </p:nvCxnSpPr>
        <p:spPr>
          <a:xfrm>
            <a:off x="3556092" y="4594892"/>
            <a:ext cx="10935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이등변 삼각형 97">
            <a:extLst>
              <a:ext uri="{FF2B5EF4-FFF2-40B4-BE49-F238E27FC236}">
                <a16:creationId xmlns:a16="http://schemas.microsoft.com/office/drawing/2014/main" id="{81099BC9-0405-4093-AE45-BDBFB3D83AD7}"/>
              </a:ext>
            </a:extLst>
          </p:cNvPr>
          <p:cNvSpPr/>
          <p:nvPr/>
        </p:nvSpPr>
        <p:spPr>
          <a:xfrm flipV="1">
            <a:off x="2516180" y="4541796"/>
            <a:ext cx="88706" cy="53096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BEB3EE0B-9723-45F7-9A01-231E65E75385}"/>
              </a:ext>
            </a:extLst>
          </p:cNvPr>
          <p:cNvSpPr/>
          <p:nvPr/>
        </p:nvSpPr>
        <p:spPr>
          <a:xfrm>
            <a:off x="1955325" y="4519764"/>
            <a:ext cx="497696" cy="12395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694D3C8D-6DE8-4BFC-ADD3-C7D26893ACB2}"/>
              </a:ext>
            </a:extLst>
          </p:cNvPr>
          <p:cNvSpPr/>
          <p:nvPr/>
        </p:nvSpPr>
        <p:spPr>
          <a:xfrm>
            <a:off x="2526247" y="4196561"/>
            <a:ext cx="1316480" cy="17412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FAC64DDB-2CA2-4BCA-8B79-F0B7D1FBAFC7}"/>
              </a:ext>
            </a:extLst>
          </p:cNvPr>
          <p:cNvSpPr/>
          <p:nvPr/>
        </p:nvSpPr>
        <p:spPr>
          <a:xfrm>
            <a:off x="3899850" y="4195344"/>
            <a:ext cx="824883" cy="174125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864" rIns="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번호 확인</a:t>
            </a:r>
          </a:p>
        </p:txBody>
      </p:sp>
      <p:sp>
        <p:nvSpPr>
          <p:cNvPr id="104" name="양쪽 대괄호 103">
            <a:extLst>
              <a:ext uri="{FF2B5EF4-FFF2-40B4-BE49-F238E27FC236}">
                <a16:creationId xmlns:a16="http://schemas.microsoft.com/office/drawing/2014/main" id="{FE6FBE33-5257-41A2-B7A4-9BC34642212B}"/>
              </a:ext>
            </a:extLst>
          </p:cNvPr>
          <p:cNvSpPr/>
          <p:nvPr/>
        </p:nvSpPr>
        <p:spPr>
          <a:xfrm>
            <a:off x="1899996" y="4169137"/>
            <a:ext cx="2899860" cy="261046"/>
          </a:xfrm>
          <a:prstGeom prst="bracketPair">
            <a:avLst/>
          </a:prstGeom>
          <a:ln w="12700">
            <a:solidFill>
              <a:srgbClr val="C04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BEAB287B-CFDC-4C8C-8409-4CE235027412}"/>
              </a:ext>
            </a:extLst>
          </p:cNvPr>
          <p:cNvSpPr/>
          <p:nvPr/>
        </p:nvSpPr>
        <p:spPr>
          <a:xfrm>
            <a:off x="1631504" y="4238352"/>
            <a:ext cx="219773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-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EE7A8BF5-914C-4F0F-9398-B691F3879C6B}"/>
              </a:ext>
            </a:extLst>
          </p:cNvPr>
          <p:cNvSpPr/>
          <p:nvPr/>
        </p:nvSpPr>
        <p:spPr>
          <a:xfrm>
            <a:off x="3503742" y="4219989"/>
            <a:ext cx="395283" cy="11994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5:00</a:t>
            </a:r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36537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852455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H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확인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를 위해 비밀번호를 확인하는 화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이페이지에서 회원정보 수정 버튼 클릭 시 출력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832638"/>
              </p:ext>
            </p:extLst>
          </p:nvPr>
        </p:nvGraphicFramePr>
        <p:xfrm>
          <a:off x="9273919" y="735314"/>
          <a:ext cx="2922885" cy="38458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아이디 입력되어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 불가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66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불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단에 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6266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입력 후 확인버튼 클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수정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06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정보 불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가 올바르지 않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다시 확인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</a:tbl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2898DCBF-71DE-462B-90F8-9A01E4F301E9}"/>
              </a:ext>
            </a:extLst>
          </p:cNvPr>
          <p:cNvCxnSpPr>
            <a:cxnSpLocks/>
          </p:cNvCxnSpPr>
          <p:nvPr/>
        </p:nvCxnSpPr>
        <p:spPr>
          <a:xfrm>
            <a:off x="3036502" y="2819780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E4229786-C19F-4929-8D2E-2FBE64DAC4C0}"/>
              </a:ext>
            </a:extLst>
          </p:cNvPr>
          <p:cNvSpPr/>
          <p:nvPr/>
        </p:nvSpPr>
        <p:spPr>
          <a:xfrm>
            <a:off x="3036502" y="2395520"/>
            <a:ext cx="3419537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 확인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243B6E7-E1DB-4720-8A3D-CCA05959CC45}"/>
              </a:ext>
            </a:extLst>
          </p:cNvPr>
          <p:cNvSpPr/>
          <p:nvPr/>
        </p:nvSpPr>
        <p:spPr>
          <a:xfrm>
            <a:off x="2783632" y="2898347"/>
            <a:ext cx="3960440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님의 안전한 개인정보 보호를 위해 비밀번호를 다시 한번 확인해주세요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1B41DC9F-2E5B-406F-BCD1-04CBF7B589F4}"/>
              </a:ext>
            </a:extLst>
          </p:cNvPr>
          <p:cNvSpPr/>
          <p:nvPr/>
        </p:nvSpPr>
        <p:spPr>
          <a:xfrm>
            <a:off x="3054083" y="3548573"/>
            <a:ext cx="3384376" cy="3306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_kim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5B9E780-E2F4-490E-A130-3BB1AC4971A8}"/>
              </a:ext>
            </a:extLst>
          </p:cNvPr>
          <p:cNvSpPr/>
          <p:nvPr/>
        </p:nvSpPr>
        <p:spPr>
          <a:xfrm>
            <a:off x="2998902" y="3377886"/>
            <a:ext cx="720833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A62B9F6E-DEF7-4035-9591-526B9E686373}"/>
              </a:ext>
            </a:extLst>
          </p:cNvPr>
          <p:cNvSpPr/>
          <p:nvPr/>
        </p:nvSpPr>
        <p:spPr>
          <a:xfrm>
            <a:off x="2998903" y="3975244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11D04E00-E440-42E9-9FFE-BDED7D7914B5}"/>
              </a:ext>
            </a:extLst>
          </p:cNvPr>
          <p:cNvSpPr/>
          <p:nvPr/>
        </p:nvSpPr>
        <p:spPr>
          <a:xfrm>
            <a:off x="3054083" y="419383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입력해주세요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0304F989-095C-4CE2-B9CD-899F11B9067C}"/>
              </a:ext>
            </a:extLst>
          </p:cNvPr>
          <p:cNvSpPr/>
          <p:nvPr/>
        </p:nvSpPr>
        <p:spPr>
          <a:xfrm>
            <a:off x="3036503" y="4884264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DAB13E42-1137-4F46-827B-93ABA65F2372}"/>
              </a:ext>
            </a:extLst>
          </p:cNvPr>
          <p:cNvSpPr/>
          <p:nvPr/>
        </p:nvSpPr>
        <p:spPr>
          <a:xfrm>
            <a:off x="2981602" y="3510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A41B1458-F0A2-440B-BF0E-7E65A85ABDA6}"/>
              </a:ext>
            </a:extLst>
          </p:cNvPr>
          <p:cNvSpPr/>
          <p:nvPr/>
        </p:nvSpPr>
        <p:spPr>
          <a:xfrm>
            <a:off x="2981602" y="415001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6A7D1D32-7C58-4DC0-8DF8-DD2BAAD94832}"/>
              </a:ext>
            </a:extLst>
          </p:cNvPr>
          <p:cNvSpPr/>
          <p:nvPr/>
        </p:nvSpPr>
        <p:spPr>
          <a:xfrm>
            <a:off x="2984299" y="48391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6" name="그림 35">
            <a:extLst>
              <a:ext uri="{FF2B5EF4-FFF2-40B4-BE49-F238E27FC236}">
                <a16:creationId xmlns:a16="http://schemas.microsoft.com/office/drawing/2014/main" id="{1FA0247D-9C83-48AF-AE3D-E4BF8D942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4114" y="2819780"/>
            <a:ext cx="1959414" cy="1627971"/>
          </a:xfrm>
          <a:prstGeom prst="rect">
            <a:avLst/>
          </a:prstGeom>
        </p:spPr>
      </p:pic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667B5D1C-61D8-486F-A681-C76BF3955A4A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9EB0CD4C-5F25-4DA4-8883-8E6A82C007E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9" name="그림 38">
              <a:extLst>
                <a:ext uri="{FF2B5EF4-FFF2-40B4-BE49-F238E27FC236}">
                  <a16:creationId xmlns:a16="http://schemas.microsoft.com/office/drawing/2014/main" id="{B740CFE8-1674-438F-BDE8-7970534504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31209ACA-5CBC-40C6-B142-880B29ADB222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3" name="그림 42">
              <a:extLst>
                <a:ext uri="{FF2B5EF4-FFF2-40B4-BE49-F238E27FC236}">
                  <a16:creationId xmlns:a16="http://schemas.microsoft.com/office/drawing/2014/main" id="{19F11650-B791-47FF-B239-4574B584B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5E20A984-3106-44A3-B6A4-355F94280E7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0105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645562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2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변경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변경을 위한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945379"/>
              </p:ext>
            </p:extLst>
          </p:nvPr>
        </p:nvGraphicFramePr>
        <p:xfrm>
          <a:off x="9268628" y="751752"/>
          <a:ext cx="2922885" cy="609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입력 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두개의 비밀번호 일치하는 경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 완료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불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가 일치하지 않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5F47612C-6402-41F2-A9C9-7FAC6562CD26}"/>
              </a:ext>
            </a:extLst>
          </p:cNvPr>
          <p:cNvCxnSpPr>
            <a:cxnSpLocks/>
          </p:cNvCxnSpPr>
          <p:nvPr/>
        </p:nvCxnSpPr>
        <p:spPr>
          <a:xfrm>
            <a:off x="2823142" y="2815912"/>
            <a:ext cx="363556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8AD50CD9-189B-4F2E-9CDD-DD0FAF7A4625}"/>
              </a:ext>
            </a:extLst>
          </p:cNvPr>
          <p:cNvSpPr/>
          <p:nvPr/>
        </p:nvSpPr>
        <p:spPr>
          <a:xfrm>
            <a:off x="2823142" y="2453525"/>
            <a:ext cx="3617980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로운 비밀번호를 설정해 주세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003FD4C-EE27-4693-AD17-44F96079FA87}"/>
              </a:ext>
            </a:extLst>
          </p:cNvPr>
          <p:cNvSpPr/>
          <p:nvPr/>
        </p:nvSpPr>
        <p:spPr>
          <a:xfrm>
            <a:off x="2840722" y="3807391"/>
            <a:ext cx="3617981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비밀번호를 한 번 더 입력해주세요</a:t>
            </a:r>
            <a:r>
              <a:rPr lang="en-US" altLang="ko-KR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800" i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D2C72608-200C-4980-9984-7F34779A4952}"/>
              </a:ext>
            </a:extLst>
          </p:cNvPr>
          <p:cNvSpPr/>
          <p:nvPr/>
        </p:nvSpPr>
        <p:spPr>
          <a:xfrm>
            <a:off x="2840723" y="4387200"/>
            <a:ext cx="3617980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CBFB9FF-BCEE-485D-9BE7-DFEDF637FBEB}"/>
              </a:ext>
            </a:extLst>
          </p:cNvPr>
          <p:cNvSpPr/>
          <p:nvPr/>
        </p:nvSpPr>
        <p:spPr>
          <a:xfrm>
            <a:off x="2785542" y="3636704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비밀번호 확인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7F37ACC1-6809-4A0E-9259-A25675AD57E4}"/>
              </a:ext>
            </a:extLst>
          </p:cNvPr>
          <p:cNvSpPr/>
          <p:nvPr/>
        </p:nvSpPr>
        <p:spPr>
          <a:xfrm>
            <a:off x="2840722" y="3167741"/>
            <a:ext cx="3617981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비밀번호를 입력해주세요 영문</a:t>
            </a:r>
            <a:r>
              <a:rPr lang="en-US" altLang="ko-KR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숫자</a:t>
            </a:r>
            <a:r>
              <a:rPr lang="en-US" altLang="ko-KR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특수문자</a:t>
            </a:r>
            <a:r>
              <a:rPr lang="en-US" altLang="ko-KR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백제외</a:t>
            </a:r>
            <a:r>
              <a:rPr lang="en-US" altLang="ko-KR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r>
              <a:rPr lang="ko-KR" altLang="en-US" sz="800" i="1" spc="-1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이상 조합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44D1A7E4-B1A5-4C84-8900-C75F7BF37596}"/>
              </a:ext>
            </a:extLst>
          </p:cNvPr>
          <p:cNvSpPr/>
          <p:nvPr/>
        </p:nvSpPr>
        <p:spPr>
          <a:xfrm>
            <a:off x="2785542" y="2997054"/>
            <a:ext cx="3457138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비밀번호</a:t>
            </a:r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1A549AD5-6435-4813-B3B7-F7521E4A0CDC}"/>
              </a:ext>
            </a:extLst>
          </p:cNvPr>
          <p:cNvSpPr/>
          <p:nvPr/>
        </p:nvSpPr>
        <p:spPr>
          <a:xfrm>
            <a:off x="2823142" y="43569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F8C16ECF-716D-4BBA-BBA0-708A236B1AE8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B20112E0-469E-4A3A-8045-4FAA08AFFF4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77D6DD4B-EF0E-40CC-B40A-A8A6165380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D3A0A74D-7C4D-4862-B8CA-E64BFD7CEDC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F82827B1-29FB-4E07-89C1-0FB07CC544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7CC8F3-E8FA-48AB-BC47-81E020BB5B1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8142B02-DFA7-4995-A3E2-D018346E0B96}"/>
              </a:ext>
            </a:extLst>
          </p:cNvPr>
          <p:cNvSpPr/>
          <p:nvPr/>
        </p:nvSpPr>
        <p:spPr>
          <a:xfrm>
            <a:off x="2912344" y="2150814"/>
            <a:ext cx="3419537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3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 재설정</a:t>
            </a:r>
            <a:endParaRPr lang="ko-KR" altLang="en-US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89825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618675"/>
              </p:ext>
            </p:extLst>
          </p:nvPr>
        </p:nvGraphicFramePr>
        <p:xfrm>
          <a:off x="1" y="9862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를 위한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43DB1309-8AC1-42EB-8780-AC384CE0B627}"/>
              </a:ext>
            </a:extLst>
          </p:cNvPr>
          <p:cNvSpPr/>
          <p:nvPr/>
        </p:nvSpPr>
        <p:spPr>
          <a:xfrm>
            <a:off x="9279147" y="794291"/>
            <a:ext cx="2911129" cy="223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 화면 진입 경로는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푸터에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위치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6305557"/>
              </p:ext>
            </p:extLst>
          </p:nvPr>
        </p:nvGraphicFramePr>
        <p:xfrm>
          <a:off x="9276981" y="1092378"/>
          <a:ext cx="2922885" cy="3187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사유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이상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탈퇴사유 선택하지 않은 채 탈퇴버튼 클릭 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</a:t>
                      </a: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[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탈퇴사유를 선택해주세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]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얼럿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메시지 출력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유 의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본 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탈퇴버튼 클릭 후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비밀번호 일치 여부 검증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일치하지 않을 경우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[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비밀번호가 일치하지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않습니다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]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얼럿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메시지 출력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안내사항 확인 동의 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-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안내사항 체크하지 않고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탈퇴버튼 클릭 시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[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안내사항 동의버튼에 체크해주세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]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얼럿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  <a:p>
                      <a:pPr algn="l">
                        <a:lnSpc>
                          <a:spcPct val="130000"/>
                        </a:lnSpc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   메시지 출력 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8058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취소 버튼 클릭 시 직전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버튼 클릭 시 탈퇴 최종확인 팝업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ED6D0FB7-0A2B-46C7-86AA-92BFDB76C1AB}"/>
              </a:ext>
            </a:extLst>
          </p:cNvPr>
          <p:cNvSpPr/>
          <p:nvPr/>
        </p:nvSpPr>
        <p:spPr>
          <a:xfrm>
            <a:off x="4722008" y="5870502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탈퇴</a:t>
            </a: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48893894-06AB-40D3-8E66-F0220561AAEE}"/>
              </a:ext>
            </a:extLst>
          </p:cNvPr>
          <p:cNvSpPr/>
          <p:nvPr/>
        </p:nvSpPr>
        <p:spPr>
          <a:xfrm>
            <a:off x="509042" y="2144647"/>
            <a:ext cx="7963221" cy="961103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30000"/>
              </a:lnSpc>
            </a:pP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불편사항이 있으셨나요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 1:1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</a:t>
            </a:r>
            <a:r>
              <a:rPr lang="ko-KR" altLang="en-US" sz="100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〮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으로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불편사항을 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남겨주시면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적극 반영하여 고객님의 불편함을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결해 드리도록 노력하겠습니다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회원 탈퇴 시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님의 사이트 활동 내역 및 정보가 자동 소멸되며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구되지 않습니다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MS, E-MAIL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 정보를 수신하셨다면 탈퇴 이후 약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~3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 정도까지 뉴스레터 및 안내 정보가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송될 수 </a:t>
            </a:r>
            <a:r>
              <a:rPr lang="ko-KR" altLang="en-US" sz="10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있사오니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</a:p>
          <a:p>
            <a:pPr>
              <a:lnSpc>
                <a:spcPct val="13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 점 양해 부탁드립니다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0FD37AE2-400C-4FB2-B29D-5B7949056261}"/>
              </a:ext>
            </a:extLst>
          </p:cNvPr>
          <p:cNvSpPr/>
          <p:nvPr/>
        </p:nvSpPr>
        <p:spPr>
          <a:xfrm>
            <a:off x="510277" y="3288860"/>
            <a:ext cx="1409259" cy="212648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탈퇴 사유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CBB8953-CD15-4A46-B51D-7A31E35E78A9}"/>
              </a:ext>
            </a:extLst>
          </p:cNvPr>
          <p:cNvSpPr txBox="1"/>
          <p:nvPr/>
        </p:nvSpPr>
        <p:spPr>
          <a:xfrm>
            <a:off x="2627595" y="3212976"/>
            <a:ext cx="5123213" cy="481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□컨텐츠 부족                              □회원 혜택 부족                     □개인정보 유출 우려</a:t>
            </a:r>
            <a:endParaRPr lang="en-US" altLang="ko-KR" sz="90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□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</a:t>
            </a:r>
            <a:r>
              <a:rPr lang="ko-KR" altLang="en-US" sz="9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트 이용 불편                      □이용빈도 낮음                     □ 기타</a:t>
            </a:r>
            <a:endParaRPr lang="ko-KR" altLang="en-US" sz="90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0ABB171D-4F5D-4096-8BF6-7ADC05B47BB6}"/>
              </a:ext>
            </a:extLst>
          </p:cNvPr>
          <p:cNvSpPr/>
          <p:nvPr/>
        </p:nvSpPr>
        <p:spPr>
          <a:xfrm>
            <a:off x="504544" y="3924791"/>
            <a:ext cx="1414992" cy="212648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님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견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624D74C-ED9C-42A4-8B40-71EF6EAAEF17}"/>
              </a:ext>
            </a:extLst>
          </p:cNvPr>
          <p:cNvSpPr/>
          <p:nvPr/>
        </p:nvSpPr>
        <p:spPr>
          <a:xfrm>
            <a:off x="2764677" y="3841391"/>
            <a:ext cx="5022648" cy="84660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2F327A4-43FC-4604-B74D-68E5CB7B25EE}"/>
              </a:ext>
            </a:extLst>
          </p:cNvPr>
          <p:cNvSpPr txBox="1"/>
          <p:nvPr/>
        </p:nvSpPr>
        <p:spPr>
          <a:xfrm>
            <a:off x="2782209" y="3883927"/>
            <a:ext cx="5123213" cy="2741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4295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에 대한 불만사항이나 의견이 있으시면 기재 부탁드립니다</a:t>
            </a:r>
            <a:r>
              <a:rPr lang="en-US" altLang="ko-KR" sz="9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6069A782-822C-41B9-8076-981B5B6C2533}"/>
              </a:ext>
            </a:extLst>
          </p:cNvPr>
          <p:cNvSpPr/>
          <p:nvPr/>
        </p:nvSpPr>
        <p:spPr>
          <a:xfrm>
            <a:off x="2765349" y="4803212"/>
            <a:ext cx="2536240" cy="2906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ko-KR" altLang="en-US" sz="9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재 비밀번호를 입력해주세요</a:t>
            </a: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3665622A-3916-4C9C-916E-7B100D7E976D}"/>
              </a:ext>
            </a:extLst>
          </p:cNvPr>
          <p:cNvSpPr/>
          <p:nvPr/>
        </p:nvSpPr>
        <p:spPr>
          <a:xfrm>
            <a:off x="502036" y="4803212"/>
            <a:ext cx="1409259" cy="212648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77EFE9BC-26A5-4610-9B86-6AEC5B33176E}"/>
              </a:ext>
            </a:extLst>
          </p:cNvPr>
          <p:cNvSpPr/>
          <p:nvPr/>
        </p:nvSpPr>
        <p:spPr>
          <a:xfrm>
            <a:off x="3387788" y="5865365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6D29CF29-961D-4097-AD43-094B216ADF99}"/>
              </a:ext>
            </a:extLst>
          </p:cNvPr>
          <p:cNvSpPr/>
          <p:nvPr/>
        </p:nvSpPr>
        <p:spPr>
          <a:xfrm>
            <a:off x="2594393" y="37890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1C08DE1C-F81B-4737-8A85-2108F52093F8}"/>
              </a:ext>
            </a:extLst>
          </p:cNvPr>
          <p:cNvSpPr/>
          <p:nvPr/>
        </p:nvSpPr>
        <p:spPr>
          <a:xfrm>
            <a:off x="2594393" y="47784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342D2D58-C3C6-4272-A2DC-44742C7FD087}"/>
              </a:ext>
            </a:extLst>
          </p:cNvPr>
          <p:cNvSpPr/>
          <p:nvPr/>
        </p:nvSpPr>
        <p:spPr>
          <a:xfrm>
            <a:off x="3304587" y="58328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D662BCFB-B5FF-40D9-9AE0-1B45D46011CA}"/>
              </a:ext>
            </a:extLst>
          </p:cNvPr>
          <p:cNvSpPr/>
          <p:nvPr/>
        </p:nvSpPr>
        <p:spPr>
          <a:xfrm>
            <a:off x="4656193" y="58184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5862613-EF5F-4457-A63B-44EE6F249A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52688"/>
            <a:ext cx="2916896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50" name="직선 연결선 49">
            <a:extLst>
              <a:ext uri="{FF2B5EF4-FFF2-40B4-BE49-F238E27FC236}">
                <a16:creationId xmlns:a16="http://schemas.microsoft.com/office/drawing/2014/main" id="{180694E5-D30F-438D-A20B-BBD9DDA398BF}"/>
              </a:ext>
            </a:extLst>
          </p:cNvPr>
          <p:cNvCxnSpPr>
            <a:cxnSpLocks/>
          </p:cNvCxnSpPr>
          <p:nvPr/>
        </p:nvCxnSpPr>
        <p:spPr>
          <a:xfrm>
            <a:off x="502036" y="3135806"/>
            <a:ext cx="825826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48301476-D1FC-4262-9B25-609B7B8CC2E4}"/>
              </a:ext>
            </a:extLst>
          </p:cNvPr>
          <p:cNvSpPr/>
          <p:nvPr/>
        </p:nvSpPr>
        <p:spPr>
          <a:xfrm>
            <a:off x="2594393" y="32346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E61AFCD6-40A0-4004-BA04-8F83A25C00FC}"/>
              </a:ext>
            </a:extLst>
          </p:cNvPr>
          <p:cNvSpPr/>
          <p:nvPr/>
        </p:nvSpPr>
        <p:spPr>
          <a:xfrm>
            <a:off x="1360941" y="5431712"/>
            <a:ext cx="6544481" cy="212648"/>
          </a:xfrm>
          <a:prstGeom prst="roundRect">
            <a:avLst>
              <a:gd name="adj" fmla="val 0"/>
            </a:avLst>
          </a:prstGeom>
          <a:noFill/>
          <a:ln w="285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내 사항을 모두 확인하였으며 동의합니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cxnSp>
        <p:nvCxnSpPr>
          <p:cNvPr id="55" name="직선 연결선 54">
            <a:extLst>
              <a:ext uri="{FF2B5EF4-FFF2-40B4-BE49-F238E27FC236}">
                <a16:creationId xmlns:a16="http://schemas.microsoft.com/office/drawing/2014/main" id="{D53DD852-8517-446B-82EF-839745D0D680}"/>
              </a:ext>
            </a:extLst>
          </p:cNvPr>
          <p:cNvCxnSpPr>
            <a:cxnSpLocks/>
          </p:cNvCxnSpPr>
          <p:nvPr/>
        </p:nvCxnSpPr>
        <p:spPr>
          <a:xfrm>
            <a:off x="559631" y="5229200"/>
            <a:ext cx="825826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그림 55">
            <a:extLst>
              <a:ext uri="{FF2B5EF4-FFF2-40B4-BE49-F238E27FC236}">
                <a16:creationId xmlns:a16="http://schemas.microsoft.com/office/drawing/2014/main" id="{7F2332C8-F5E5-489E-8A1F-68736AB291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0030" y="5445832"/>
            <a:ext cx="209865" cy="209865"/>
          </a:xfrm>
          <a:prstGeom prst="rect">
            <a:avLst/>
          </a:prstGeom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98A637F0-27B2-4529-BB87-0203F4C3DA6B}"/>
              </a:ext>
            </a:extLst>
          </p:cNvPr>
          <p:cNvSpPr/>
          <p:nvPr/>
        </p:nvSpPr>
        <p:spPr>
          <a:xfrm>
            <a:off x="2906923" y="53971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9F6F698A-848C-4ADC-A78F-2F4BCF7B7AE4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F4C796BB-0DE4-44B9-BB5F-336B93F4E72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4" name="그림 43">
              <a:extLst>
                <a:ext uri="{FF2B5EF4-FFF2-40B4-BE49-F238E27FC236}">
                  <a16:creationId xmlns:a16="http://schemas.microsoft.com/office/drawing/2014/main" id="{9C8EB147-06F9-4B41-98D0-0166896FA9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50A19983-A617-44A5-A6F5-7D1E6F4377C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0" name="그림 59">
              <a:extLst>
                <a:ext uri="{FF2B5EF4-FFF2-40B4-BE49-F238E27FC236}">
                  <a16:creationId xmlns:a16="http://schemas.microsoft.com/office/drawing/2014/main" id="{F5062160-8F7B-436A-B8E1-2D5A247AEF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45EE2736-3AF1-41E6-AF57-C864050776CE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9893DCC-51C7-451D-AAB4-2ED8943D7CEC}"/>
              </a:ext>
            </a:extLst>
          </p:cNvPr>
          <p:cNvSpPr/>
          <p:nvPr/>
        </p:nvSpPr>
        <p:spPr>
          <a:xfrm>
            <a:off x="9261385" y="1"/>
            <a:ext cx="2950181" cy="693622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회원탈퇴 시 필수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입력값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미입력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시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얼럿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메시지 출력 기능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47286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485009"/>
              </p:ext>
            </p:extLst>
          </p:nvPr>
        </p:nvGraphicFramePr>
        <p:xfrm>
          <a:off x="1" y="9862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 최종확인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 최종 확인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43DB1309-8AC1-42EB-8780-AC384CE0B627}"/>
              </a:ext>
            </a:extLst>
          </p:cNvPr>
          <p:cNvSpPr/>
          <p:nvPr/>
        </p:nvSpPr>
        <p:spPr>
          <a:xfrm>
            <a:off x="9279147" y="794291"/>
            <a:ext cx="2911129" cy="223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 화면 진입 경로는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푸터에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위치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843717"/>
              </p:ext>
            </p:extLst>
          </p:nvPr>
        </p:nvGraphicFramePr>
        <p:xfrm>
          <a:off x="9276981" y="1092378"/>
          <a:ext cx="2922885" cy="6480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버튼 클릭 시 팝업 닫히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완료 화면 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982B05DD-3E37-404B-B939-E52DC6F87374}"/>
              </a:ext>
            </a:extLst>
          </p:cNvPr>
          <p:cNvSpPr/>
          <p:nvPr/>
        </p:nvSpPr>
        <p:spPr>
          <a:xfrm>
            <a:off x="2063552" y="2241881"/>
            <a:ext cx="4824536" cy="2627279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1319EBB-9219-475D-B881-AEFE6797246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07566" y="2610874"/>
            <a:ext cx="1736509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A5904F7B-850D-442C-8E72-90A26815664A}"/>
              </a:ext>
            </a:extLst>
          </p:cNvPr>
          <p:cNvCxnSpPr>
            <a:cxnSpLocks/>
          </p:cNvCxnSpPr>
          <p:nvPr/>
        </p:nvCxnSpPr>
        <p:spPr>
          <a:xfrm>
            <a:off x="2493806" y="3140968"/>
            <a:ext cx="400049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67BAA9C-7C15-497E-A33B-38F1952F7C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457339" y="3420632"/>
            <a:ext cx="403696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 시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든 계정 정보가 삭제되며 복구가 불가합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 latinLnBrk="0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말로 탈퇴 하시겠습니까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 </a:t>
            </a: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6632C34-134B-4EF5-AFA0-4A541975FD47}"/>
              </a:ext>
            </a:extLst>
          </p:cNvPr>
          <p:cNvSpPr/>
          <p:nvPr/>
        </p:nvSpPr>
        <p:spPr>
          <a:xfrm>
            <a:off x="4669409" y="4156725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탈퇴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88B5F7E7-EBF5-4A33-B371-AA813B03880C}"/>
              </a:ext>
            </a:extLst>
          </p:cNvPr>
          <p:cNvSpPr/>
          <p:nvPr/>
        </p:nvSpPr>
        <p:spPr>
          <a:xfrm>
            <a:off x="3401004" y="4160421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54863836-4826-42BB-8019-08A7441F8D1C}"/>
              </a:ext>
            </a:extLst>
          </p:cNvPr>
          <p:cNvSpPr/>
          <p:nvPr/>
        </p:nvSpPr>
        <p:spPr>
          <a:xfrm>
            <a:off x="3287715" y="41020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1A39C629-2BDB-4C1B-8B4C-6D8F95444855}"/>
              </a:ext>
            </a:extLst>
          </p:cNvPr>
          <p:cNvSpPr/>
          <p:nvPr/>
        </p:nvSpPr>
        <p:spPr>
          <a:xfrm>
            <a:off x="4639321" y="41020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850E1DD9-5642-4FE8-8F41-65FA4385ED3E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A23F421B-45DB-410F-874E-6FB88997AD8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4" name="그림 23">
              <a:extLst>
                <a:ext uri="{FF2B5EF4-FFF2-40B4-BE49-F238E27FC236}">
                  <a16:creationId xmlns:a16="http://schemas.microsoft.com/office/drawing/2014/main" id="{610E7CAA-676C-4BC4-A222-AA1792A850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3660B4FB-F3F2-4F68-A917-65439FB032B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5131E3A3-3774-44DE-954F-4C341519A7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16C68AE-039A-404B-8BDC-775B109E40E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18232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726380"/>
              </p:ext>
            </p:extLst>
          </p:nvPr>
        </p:nvGraphicFramePr>
        <p:xfrm>
          <a:off x="1" y="9862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 완료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 완료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592049"/>
              </p:ext>
            </p:extLst>
          </p:nvPr>
        </p:nvGraphicFramePr>
        <p:xfrm>
          <a:off x="9268702" y="747966"/>
          <a:ext cx="2922885" cy="3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메인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1319EBB-9219-475D-B881-AEFE6797246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07566" y="2610874"/>
            <a:ext cx="1736509" cy="384464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탈퇴 완료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A5904F7B-850D-442C-8E72-90A26815664A}"/>
              </a:ext>
            </a:extLst>
          </p:cNvPr>
          <p:cNvCxnSpPr>
            <a:cxnSpLocks/>
          </p:cNvCxnSpPr>
          <p:nvPr/>
        </p:nvCxnSpPr>
        <p:spPr>
          <a:xfrm>
            <a:off x="2493806" y="3140968"/>
            <a:ext cx="400049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67BAA9C-7C15-497E-A33B-38F1952F7C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457339" y="3420632"/>
            <a:ext cx="4036962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의 회원 탈퇴 </a:t>
            </a:r>
            <a:r>
              <a:rPr lang="ko-KR" altLang="en-US" sz="1100" b="1" strike="sngStrike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청</a:t>
            </a:r>
            <a:r>
              <a:rPr lang="ko-KR" altLang="en-US" sz="11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완료되었습니다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88B5F7E7-EBF5-4A33-B371-AA813B03880C}"/>
              </a:ext>
            </a:extLst>
          </p:cNvPr>
          <p:cNvSpPr/>
          <p:nvPr/>
        </p:nvSpPr>
        <p:spPr>
          <a:xfrm>
            <a:off x="4092919" y="4168544"/>
            <a:ext cx="974793" cy="29856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HOME</a:t>
            </a:r>
            <a:endParaRPr lang="ko-KR" altLang="en-US" sz="10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54863836-4826-42BB-8019-08A7441F8D1C}"/>
              </a:ext>
            </a:extLst>
          </p:cNvPr>
          <p:cNvSpPr/>
          <p:nvPr/>
        </p:nvSpPr>
        <p:spPr>
          <a:xfrm>
            <a:off x="3979630" y="411021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C62B123A-112A-4DEF-AFE6-1F6CAA401A6E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E890FFFC-A358-409C-9884-7922CAEEBD3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A7339C38-D5C9-416C-958A-9945C6F25C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58DE5F21-1CFB-4599-8658-882D31A30971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03154A3C-EC85-4841-94D2-45A1595FE4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4CD173C-9769-4295-A60A-744A69D39697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37241E17-DDCA-4C89-AF4C-B613ECFF8956}"/>
              </a:ext>
            </a:extLst>
          </p:cNvPr>
          <p:cNvSpPr/>
          <p:nvPr/>
        </p:nvSpPr>
        <p:spPr>
          <a:xfrm>
            <a:off x="9261385" y="1"/>
            <a:ext cx="2950181" cy="606167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탈퇴 신청이 완료되었습니다 → 탈퇴가 완료되었습니다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]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12237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935404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목적 및 기본 정보 소개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676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3A5A76D-2A1B-4980-892B-EAC494032F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0A0E35F-A1A5-4444-963B-C0E5F29DAD97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7" name="Picture 1">
            <a:extLst>
              <a:ext uri="{FF2B5EF4-FFF2-40B4-BE49-F238E27FC236}">
                <a16:creationId xmlns:a16="http://schemas.microsoft.com/office/drawing/2014/main" id="{DF9E2032-0F26-4D16-B5A1-7E095E30F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64" y="3140968"/>
            <a:ext cx="2646252" cy="1485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직사각형 26">
            <a:extLst>
              <a:ext uri="{FF2B5EF4-FFF2-40B4-BE49-F238E27FC236}">
                <a16:creationId xmlns:a16="http://schemas.microsoft.com/office/drawing/2014/main" id="{49098501-E91A-4D70-94C5-2B7D08A64202}"/>
              </a:ext>
            </a:extLst>
          </p:cNvPr>
          <p:cNvSpPr/>
          <p:nvPr/>
        </p:nvSpPr>
        <p:spPr>
          <a:xfrm>
            <a:off x="3278295" y="3147184"/>
            <a:ext cx="5431082" cy="2562698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B6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B6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기업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에 필요한 자원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 ∙ 트렌드를 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공하는 </a:t>
            </a:r>
            <a:r>
              <a:rPr kumimoji="0" lang="en-US" altLang="ko-KR" sz="10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0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 제공 플랫폼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투자자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규제기관 등 이해관계자들의 기업에 대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구가 증가하는 환경 속에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은 기업의 지속가능한 성장을 위한 필수 요소로 자리잡았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하지만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 개념이 광범위하고 아직 법적 규제 또는 이해관계자들의 판단 기준에 대한 컨센서스가 확립되지 않아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여전히 기업들의 혼란이 가중되고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급변하는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 속에서 기업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에 대한 안내자로써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전반에 대한 가이드를 제공하고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현안을 해결하기 위한 정보와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nsight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제공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응 현황에 따른 수행 필요 업무 안내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 이행 시 알아야 할 도움말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또는 평가 대응에 필요한 지식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의 정보와 트렌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리고 기업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량 내재화를 교육자료를 한 곳에서 편리하게 확인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오랜 경력과 전문성을 자랑하는 삼일 회계법인 ∙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설팅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 인력의 자문 및 컨설팅 서비스에 대한 안내도 함께 확인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는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 제공을 통해 기업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업무 수행을 지원하고 지속가능한 사회의 구성에 기여하고자 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이끌고 삼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뒷받침하는 지속가능한 미래를 위해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b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‘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의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양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뢰할 수 있는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가이드와 정보를 제공하겠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006CF57E-19E6-49AE-8971-3B724E275FEC}"/>
              </a:ext>
            </a:extLst>
          </p:cNvPr>
          <p:cNvSpPr/>
          <p:nvPr/>
        </p:nvSpPr>
        <p:spPr>
          <a:xfrm>
            <a:off x="518735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]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개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4B96F61F-AF14-43E8-A70D-1FA003041F1D}"/>
              </a:ext>
            </a:extLst>
          </p:cNvPr>
          <p:cNvSpPr/>
          <p:nvPr/>
        </p:nvSpPr>
        <p:spPr>
          <a:xfrm>
            <a:off x="186004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15BEB0A9-E4E4-4D7D-A9CF-88F6198D80F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13" t="29110" r="84071" b="8289"/>
          <a:stretch/>
        </p:blipFill>
        <p:spPr>
          <a:xfrm>
            <a:off x="1931195" y="4079783"/>
            <a:ext cx="1056427" cy="360040"/>
          </a:xfrm>
          <a:prstGeom prst="rect">
            <a:avLst/>
          </a:prstGeom>
        </p:spPr>
      </p:pic>
      <p:sp>
        <p:nvSpPr>
          <p:cNvPr id="49" name="직사각형 48">
            <a:extLst>
              <a:ext uri="{FF2B5EF4-FFF2-40B4-BE49-F238E27FC236}">
                <a16:creationId xmlns:a16="http://schemas.microsoft.com/office/drawing/2014/main" id="{4BC818B6-3B52-40D2-823D-7DD5A3D52F2C}"/>
              </a:ext>
            </a:extLst>
          </p:cNvPr>
          <p:cNvSpPr/>
          <p:nvPr/>
        </p:nvSpPr>
        <p:spPr>
          <a:xfrm>
            <a:off x="1605004" y="3905447"/>
            <a:ext cx="320562" cy="166803"/>
          </a:xfrm>
          <a:prstGeom prst="rect">
            <a:avLst/>
          </a:prstGeom>
          <a:solidFill>
            <a:schemeClr val="accent2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85F4713A-B443-421B-8499-641D63C66F02}"/>
              </a:ext>
            </a:extLst>
          </p:cNvPr>
          <p:cNvSpPr/>
          <p:nvPr/>
        </p:nvSpPr>
        <p:spPr>
          <a:xfrm>
            <a:off x="1925456" y="3738644"/>
            <a:ext cx="193920" cy="166803"/>
          </a:xfrm>
          <a:prstGeom prst="rect">
            <a:avLst/>
          </a:prstGeom>
          <a:solidFill>
            <a:srgbClr val="FFD966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9055856E-402A-48F4-9DBB-C83A212268E0}"/>
              </a:ext>
            </a:extLst>
          </p:cNvPr>
          <p:cNvSpPr/>
          <p:nvPr/>
        </p:nvSpPr>
        <p:spPr>
          <a:xfrm>
            <a:off x="2987622" y="4446900"/>
            <a:ext cx="172494" cy="179276"/>
          </a:xfrm>
          <a:prstGeom prst="rect">
            <a:avLst/>
          </a:prstGeom>
          <a:solidFill>
            <a:srgbClr val="D04A02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7643B3E8-6666-4BF4-8B9A-79B916390FEA}"/>
              </a:ext>
            </a:extLst>
          </p:cNvPr>
          <p:cNvSpPr/>
          <p:nvPr/>
        </p:nvSpPr>
        <p:spPr>
          <a:xfrm>
            <a:off x="2558066" y="3530028"/>
            <a:ext cx="156050" cy="134229"/>
          </a:xfrm>
          <a:prstGeom prst="rect">
            <a:avLst/>
          </a:prstGeom>
          <a:solidFill>
            <a:srgbClr val="C00000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36050CD6-29AD-4935-9FDE-670D7E0976F6}"/>
              </a:ext>
            </a:extLst>
          </p:cNvPr>
          <p:cNvSpPr/>
          <p:nvPr/>
        </p:nvSpPr>
        <p:spPr>
          <a:xfrm>
            <a:off x="320135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구성 안내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87673EE0-9C1E-4B22-92A4-22B39D49A326}"/>
              </a:ext>
            </a:extLst>
          </p:cNvPr>
          <p:cNvSpPr/>
          <p:nvPr/>
        </p:nvSpPr>
        <p:spPr>
          <a:xfrm>
            <a:off x="4542664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AAE195A3-3961-417C-B37A-4C0FEB135467}"/>
              </a:ext>
            </a:extLst>
          </p:cNvPr>
          <p:cNvSpPr/>
          <p:nvPr/>
        </p:nvSpPr>
        <p:spPr>
          <a:xfrm>
            <a:off x="280261" y="23646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5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kumimoji="0" lang="ko-KR" altLang="en-US" sz="75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E8BA368C-907B-43F6-9909-2AB8547150CD}"/>
              </a:ext>
            </a:extLst>
          </p:cNvPr>
          <p:cNvGrpSpPr/>
          <p:nvPr/>
        </p:nvGrpSpPr>
        <p:grpSpPr>
          <a:xfrm>
            <a:off x="8827553" y="2743635"/>
            <a:ext cx="152754" cy="3670512"/>
            <a:chOff x="9201470" y="1601344"/>
            <a:chExt cx="188139" cy="4198758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93D4FC0A-6581-41CB-96C9-82B7FA875B7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BE6E5E53-5846-4D2B-BACF-59BAC935785B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D4AC2839-96F1-44BD-99E9-902857167C08}"/>
                  </a:ext>
                </a:extLst>
              </p:cNvPr>
              <p:cNvSpPr/>
              <p:nvPr/>
            </p:nvSpPr>
            <p:spPr>
              <a:xfrm>
                <a:off x="9201495" y="1846238"/>
                <a:ext cx="188114" cy="185704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47" name="직사각형 46">
                <a:extLst>
                  <a:ext uri="{FF2B5EF4-FFF2-40B4-BE49-F238E27FC236}">
                    <a16:creationId xmlns:a16="http://schemas.microsoft.com/office/drawing/2014/main" id="{4DE87F9C-0590-4DBF-B45F-97E328F37098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37673415-E61F-4C4E-AB1A-CC40DCFCB2F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kumimoji="0" lang="ko-KR" altLang="en-US" sz="10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96397565-6EF2-4AD0-A274-3C370A388BAD}"/>
              </a:ext>
            </a:extLst>
          </p:cNvPr>
          <p:cNvSpPr/>
          <p:nvPr/>
        </p:nvSpPr>
        <p:spPr>
          <a:xfrm>
            <a:off x="483130" y="2852936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란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05E18B4-0C76-4673-9134-44F4CC34DEB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83270"/>
          <a:stretch/>
        </p:blipFill>
        <p:spPr>
          <a:xfrm>
            <a:off x="502637" y="5782797"/>
            <a:ext cx="8206740" cy="587707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81234E0B-1F5F-4E49-B332-5FD85E2E147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0709224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화살표: 오른쪽 84">
            <a:extLst>
              <a:ext uri="{FF2B5EF4-FFF2-40B4-BE49-F238E27FC236}">
                <a16:creationId xmlns:a16="http://schemas.microsoft.com/office/drawing/2014/main" id="{730EAEA3-2543-4E71-8C10-8DFE771E6071}"/>
              </a:ext>
            </a:extLst>
          </p:cNvPr>
          <p:cNvSpPr/>
          <p:nvPr/>
        </p:nvSpPr>
        <p:spPr>
          <a:xfrm>
            <a:off x="3739236" y="3661544"/>
            <a:ext cx="787880" cy="2264313"/>
          </a:xfrm>
          <a:prstGeom prst="rightArrow">
            <a:avLst>
              <a:gd name="adj1" fmla="val 87277"/>
              <a:gd name="adj2" fmla="val 3549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2" name="화살표: 오른쪽 11">
            <a:extLst>
              <a:ext uri="{FF2B5EF4-FFF2-40B4-BE49-F238E27FC236}">
                <a16:creationId xmlns:a16="http://schemas.microsoft.com/office/drawing/2014/main" id="{011CB00C-C852-4F5D-B602-5CB5EB2274E0}"/>
              </a:ext>
            </a:extLst>
          </p:cNvPr>
          <p:cNvSpPr/>
          <p:nvPr/>
        </p:nvSpPr>
        <p:spPr>
          <a:xfrm flipH="1">
            <a:off x="6104193" y="3641672"/>
            <a:ext cx="787880" cy="2264313"/>
          </a:xfrm>
          <a:prstGeom prst="rightArrow">
            <a:avLst>
              <a:gd name="adj1" fmla="val 87277"/>
              <a:gd name="adj2" fmla="val 3549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C97644A-FD9E-4D5B-9273-F72037ACE9D2}"/>
              </a:ext>
            </a:extLst>
          </p:cNvPr>
          <p:cNvSpPr/>
          <p:nvPr/>
        </p:nvSpPr>
        <p:spPr>
          <a:xfrm>
            <a:off x="4510699" y="3414065"/>
            <a:ext cx="1565328" cy="279047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DADC67A-414C-4080-B33D-A1D5BC32EE3F}"/>
              </a:ext>
            </a:extLst>
          </p:cNvPr>
          <p:cNvSpPr/>
          <p:nvPr/>
        </p:nvSpPr>
        <p:spPr>
          <a:xfrm>
            <a:off x="510883" y="3068713"/>
            <a:ext cx="8106067" cy="3231815"/>
          </a:xfrm>
          <a:prstGeom prst="rect">
            <a:avLst/>
          </a:prstGeom>
          <a:noFill/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목적 및 기본 정보 소개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kumimoji="0" lang="ko-KR" altLang="en-US" sz="10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1DC82F6-65A3-431C-AC93-C19BA6AE0ABF}"/>
              </a:ext>
            </a:extLst>
          </p:cNvPr>
          <p:cNvGrpSpPr/>
          <p:nvPr/>
        </p:nvGrpSpPr>
        <p:grpSpPr>
          <a:xfrm>
            <a:off x="607211" y="3168967"/>
            <a:ext cx="3289362" cy="3035570"/>
            <a:chOff x="5139363" y="3035033"/>
            <a:chExt cx="3289362" cy="3035570"/>
          </a:xfrm>
        </p:grpSpPr>
        <p:sp>
          <p:nvSpPr>
            <p:cNvPr id="71" name="직사각형 70">
              <a:extLst>
                <a:ext uri="{FF2B5EF4-FFF2-40B4-BE49-F238E27FC236}">
                  <a16:creationId xmlns:a16="http://schemas.microsoft.com/office/drawing/2014/main" id="{EF8108EC-CB46-406A-838C-392C39780B06}"/>
                </a:ext>
              </a:extLst>
            </p:cNvPr>
            <p:cNvSpPr/>
            <p:nvPr/>
          </p:nvSpPr>
          <p:spPr>
            <a:xfrm>
              <a:off x="5139363" y="3280131"/>
              <a:ext cx="3289362" cy="2790472"/>
            </a:xfrm>
            <a:prstGeom prst="rect">
              <a:avLst/>
            </a:prstGeom>
            <a:solidFill>
              <a:srgbClr val="DEDEDE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49098501-E91A-4D70-94C5-2B7D08A64202}"/>
                </a:ext>
              </a:extLst>
            </p:cNvPr>
            <p:cNvSpPr/>
            <p:nvPr/>
          </p:nvSpPr>
          <p:spPr>
            <a:xfrm>
              <a:off x="6304116" y="3035033"/>
              <a:ext cx="1872207" cy="223086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기업</a:t>
              </a:r>
              <a:endPara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54875103-CF3C-4B61-894C-E2898AC7C946}"/>
                </a:ext>
              </a:extLst>
            </p:cNvPr>
            <p:cNvGrpSpPr/>
            <p:nvPr/>
          </p:nvGrpSpPr>
          <p:grpSpPr>
            <a:xfrm>
              <a:off x="5248194" y="3459192"/>
              <a:ext cx="3076318" cy="710895"/>
              <a:chOff x="786865" y="3457821"/>
              <a:chExt cx="3076318" cy="710895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32CA8D3-9FF1-4076-8A0D-D1CD9CF926B9}"/>
                  </a:ext>
                </a:extLst>
              </p:cNvPr>
              <p:cNvSpPr/>
              <p:nvPr/>
            </p:nvSpPr>
            <p:spPr>
              <a:xfrm>
                <a:off x="786865" y="3460521"/>
                <a:ext cx="913711" cy="708195"/>
              </a:xfrm>
              <a:prstGeom prst="rect">
                <a:avLst/>
              </a:prstGeom>
              <a:solidFill>
                <a:schemeClr val="tx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0" marR="0" lvl="0" indent="0" algn="ctr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What to do?</a:t>
                </a:r>
              </a:p>
            </p:txBody>
          </p:sp>
          <p:sp>
            <p:nvSpPr>
              <p:cNvPr id="41" name="직사각형 40">
                <a:extLst>
                  <a:ext uri="{FF2B5EF4-FFF2-40B4-BE49-F238E27FC236}">
                    <a16:creationId xmlns:a16="http://schemas.microsoft.com/office/drawing/2014/main" id="{4B12BF98-5744-4A6E-B32B-ADC77E1C16CD}"/>
                  </a:ext>
                </a:extLst>
              </p:cNvPr>
              <p:cNvSpPr/>
              <p:nvPr/>
            </p:nvSpPr>
            <p:spPr>
              <a:xfrm>
                <a:off x="1708224" y="3457821"/>
                <a:ext cx="2154959" cy="708195"/>
              </a:xfrm>
              <a:prstGeom prst="rect">
                <a:avLst/>
              </a:prstGeom>
              <a:solidFill>
                <a:schemeClr val="bg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171450" marR="0" lvl="0" indent="-171450" algn="l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환경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·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회적 이슈에 대응하고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kumimoji="0" lang="en-US" altLang="ko-KR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경영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을 시행하기 위해 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무엇을 해야 하는가</a:t>
                </a:r>
                <a:endParaRPr kumimoji="0" lang="en-US" altLang="ko-KR" sz="8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AD41C71A-AFDC-4F69-A6F0-8BF6678D2239}"/>
                </a:ext>
              </a:extLst>
            </p:cNvPr>
            <p:cNvGrpSpPr/>
            <p:nvPr/>
          </p:nvGrpSpPr>
          <p:grpSpPr>
            <a:xfrm>
              <a:off x="5248194" y="4318628"/>
              <a:ext cx="3076318" cy="710895"/>
              <a:chOff x="786865" y="4115214"/>
              <a:chExt cx="3076318" cy="710895"/>
            </a:xfrm>
          </p:grpSpPr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110E8721-F325-44D5-8306-D6CE6CD6A4E0}"/>
                  </a:ext>
                </a:extLst>
              </p:cNvPr>
              <p:cNvSpPr/>
              <p:nvPr/>
            </p:nvSpPr>
            <p:spPr>
              <a:xfrm>
                <a:off x="786865" y="4117914"/>
                <a:ext cx="913711" cy="708195"/>
              </a:xfrm>
              <a:prstGeom prst="rect">
                <a:avLst/>
              </a:prstGeom>
              <a:solidFill>
                <a:schemeClr val="tx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0" marR="0" lvl="0" indent="0" algn="ctr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How to do?</a:t>
                </a:r>
              </a:p>
            </p:txBody>
          </p:sp>
          <p:sp>
            <p:nvSpPr>
              <p:cNvPr id="42" name="직사각형 41">
                <a:extLst>
                  <a:ext uri="{FF2B5EF4-FFF2-40B4-BE49-F238E27FC236}">
                    <a16:creationId xmlns:a16="http://schemas.microsoft.com/office/drawing/2014/main" id="{6F1BA04C-0DFA-4184-84D8-7DC1329192B6}"/>
                  </a:ext>
                </a:extLst>
              </p:cNvPr>
              <p:cNvSpPr/>
              <p:nvPr/>
            </p:nvSpPr>
            <p:spPr>
              <a:xfrm>
                <a:off x="1708224" y="4115214"/>
                <a:ext cx="2154959" cy="708195"/>
              </a:xfrm>
              <a:prstGeom prst="rect">
                <a:avLst/>
              </a:prstGeom>
              <a:solidFill>
                <a:schemeClr val="bg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171450" marR="0" lvl="0" indent="-171450" algn="l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규제</a:t>
                </a:r>
                <a:r>
                  <a:rPr kumimoji="0" lang="en-US" altLang="ko-KR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평가</a:t>
                </a:r>
                <a:r>
                  <a:rPr kumimoji="0" lang="en-US" altLang="ko-KR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, 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 등 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다양한 요구사항에 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어떻게 대응해야 하는가</a:t>
                </a:r>
                <a:endParaRPr kumimoji="0" lang="en-US" altLang="ko-KR" sz="8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7020A2C2-17F7-4AB1-B4B7-3163D87AD466}"/>
                </a:ext>
              </a:extLst>
            </p:cNvPr>
            <p:cNvGrpSpPr/>
            <p:nvPr/>
          </p:nvGrpSpPr>
          <p:grpSpPr>
            <a:xfrm>
              <a:off x="5248194" y="5166377"/>
              <a:ext cx="3076318" cy="710895"/>
              <a:chOff x="786865" y="4763286"/>
              <a:chExt cx="3076318" cy="710895"/>
            </a:xfrm>
          </p:grpSpPr>
          <p:sp>
            <p:nvSpPr>
              <p:cNvPr id="40" name="직사각형 39">
                <a:extLst>
                  <a:ext uri="{FF2B5EF4-FFF2-40B4-BE49-F238E27FC236}">
                    <a16:creationId xmlns:a16="http://schemas.microsoft.com/office/drawing/2014/main" id="{F031DA1C-05BE-4137-A593-39C079F7FE15}"/>
                  </a:ext>
                </a:extLst>
              </p:cNvPr>
              <p:cNvSpPr/>
              <p:nvPr/>
            </p:nvSpPr>
            <p:spPr>
              <a:xfrm>
                <a:off x="786865" y="4765986"/>
                <a:ext cx="913711" cy="708195"/>
              </a:xfrm>
              <a:prstGeom prst="rect">
                <a:avLst/>
              </a:prstGeom>
              <a:solidFill>
                <a:schemeClr val="tx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0" marR="0" lvl="0" indent="0" algn="ctr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What to know?</a:t>
                </a:r>
              </a:p>
            </p:txBody>
          </p:sp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7F435542-82C3-4C51-86F2-ED0CB5FF94FA}"/>
                  </a:ext>
                </a:extLst>
              </p:cNvPr>
              <p:cNvSpPr/>
              <p:nvPr/>
            </p:nvSpPr>
            <p:spPr>
              <a:xfrm>
                <a:off x="1708224" y="4763286"/>
                <a:ext cx="2154959" cy="708195"/>
              </a:xfrm>
              <a:prstGeom prst="rect">
                <a:avLst/>
              </a:prstGeom>
              <a:solidFill>
                <a:schemeClr val="bg1"/>
              </a:solidFill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109720" rIns="36000" bIns="109720" numCol="1" spcCol="38100" rtlCol="0" anchor="ctr">
                <a:noAutofit/>
              </a:bodyPr>
              <a:lstStyle/>
              <a:p>
                <a:pPr marL="171450" marR="0" lvl="0" indent="-171450" algn="l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새롭게 등장하는 규제와 현안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은 무엇인가</a:t>
                </a:r>
                <a:endPara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L="171450" marR="0" lvl="0" indent="-171450" algn="l" defTabSz="2437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확인해야 할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kumimoji="0" lang="ko-KR" altLang="en-US" sz="8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트렌드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가 있는가</a:t>
                </a:r>
                <a:endPara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A611AE3-052B-4540-8480-E709ACBF8BA6}"/>
              </a:ext>
            </a:extLst>
          </p:cNvPr>
          <p:cNvGrpSpPr/>
          <p:nvPr/>
        </p:nvGrpSpPr>
        <p:grpSpPr>
          <a:xfrm>
            <a:off x="4588800" y="3763297"/>
            <a:ext cx="1354307" cy="2387118"/>
            <a:chOff x="2634860" y="3280131"/>
            <a:chExt cx="1354307" cy="2790472"/>
          </a:xfrm>
          <a:solidFill>
            <a:schemeClr val="bg1"/>
          </a:solidFill>
        </p:grpSpPr>
        <p:sp>
          <p:nvSpPr>
            <p:cNvPr id="53" name="사각형: 둥근 모서리 52">
              <a:extLst>
                <a:ext uri="{FF2B5EF4-FFF2-40B4-BE49-F238E27FC236}">
                  <a16:creationId xmlns:a16="http://schemas.microsoft.com/office/drawing/2014/main" id="{5E40A078-5CF1-4185-AFDE-A38F2AA41545}"/>
                </a:ext>
              </a:extLst>
            </p:cNvPr>
            <p:cNvSpPr/>
            <p:nvPr/>
          </p:nvSpPr>
          <p:spPr>
            <a:xfrm>
              <a:off x="2634860" y="3280131"/>
              <a:ext cx="1354307" cy="511406"/>
            </a:xfrm>
            <a:prstGeom prst="roundRect">
              <a:avLst/>
            </a:prstGeom>
            <a:grpFill/>
            <a:ln w="3175" cap="flat">
              <a:solidFill>
                <a:schemeClr val="accent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활동</a:t>
              </a:r>
              <a:b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가진단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이드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4" name="사각형: 둥근 모서리 53">
              <a:extLst>
                <a:ext uri="{FF2B5EF4-FFF2-40B4-BE49-F238E27FC236}">
                  <a16:creationId xmlns:a16="http://schemas.microsoft.com/office/drawing/2014/main" id="{F64041A6-50CE-4EDA-9527-314933AE5F89}"/>
                </a:ext>
              </a:extLst>
            </p:cNvPr>
            <p:cNvSpPr/>
            <p:nvPr/>
          </p:nvSpPr>
          <p:spPr>
            <a:xfrm>
              <a:off x="2634860" y="3849898"/>
              <a:ext cx="1354307" cy="511406"/>
            </a:xfrm>
            <a:prstGeom prst="roundRect">
              <a:avLst/>
            </a:prstGeom>
            <a:grpFill/>
            <a:ln w="3175" cap="flat">
              <a:solidFill>
                <a:schemeClr val="accent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 </a:t>
              </a:r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슈별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 defTabSz="2437985"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개념 및 전문가 의견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</a:p>
            <a:p>
              <a:pPr algn="ctr" defTabSz="2437985"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2" name="사각형: 둥근 모서리 61">
              <a:extLst>
                <a:ext uri="{FF2B5EF4-FFF2-40B4-BE49-F238E27FC236}">
                  <a16:creationId xmlns:a16="http://schemas.microsoft.com/office/drawing/2014/main" id="{E2947F9C-29CB-414A-8694-F8A6FFB9C96B}"/>
                </a:ext>
              </a:extLst>
            </p:cNvPr>
            <p:cNvSpPr/>
            <p:nvPr/>
          </p:nvSpPr>
          <p:spPr>
            <a:xfrm>
              <a:off x="2634860" y="4419665"/>
              <a:ext cx="1354307" cy="511406"/>
            </a:xfrm>
            <a:prstGeom prst="roundRect">
              <a:avLst/>
            </a:prstGeom>
            <a:grpFill/>
            <a:ln w="3175" cap="flat">
              <a:solidFill>
                <a:schemeClr val="accent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·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응</a:t>
              </a:r>
              <a:b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설과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참고자료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3" name="사각형: 둥근 모서리 62">
              <a:extLst>
                <a:ext uri="{FF2B5EF4-FFF2-40B4-BE49-F238E27FC236}">
                  <a16:creationId xmlns:a16="http://schemas.microsoft.com/office/drawing/2014/main" id="{9FE8C989-36F9-4D76-AF9A-F3910D26E2A2}"/>
                </a:ext>
              </a:extLst>
            </p:cNvPr>
            <p:cNvSpPr/>
            <p:nvPr/>
          </p:nvSpPr>
          <p:spPr>
            <a:xfrm>
              <a:off x="2634860" y="5559197"/>
              <a:ext cx="1354307" cy="511406"/>
            </a:xfrm>
            <a:prstGeom prst="roundRect">
              <a:avLst/>
            </a:prstGeom>
            <a:grpFill/>
            <a:ln w="3175" cap="flat">
              <a:solidFill>
                <a:schemeClr val="accent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교육 커리큘럼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</a:t>
              </a:r>
              <a:b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교육 영상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4" name="사각형: 둥근 모서리 63">
              <a:extLst>
                <a:ext uri="{FF2B5EF4-FFF2-40B4-BE49-F238E27FC236}">
                  <a16:creationId xmlns:a16="http://schemas.microsoft.com/office/drawing/2014/main" id="{E2F62B53-0B1B-495B-8AE6-B7D37957CB7A}"/>
                </a:ext>
              </a:extLst>
            </p:cNvPr>
            <p:cNvSpPr/>
            <p:nvPr/>
          </p:nvSpPr>
          <p:spPr>
            <a:xfrm>
              <a:off x="2634860" y="4989432"/>
              <a:ext cx="1354307" cy="511406"/>
            </a:xfrm>
            <a:prstGeom prst="roundRect">
              <a:avLst/>
            </a:prstGeom>
            <a:grpFill/>
            <a:ln w="3175" cap="flat">
              <a:solidFill>
                <a:schemeClr val="accent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 뉴스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b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요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F4C09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정 안내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F131D43B-B017-4389-85F5-B27E9A92DC16}"/>
              </a:ext>
            </a:extLst>
          </p:cNvPr>
          <p:cNvSpPr/>
          <p:nvPr/>
        </p:nvSpPr>
        <p:spPr>
          <a:xfrm>
            <a:off x="6863314" y="3398465"/>
            <a:ext cx="1565328" cy="2790472"/>
          </a:xfrm>
          <a:prstGeom prst="rect">
            <a:avLst/>
          </a:prstGeom>
          <a:solidFill>
            <a:srgbClr val="DEDEDE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9DED32BF-8038-4E62-90AF-24FAA651B47D}"/>
              </a:ext>
            </a:extLst>
          </p:cNvPr>
          <p:cNvSpPr/>
          <p:nvPr/>
        </p:nvSpPr>
        <p:spPr>
          <a:xfrm>
            <a:off x="6804896" y="3140721"/>
            <a:ext cx="1603967" cy="223086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전문가 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23BF765F-4515-489E-8B5E-609F59930114}"/>
              </a:ext>
            </a:extLst>
          </p:cNvPr>
          <p:cNvGrpSpPr/>
          <p:nvPr/>
        </p:nvGrpSpPr>
        <p:grpSpPr>
          <a:xfrm>
            <a:off x="6922929" y="4991514"/>
            <a:ext cx="1449495" cy="1095008"/>
            <a:chOff x="-1363080" y="4787090"/>
            <a:chExt cx="1449495" cy="1181098"/>
          </a:xfrm>
        </p:grpSpPr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D2C09249-305D-4D11-B3F6-8EE3F6E56752}"/>
                </a:ext>
              </a:extLst>
            </p:cNvPr>
            <p:cNvSpPr/>
            <p:nvPr/>
          </p:nvSpPr>
          <p:spPr>
            <a:xfrm>
              <a:off x="-1363080" y="4787090"/>
              <a:ext cx="1449495" cy="36253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R="0" lvl="0" indent="0" algn="ctr" defTabSz="2437985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거버넌스센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4EA85FD3-91FE-46D6-8EA5-2F66A53662ED}"/>
                </a:ext>
              </a:extLst>
            </p:cNvPr>
            <p:cNvSpPr/>
            <p:nvPr/>
          </p:nvSpPr>
          <p:spPr>
            <a:xfrm>
              <a:off x="-1363080" y="5605654"/>
              <a:ext cx="1449495" cy="36253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인포마인</a:t>
              </a:r>
              <a:b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(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삼일</a:t>
              </a:r>
              <a:r>
                <a:rPr kumimoji="0" lang="en-US" altLang="ko-KR" sz="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i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닷컴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E6E034D8-CA1F-4614-9B5A-AF80DD5B3648}"/>
                </a:ext>
              </a:extLst>
            </p:cNvPr>
            <p:cNvSpPr/>
            <p:nvPr/>
          </p:nvSpPr>
          <p:spPr>
            <a:xfrm>
              <a:off x="-1363080" y="5196372"/>
              <a:ext cx="1449495" cy="36253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>
                <a:spcAft>
                  <a:spcPts val="600"/>
                </a:spcAft>
                <a:defRPr/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아카데미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id="{1BAD3841-5A31-4DF6-A9A2-A72AB4F7F665}"/>
              </a:ext>
            </a:extLst>
          </p:cNvPr>
          <p:cNvGrpSpPr/>
          <p:nvPr/>
        </p:nvGrpSpPr>
        <p:grpSpPr>
          <a:xfrm>
            <a:off x="6922929" y="3479062"/>
            <a:ext cx="1449495" cy="1477794"/>
            <a:chOff x="-1363080" y="3360728"/>
            <a:chExt cx="1449495" cy="1379614"/>
          </a:xfrm>
        </p:grpSpPr>
        <p:sp>
          <p:nvSpPr>
            <p:cNvPr id="89" name="사각형: 둥근 모서리 88">
              <a:extLst>
                <a:ext uri="{FF2B5EF4-FFF2-40B4-BE49-F238E27FC236}">
                  <a16:creationId xmlns:a16="http://schemas.microsoft.com/office/drawing/2014/main" id="{150CD9A7-11C8-4798-8171-BA932C09AD51}"/>
                </a:ext>
              </a:extLst>
            </p:cNvPr>
            <p:cNvSpPr/>
            <p:nvPr/>
          </p:nvSpPr>
          <p:spPr>
            <a:xfrm>
              <a:off x="-1363080" y="4115870"/>
              <a:ext cx="1449495" cy="624472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>
                <a:spcAft>
                  <a:spcPts val="600"/>
                </a:spcAft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wC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설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171450" marR="0" lvl="0" indent="-17145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ial Services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본부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171450" marR="0" lvl="0" indent="-17145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e, Risk &amp; Compliance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본부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EFFE4A2F-B152-4F14-9414-202FBA0A2598}"/>
                </a:ext>
              </a:extLst>
            </p:cNvPr>
            <p:cNvSpPr/>
            <p:nvPr/>
          </p:nvSpPr>
          <p:spPr>
            <a:xfrm>
              <a:off x="-1363080" y="3360728"/>
              <a:ext cx="1449495" cy="708394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171450" marR="0" lvl="0" indent="-17145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Assurance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본부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171450" marR="0" lvl="0" indent="-17145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Deal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본부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171450" marR="0" lvl="0" indent="-17145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ax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본부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CF533ABB-5B79-45E5-9EE6-1CF805262F7B}"/>
              </a:ext>
            </a:extLst>
          </p:cNvPr>
          <p:cNvSpPr/>
          <p:nvPr/>
        </p:nvSpPr>
        <p:spPr>
          <a:xfrm>
            <a:off x="4614834" y="3156321"/>
            <a:ext cx="1349978" cy="223086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848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848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848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848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848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FD0E255A-AE4F-44AF-8AC8-CF7B46FC6E5E}"/>
              </a:ext>
            </a:extLst>
          </p:cNvPr>
          <p:cNvSpPr/>
          <p:nvPr/>
        </p:nvSpPr>
        <p:spPr>
          <a:xfrm>
            <a:off x="466676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개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DC27AE12-5DF1-4681-8288-D671E810C3EE}"/>
              </a:ext>
            </a:extLst>
          </p:cNvPr>
          <p:cNvSpPr/>
          <p:nvPr/>
        </p:nvSpPr>
        <p:spPr>
          <a:xfrm>
            <a:off x="180798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0E865C23-FE3A-44D5-94CC-33A6AF53B863}"/>
              </a:ext>
            </a:extLst>
          </p:cNvPr>
          <p:cNvSpPr/>
          <p:nvPr/>
        </p:nvSpPr>
        <p:spPr>
          <a:xfrm>
            <a:off x="314929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구성 안내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3BED6273-3C41-48A8-938A-8B246A4AAC3D}"/>
              </a:ext>
            </a:extLst>
          </p:cNvPr>
          <p:cNvSpPr/>
          <p:nvPr/>
        </p:nvSpPr>
        <p:spPr>
          <a:xfrm>
            <a:off x="449060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79C1219A-8169-4AB7-BB56-944F40113912}"/>
              </a:ext>
            </a:extLst>
          </p:cNvPr>
          <p:cNvGrpSpPr/>
          <p:nvPr/>
        </p:nvGrpSpPr>
        <p:grpSpPr>
          <a:xfrm>
            <a:off x="8827553" y="2743635"/>
            <a:ext cx="152754" cy="3670512"/>
            <a:chOff x="9201470" y="1601344"/>
            <a:chExt cx="188139" cy="4198758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9159423B-AA47-42C6-A1FE-072B63D480EB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2" name="그룹 81">
              <a:extLst>
                <a:ext uri="{FF2B5EF4-FFF2-40B4-BE49-F238E27FC236}">
                  <a16:creationId xmlns:a16="http://schemas.microsoft.com/office/drawing/2014/main" id="{5C31A6A8-4FB7-4502-AE72-0E68A8BCB0A6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6CBED3FE-E5E5-4697-A012-72E0AF9944FD}"/>
                  </a:ext>
                </a:extLst>
              </p:cNvPr>
              <p:cNvSpPr/>
              <p:nvPr/>
            </p:nvSpPr>
            <p:spPr>
              <a:xfrm>
                <a:off x="9201495" y="3703282"/>
                <a:ext cx="188114" cy="185704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7F15EECA-DF94-4E76-B5E5-1EBED51A7CA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646F1003-6E96-40FC-A42B-0BC2DADAE646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E439244-C0DC-4F09-BC76-6B41B8B602D5}"/>
              </a:ext>
            </a:extLst>
          </p:cNvPr>
          <p:cNvSpPr/>
          <p:nvPr/>
        </p:nvSpPr>
        <p:spPr>
          <a:xfrm>
            <a:off x="6150747" y="4368203"/>
            <a:ext cx="696681" cy="781944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내</a:t>
            </a:r>
            <a:endParaRPr kumimoji="0" lang="en-US" altLang="ko-KR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양한</a:t>
            </a:r>
            <a:b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</a:t>
            </a:r>
            <a:b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식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보</a:t>
            </a:r>
            <a:b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통합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40163321-5E45-4532-BC8A-1759587EF24F}"/>
              </a:ext>
            </a:extLst>
          </p:cNvPr>
          <p:cNvSpPr/>
          <p:nvPr/>
        </p:nvSpPr>
        <p:spPr>
          <a:xfrm>
            <a:off x="3798590" y="4347823"/>
            <a:ext cx="696681" cy="781944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기업의 다양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eeds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1F2A33DF-D3EA-4A3E-8478-A2FA4AA32EEB}"/>
              </a:ext>
            </a:extLst>
          </p:cNvPr>
          <p:cNvSpPr/>
          <p:nvPr/>
        </p:nvSpPr>
        <p:spPr>
          <a:xfrm>
            <a:off x="420936" y="2800184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목적과 역할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8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E864B36-6756-4180-A809-AABF526A93E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CFA91433-D125-438A-957E-2E43B12B3AD5}"/>
              </a:ext>
            </a:extLst>
          </p:cNvPr>
          <p:cNvSpPr/>
          <p:nvPr/>
        </p:nvSpPr>
        <p:spPr>
          <a:xfrm>
            <a:off x="9253742" y="-10947"/>
            <a:ext cx="2950181" cy="511073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5&gt;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∙ 삼일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목적과 역할 이미지 구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 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4D5CD562-18C2-47A5-B057-E0E5EFF45C2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1A0B4C83-9439-45B0-BEAA-C437F5775ED1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4701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47873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서비스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PwC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설팅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문 및 컨설팅 서비스 소개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kumimoji="0" lang="ko-KR" altLang="en-US" sz="10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5E515215-06B7-47D5-A128-76F72CED0EE9}"/>
              </a:ext>
            </a:extLst>
          </p:cNvPr>
          <p:cNvSpPr/>
          <p:nvPr/>
        </p:nvSpPr>
        <p:spPr>
          <a:xfrm>
            <a:off x="1343472" y="3270890"/>
            <a:ext cx="2232000" cy="279931"/>
          </a:xfrm>
          <a:prstGeom prst="homePlate">
            <a:avLst>
              <a:gd name="adj" fmla="val 24873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전략 ∙ 계획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59B17CB6-2CD3-4952-9CAC-0275892A1E13}"/>
              </a:ext>
            </a:extLst>
          </p:cNvPr>
          <p:cNvSpPr/>
          <p:nvPr/>
        </p:nvSpPr>
        <p:spPr>
          <a:xfrm>
            <a:off x="442536" y="3025768"/>
            <a:ext cx="8105105" cy="20479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과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설팅은 기업이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을 위한 전략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야별 과제 실행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을 지원하고자 자문과 컨설팅 서비스를 제공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45" name="화살표: 오각형 44">
            <a:extLst>
              <a:ext uri="{FF2B5EF4-FFF2-40B4-BE49-F238E27FC236}">
                <a16:creationId xmlns:a16="http://schemas.microsoft.com/office/drawing/2014/main" id="{0016C07F-4758-478E-800C-B1E618A72767}"/>
              </a:ext>
            </a:extLst>
          </p:cNvPr>
          <p:cNvSpPr/>
          <p:nvPr/>
        </p:nvSpPr>
        <p:spPr>
          <a:xfrm>
            <a:off x="3773876" y="3270890"/>
            <a:ext cx="2232000" cy="279931"/>
          </a:xfrm>
          <a:prstGeom prst="homePlate">
            <a:avLst>
              <a:gd name="adj" fmla="val 28014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과제이행</a:t>
            </a:r>
          </a:p>
        </p:txBody>
      </p:sp>
      <p:sp>
        <p:nvSpPr>
          <p:cNvPr id="46" name="화살표: 오각형 45">
            <a:extLst>
              <a:ext uri="{FF2B5EF4-FFF2-40B4-BE49-F238E27FC236}">
                <a16:creationId xmlns:a16="http://schemas.microsoft.com/office/drawing/2014/main" id="{D9EE80EC-E70D-4116-8E8A-D963CA3C33FC}"/>
              </a:ext>
            </a:extLst>
          </p:cNvPr>
          <p:cNvSpPr/>
          <p:nvPr/>
        </p:nvSpPr>
        <p:spPr>
          <a:xfrm>
            <a:off x="6204280" y="3270890"/>
            <a:ext cx="2232000" cy="279931"/>
          </a:xfrm>
          <a:prstGeom prst="homePlate">
            <a:avLst>
              <a:gd name="adj" fmla="val 31154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공시 ∙ 인증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3EAF7FBE-5B75-49DC-82E7-FFE5F159CB82}"/>
              </a:ext>
            </a:extLst>
          </p:cNvPr>
          <p:cNvSpPr/>
          <p:nvPr/>
        </p:nvSpPr>
        <p:spPr>
          <a:xfrm>
            <a:off x="1343472" y="3620325"/>
            <a:ext cx="2232000" cy="685482"/>
          </a:xfrm>
          <a:prstGeom prst="rect">
            <a:avLst/>
          </a:prstGeom>
          <a:solidFill>
            <a:srgbClr val="DEDEDE">
              <a:alpha val="4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과 목표 수립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과제와 중장기 계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을 위한 관리체계 수립을 지원하는</a:t>
            </a:r>
            <a:b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설팅 서비스를 제공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.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71408E10-C6A0-4785-89F2-6C71EB3238ED}"/>
              </a:ext>
            </a:extLst>
          </p:cNvPr>
          <p:cNvSpPr/>
          <p:nvPr/>
        </p:nvSpPr>
        <p:spPr>
          <a:xfrm>
            <a:off x="3773876" y="3620325"/>
            <a:ext cx="2232000" cy="685482"/>
          </a:xfrm>
          <a:prstGeom prst="rect">
            <a:avLst/>
          </a:prstGeom>
          <a:solidFill>
            <a:srgbClr val="DEDEDE">
              <a:alpha val="4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제별 정책과 프로그램 기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운영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니터링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성과측정 등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전반에 대한 자문을 제공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시스템 기획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설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축을 지원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55E24B44-E0BB-4AFE-9860-194BF3DB253F}"/>
              </a:ext>
            </a:extLst>
          </p:cNvPr>
          <p:cNvSpPr/>
          <p:nvPr/>
        </p:nvSpPr>
        <p:spPr>
          <a:xfrm>
            <a:off x="6204280" y="3620325"/>
            <a:ext cx="2232000" cy="685482"/>
          </a:xfrm>
          <a:prstGeom prst="rect">
            <a:avLst/>
          </a:prstGeom>
          <a:solidFill>
            <a:srgbClr val="DEDEDE">
              <a:alpha val="4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투명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정보 공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객관적인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b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급 평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신뢰성 확보를 위한</a:t>
            </a:r>
            <a:b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 인증을 지원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363828DE-5F7C-4959-9274-C0E96371D845}"/>
              </a:ext>
            </a:extLst>
          </p:cNvPr>
          <p:cNvSpPr/>
          <p:nvPr/>
        </p:nvSpPr>
        <p:spPr>
          <a:xfrm>
            <a:off x="479376" y="3731647"/>
            <a:ext cx="818625" cy="327842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서비스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소개</a:t>
            </a: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142C48FC-D9DA-4599-B706-0ECD1D632AE6}"/>
              </a:ext>
            </a:extLst>
          </p:cNvPr>
          <p:cNvSpPr/>
          <p:nvPr/>
        </p:nvSpPr>
        <p:spPr>
          <a:xfrm>
            <a:off x="46667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소개</a:t>
            </a: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FF1D3A02-EE51-4C72-9D5E-F87483585B56}"/>
              </a:ext>
            </a:extLst>
          </p:cNvPr>
          <p:cNvSpPr/>
          <p:nvPr/>
        </p:nvSpPr>
        <p:spPr>
          <a:xfrm>
            <a:off x="1807986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B282FC23-9E06-4427-8BFB-D129C04F06F3}"/>
              </a:ext>
            </a:extLst>
          </p:cNvPr>
          <p:cNvSpPr/>
          <p:nvPr/>
        </p:nvSpPr>
        <p:spPr>
          <a:xfrm>
            <a:off x="314929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구성 안내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11918BF7-02E6-4998-8722-A319F70DF822}"/>
              </a:ext>
            </a:extLst>
          </p:cNvPr>
          <p:cNvSpPr/>
          <p:nvPr/>
        </p:nvSpPr>
        <p:spPr>
          <a:xfrm>
            <a:off x="449060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3B236239-1933-4BA0-B8BA-5B37E06586E1}"/>
              </a:ext>
            </a:extLst>
          </p:cNvPr>
          <p:cNvGrpSpPr/>
          <p:nvPr/>
        </p:nvGrpSpPr>
        <p:grpSpPr>
          <a:xfrm>
            <a:off x="8827553" y="2743635"/>
            <a:ext cx="152754" cy="3670512"/>
            <a:chOff x="9201470" y="1601344"/>
            <a:chExt cx="188139" cy="4198758"/>
          </a:xfrm>
        </p:grpSpPr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13EFB750-D85E-4406-B434-AECE41970ABE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E95980FB-6884-49C5-BE8F-AAC6DBD77B9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20440C68-897E-440F-A9A4-5ABAC71E66A0}"/>
                  </a:ext>
                </a:extLst>
              </p:cNvPr>
              <p:cNvSpPr/>
              <p:nvPr/>
            </p:nvSpPr>
            <p:spPr>
              <a:xfrm>
                <a:off x="9201495" y="189357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6" name="직사각형 55">
                <a:extLst>
                  <a:ext uri="{FF2B5EF4-FFF2-40B4-BE49-F238E27FC236}">
                    <a16:creationId xmlns:a16="http://schemas.microsoft.com/office/drawing/2014/main" id="{B57DD697-9592-4AE8-BC79-28F2325AB38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9F3B0B03-9067-4934-8527-97679ECD7D0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9B20D9B8-63F8-46E7-9E8C-9165A3F1BAE7}"/>
              </a:ext>
            </a:extLst>
          </p:cNvPr>
          <p:cNvGrpSpPr/>
          <p:nvPr/>
        </p:nvGrpSpPr>
        <p:grpSpPr>
          <a:xfrm>
            <a:off x="479376" y="4370927"/>
            <a:ext cx="7956904" cy="1964769"/>
            <a:chOff x="479376" y="4256256"/>
            <a:chExt cx="7956904" cy="2047979"/>
          </a:xfrm>
        </p:grpSpPr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811F2CF3-F723-47AC-A462-702D6C936D96}"/>
                </a:ext>
              </a:extLst>
            </p:cNvPr>
            <p:cNvSpPr/>
            <p:nvPr/>
          </p:nvSpPr>
          <p:spPr>
            <a:xfrm>
              <a:off x="6204280" y="4256257"/>
              <a:ext cx="2232000" cy="20442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 지원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경영보고서 작성 자문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적 발간을 위한 내부 프로세스 정립과 작성 교육체계 수립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SRD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 규제에 따른 공시 대응</a:t>
              </a:r>
            </a:p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외부기관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대응 지원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indent="-144000">
                <a:buFont typeface="Wingdings" panose="05000000000000000000" pitchFamily="2" charset="2"/>
                <a:buChar char="§"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업내부현황 진단 및 대응 방안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indent="-144000">
                <a:buFont typeface="Wingdings" panose="05000000000000000000" pitchFamily="2" charset="2"/>
                <a:buChar char="§"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외부 평가 대응 프로세스 및 개선 전략 수립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보에 대한 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 인증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경영보고서 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 인증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채권 발행 사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후 외부 검토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1" name="직선 연결선 70">
              <a:extLst>
                <a:ext uri="{FF2B5EF4-FFF2-40B4-BE49-F238E27FC236}">
                  <a16:creationId xmlns:a16="http://schemas.microsoft.com/office/drawing/2014/main" id="{3BA29C43-3AED-4A79-8D39-1F5C322C8763}"/>
                </a:ext>
              </a:extLst>
            </p:cNvPr>
            <p:cNvCxnSpPr>
              <a:cxnSpLocks/>
            </p:cNvCxnSpPr>
            <p:nvPr/>
          </p:nvCxnSpPr>
          <p:spPr>
            <a:xfrm>
              <a:off x="6204280" y="6300529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65D24818-A6AC-439D-9BD9-5527D5FD9B8C}"/>
                </a:ext>
              </a:extLst>
            </p:cNvPr>
            <p:cNvCxnSpPr>
              <a:cxnSpLocks/>
            </p:cNvCxnSpPr>
            <p:nvPr/>
          </p:nvCxnSpPr>
          <p:spPr>
            <a:xfrm>
              <a:off x="6204280" y="4256257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1ACE2340-C792-4D43-8F98-FA41561F987E}"/>
                </a:ext>
              </a:extLst>
            </p:cNvPr>
            <p:cNvSpPr/>
            <p:nvPr/>
          </p:nvSpPr>
          <p:spPr>
            <a:xfrm>
              <a:off x="3773876" y="4256256"/>
              <a:ext cx="2322124" cy="20479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제별 과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행 방안 수립 컨설팅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Net Zero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략 및 이행방안 수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니셔티브 대응 등 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 공급망 구축 등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점의 내부회계 관리제도 개편 등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반의 투자체계 수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채권 발행 </a:t>
              </a:r>
              <a:r>
                <a:rPr kumimoji="0" lang="ko-KR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등</a:t>
              </a:r>
              <a:endPara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적 가치 영향 평가 컨설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>
                <a:spcBef>
                  <a:spcPts val="1200"/>
                </a:spcBef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경영을 위한 시스템 구축 컨설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indent="-144000">
                <a:buFont typeface="Wingdings" panose="05000000000000000000" pitchFamily="2" charset="2"/>
                <a:buChar char="§"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 지표 산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리포팅 시스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데이터 플랫폼 등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1C8F7672-2BD7-4FA0-AA90-81D46399FD16}"/>
                </a:ext>
              </a:extLst>
            </p:cNvPr>
            <p:cNvCxnSpPr>
              <a:cxnSpLocks/>
            </p:cNvCxnSpPr>
            <p:nvPr/>
          </p:nvCxnSpPr>
          <p:spPr>
            <a:xfrm>
              <a:off x="3773876" y="6304235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79" name="직선 연결선 78">
              <a:extLst>
                <a:ext uri="{FF2B5EF4-FFF2-40B4-BE49-F238E27FC236}">
                  <a16:creationId xmlns:a16="http://schemas.microsoft.com/office/drawing/2014/main" id="{DE1013C5-1666-4591-A064-4A054C39EB38}"/>
                </a:ext>
              </a:extLst>
            </p:cNvPr>
            <p:cNvCxnSpPr>
              <a:cxnSpLocks/>
            </p:cNvCxnSpPr>
            <p:nvPr/>
          </p:nvCxnSpPr>
          <p:spPr>
            <a:xfrm>
              <a:off x="3773876" y="4256256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DACE3702-CA85-4253-9397-5E688CED8CB7}"/>
                </a:ext>
              </a:extLst>
            </p:cNvPr>
            <p:cNvSpPr/>
            <p:nvPr/>
          </p:nvSpPr>
          <p:spPr>
            <a:xfrm>
              <a:off x="1343472" y="4256256"/>
              <a:ext cx="2232000" cy="20479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defRPr/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계 경영전략 수립 컨설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전 ∙ 전략 수립 및 핵심 가치체계 재정립</a:t>
              </a: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중장기 로드맵 수립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marR="0" lvl="0" indent="-14400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목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세부 과제 수립 등</a:t>
              </a:r>
            </a:p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리체계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수립 컨설팅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288000" indent="-144000">
                <a:buFont typeface="Wingdings" panose="05000000000000000000" pitchFamily="2" charset="2"/>
                <a:buChar char="§"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Rule &amp; Policy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설정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재정비</a:t>
              </a:r>
            </a:p>
            <a:p>
              <a:pPr marL="288000" indent="-144000">
                <a:buFont typeface="Wingdings" panose="05000000000000000000" pitchFamily="2" charset="2"/>
                <a:buChar char="§"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영역별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KPI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정의 등</a:t>
              </a:r>
            </a:p>
          </p:txBody>
        </p:sp>
        <p:cxnSp>
          <p:nvCxnSpPr>
            <p:cNvPr id="82" name="직선 연결선 81">
              <a:extLst>
                <a:ext uri="{FF2B5EF4-FFF2-40B4-BE49-F238E27FC236}">
                  <a16:creationId xmlns:a16="http://schemas.microsoft.com/office/drawing/2014/main" id="{290726A8-BE91-4233-830C-C1F5E22A8950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6304235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83" name="직선 연결선 82">
              <a:extLst>
                <a:ext uri="{FF2B5EF4-FFF2-40B4-BE49-F238E27FC236}">
                  <a16:creationId xmlns:a16="http://schemas.microsoft.com/office/drawing/2014/main" id="{41548BE6-0AC4-47DB-B3FA-8917F11B7A3A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4256256"/>
              <a:ext cx="2232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CD0E8BE7-8335-4072-A3B0-CB85E8C3BF59}"/>
                </a:ext>
              </a:extLst>
            </p:cNvPr>
            <p:cNvSpPr/>
            <p:nvPr/>
          </p:nvSpPr>
          <p:spPr>
            <a:xfrm>
              <a:off x="479376" y="4326137"/>
              <a:ext cx="818625" cy="327841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서비스</a:t>
              </a:r>
              <a:b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세부 유형 </a:t>
              </a:r>
            </a:p>
          </p:txBody>
        </p:sp>
        <p:cxnSp>
          <p:nvCxnSpPr>
            <p:cNvPr id="57" name="직선 연결선 56">
              <a:extLst>
                <a:ext uri="{FF2B5EF4-FFF2-40B4-BE49-F238E27FC236}">
                  <a16:creationId xmlns:a16="http://schemas.microsoft.com/office/drawing/2014/main" id="{B0B8644A-D2BD-4BCA-B0BC-7F093FFFAEDA}"/>
                </a:ext>
              </a:extLst>
            </p:cNvPr>
            <p:cNvCxnSpPr>
              <a:cxnSpLocks/>
            </p:cNvCxnSpPr>
            <p:nvPr/>
          </p:nvCxnSpPr>
          <p:spPr>
            <a:xfrm>
              <a:off x="518735" y="4256256"/>
              <a:ext cx="680721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58" name="직선 연결선 57">
              <a:extLst>
                <a:ext uri="{FF2B5EF4-FFF2-40B4-BE49-F238E27FC236}">
                  <a16:creationId xmlns:a16="http://schemas.microsoft.com/office/drawing/2014/main" id="{5439FDC1-4E03-4184-B7C8-8A046833E984}"/>
                </a:ext>
              </a:extLst>
            </p:cNvPr>
            <p:cNvCxnSpPr>
              <a:cxnSpLocks/>
            </p:cNvCxnSpPr>
            <p:nvPr/>
          </p:nvCxnSpPr>
          <p:spPr>
            <a:xfrm>
              <a:off x="518735" y="6300528"/>
              <a:ext cx="680721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EE12C1C-5485-4E48-A0A6-2C294E87D0C2}"/>
              </a:ext>
            </a:extLst>
          </p:cNvPr>
          <p:cNvSpPr/>
          <p:nvPr/>
        </p:nvSpPr>
        <p:spPr>
          <a:xfrm>
            <a:off x="420936" y="2817768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에서 제공하는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716E46C7-2A88-4A01-A601-12880D9C60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E216AC04-1DF7-4B19-85D0-E62A1DE50B1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8FA95B20-C158-40D9-9A5D-7145274D1200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8135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680" y="5439324"/>
            <a:ext cx="1126800" cy="854677"/>
          </a:xfrm>
          <a:prstGeom prst="rect">
            <a:avLst/>
          </a:prstGeom>
        </p:spPr>
      </p:pic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448340"/>
              </p:ext>
            </p:extLst>
          </p:nvPr>
        </p:nvGraphicFramePr>
        <p:xfrm>
          <a:off x="335360" y="822058"/>
          <a:ext cx="11673125" cy="52037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4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23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55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26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신규 화면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 검색 결과 없는 경우 출력화면 정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62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887283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27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신규 화면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선택 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결과 없는 경우 출력화면 정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63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502264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2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] GRI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문 바로가기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3] GRI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문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설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본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 보기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삭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31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143857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8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상세보기 목차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상단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제목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뷰어보기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기능 포함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164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5981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기기관 리스트 추가 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81-182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803011"/>
                  </a:ext>
                </a:extLst>
              </a:tr>
              <a:tr h="377193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평가항목 박스 내에 문항 내용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83p)</a:t>
                      </a:r>
                      <a:b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※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 내용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항목 정리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_DRAFT_230831]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엑셀 파일 참고하여 작성 필요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업 검수 후 전달 예정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6739397"/>
                  </a:ext>
                </a:extLst>
              </a:tr>
              <a:tr h="528071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트렌드</a:t>
                      </a:r>
                      <a:endParaRPr lang="en-US" altLang="ko-KR" sz="800" b="0" kern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관련 뉴스 추이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데이터레이블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추가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 관련 뉴스 추이 화면 예시 변경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간 뉴스 기사 추이가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나와야함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205p)</a:t>
                      </a:r>
                    </a:p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별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뉴스 추이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래프 하단 각 항목 비중 테이블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명 수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06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8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629228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 - O0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et’s Talk </a:t>
                      </a:r>
                      <a:r>
                        <a:rPr lang="ko-KR" altLang="en-US" sz="800" b="0" kern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삭제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10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425294"/>
                  </a:ext>
                </a:extLst>
              </a:tr>
              <a:tr h="377193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1 - R004</a:t>
                      </a:r>
                    </a:p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8 – R0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공시화면 전체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 선택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ar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반영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28-177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233389"/>
                  </a:ext>
                </a:extLst>
              </a:tr>
              <a:tr h="323182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30000"/>
                        </a:lnSpc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가진단 화면 전체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 2025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결과값 없는 경우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2025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출력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도별 간격 넓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defTabSz="914400">
                        <a:lnSpc>
                          <a:spcPct val="13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                       : - “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～～～～～ 공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끝나는 값은 하단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～～～～～ 채택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끝나는 값은 상단에 배치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152-159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979221"/>
                  </a:ext>
                </a:extLst>
              </a:tr>
              <a:tr h="377193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0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평가기관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평가요소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업별 고려사항으로 탭 구분하여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구성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화면과 동일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181-185p)</a:t>
                      </a:r>
                    </a:p>
                    <a:p>
                      <a:pPr marR="0" lvl="0" defTabSz="91440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평가요소 탭 내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83p)</a:t>
                      </a:r>
                    </a:p>
                    <a:p>
                      <a:pPr marR="0" lvl="0" defTabSz="91440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등급 조회 삭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85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997060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]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기키워드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치 조정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키워드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분석 섹션 하단에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기키워드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출력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205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779168"/>
                  </a:ext>
                </a:extLst>
              </a:tr>
              <a:tr h="528071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5</a:t>
                      </a:r>
                    </a:p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6</a:t>
                      </a:r>
                    </a:p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실 </a:t>
                      </a:r>
                      <a:r>
                        <a:rPr lang="en-US" altLang="ko-KR" sz="800" b="0" kern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 출력되는 컨텐츠 개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로 수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98-201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0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30022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CE05AF6-C1BF-471B-B26C-92D92AA62851}"/>
              </a:ext>
            </a:extLst>
          </p:cNvPr>
          <p:cNvSpPr/>
          <p:nvPr/>
        </p:nvSpPr>
        <p:spPr>
          <a:xfrm>
            <a:off x="6600056" y="4329100"/>
            <a:ext cx="936104" cy="21602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87046114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742149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서비스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과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PwC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설팅의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문 및 컨설팅 서비스 소개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139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37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3" y="2743635"/>
            <a:ext cx="152754" cy="3670512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2830469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kumimoji="0" lang="ko-KR" altLang="en-US" sz="10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kumimoji="0" lang="ko-KR" altLang="en-US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kumimoji="0" lang="en-US" altLang="ko-KR" sz="9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1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kumimoji="0" lang="ko-KR" altLang="en-US" sz="9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kumimoji="0" lang="en-US" altLang="ko-KR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kumimoji="0" lang="ko-KR" altLang="en-US" sz="800" b="0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13" name="직선 연결선 112">
            <a:extLst>
              <a:ext uri="{FF2B5EF4-FFF2-40B4-BE49-F238E27FC236}">
                <a16:creationId xmlns:a16="http://schemas.microsoft.com/office/drawing/2014/main" id="{559A9C8E-789D-412C-869F-07130C9CFDE9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914BB38C-4710-43A1-8673-E8888BA11061}"/>
              </a:ext>
            </a:extLst>
          </p:cNvPr>
          <p:cNvSpPr/>
          <p:nvPr/>
        </p:nvSpPr>
        <p:spPr>
          <a:xfrm>
            <a:off x="46667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소개</a:t>
            </a: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7A1F2BF9-F5C3-4477-A9F5-61765A84E455}"/>
              </a:ext>
            </a:extLst>
          </p:cNvPr>
          <p:cNvSpPr/>
          <p:nvPr/>
        </p:nvSpPr>
        <p:spPr>
          <a:xfrm>
            <a:off x="1807986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46A316A0-44AF-419F-AD99-821350ED341E}"/>
              </a:ext>
            </a:extLst>
          </p:cNvPr>
          <p:cNvSpPr/>
          <p:nvPr/>
        </p:nvSpPr>
        <p:spPr>
          <a:xfrm>
            <a:off x="3149296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구성 안내</a:t>
            </a:r>
            <a:endParaRPr kumimoji="0" lang="en-US" altLang="ko-KR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8E9578B0-B9D1-46DC-AFE5-E7F7B50C879C}"/>
              </a:ext>
            </a:extLst>
          </p:cNvPr>
          <p:cNvSpPr/>
          <p:nvPr/>
        </p:nvSpPr>
        <p:spPr>
          <a:xfrm>
            <a:off x="449060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ctr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C21C54D-D9B4-42F4-AB52-A8E052653EAE}"/>
              </a:ext>
            </a:extLst>
          </p:cNvPr>
          <p:cNvSpPr/>
          <p:nvPr/>
        </p:nvSpPr>
        <p:spPr>
          <a:xfrm>
            <a:off x="442536" y="2990600"/>
            <a:ext cx="8105105" cy="204792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과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설팅의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직별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주요 자문 분야는 다음과 같습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9099BFEF-6E3E-4EBD-89EE-DD5324E2232B}"/>
              </a:ext>
            </a:extLst>
          </p:cNvPr>
          <p:cNvGrpSpPr/>
          <p:nvPr/>
        </p:nvGrpSpPr>
        <p:grpSpPr>
          <a:xfrm>
            <a:off x="470584" y="3239356"/>
            <a:ext cx="8043496" cy="3069963"/>
            <a:chOff x="470584" y="3165665"/>
            <a:chExt cx="8043496" cy="3145909"/>
          </a:xfrm>
        </p:grpSpPr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6A6AA0C6-756A-433A-866B-B52AD1D7EE12}"/>
                </a:ext>
              </a:extLst>
            </p:cNvPr>
            <p:cNvSpPr/>
            <p:nvPr/>
          </p:nvSpPr>
          <p:spPr>
            <a:xfrm>
              <a:off x="1343472" y="5655582"/>
              <a:ext cx="7170608" cy="655992"/>
            </a:xfrm>
            <a:prstGeom prst="rect">
              <a:avLst/>
            </a:prstGeom>
            <a:solidFill>
              <a:srgbClr val="D9D9D9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714D9292-7B70-49B1-9624-ED0D37EB3E68}"/>
                </a:ext>
              </a:extLst>
            </p:cNvPr>
            <p:cNvSpPr/>
            <p:nvPr/>
          </p:nvSpPr>
          <p:spPr>
            <a:xfrm>
              <a:off x="1343472" y="3505651"/>
              <a:ext cx="7170608" cy="1258977"/>
            </a:xfrm>
            <a:prstGeom prst="rect">
              <a:avLst/>
            </a:prstGeom>
            <a:solidFill>
              <a:srgbClr val="D9D9D9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B9A4998E-468B-481D-A75A-41795DFE9952}"/>
                </a:ext>
              </a:extLst>
            </p:cNvPr>
            <p:cNvSpPr/>
            <p:nvPr/>
          </p:nvSpPr>
          <p:spPr>
            <a:xfrm>
              <a:off x="1386501" y="3670564"/>
              <a:ext cx="910659" cy="784132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7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Assurance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7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Deal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7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ax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7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센터</a:t>
              </a:r>
              <a:endPara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B543A3D1-7689-4702-BF38-C536B14E3617}"/>
                </a:ext>
              </a:extLst>
            </p:cNvPr>
            <p:cNvSpPr/>
            <p:nvPr/>
          </p:nvSpPr>
          <p:spPr>
            <a:xfrm>
              <a:off x="2414800" y="3546640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략∙관리체계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수립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제별 실행과제 및 계획 수립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·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대응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 제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 인증 등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FD9FF995-289F-4528-99FA-F6EFFB90EBE5}"/>
                </a:ext>
              </a:extLst>
            </p:cNvPr>
            <p:cNvSpPr/>
            <p:nvPr/>
          </p:nvSpPr>
          <p:spPr>
            <a:xfrm>
              <a:off x="1343472" y="4842480"/>
              <a:ext cx="7170608" cy="746760"/>
            </a:xfrm>
            <a:prstGeom prst="rect">
              <a:avLst/>
            </a:prstGeom>
            <a:solidFill>
              <a:srgbClr val="D9D9D9">
                <a:alpha val="50196"/>
              </a:srgb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D28AFA45-832F-4322-822D-A424DF86A367}"/>
                </a:ext>
              </a:extLst>
            </p:cNvPr>
            <p:cNvSpPr/>
            <p:nvPr/>
          </p:nvSpPr>
          <p:spPr>
            <a:xfrm>
              <a:off x="1368917" y="4859767"/>
              <a:ext cx="1350935" cy="62438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ial </a:t>
              </a:r>
              <a:b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</a:b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ervice 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e, Risk &amp;Compliance</a:t>
              </a:r>
            </a:p>
          </p:txBody>
        </p:sp>
        <p:pic>
          <p:nvPicPr>
            <p:cNvPr id="104" name="Picture 2" descr="집 ">
              <a:extLst>
                <a:ext uri="{FF2B5EF4-FFF2-40B4-BE49-F238E27FC236}">
                  <a16:creationId xmlns:a16="http://schemas.microsoft.com/office/drawing/2014/main" id="{9B5DF9BC-0EBA-45BC-B7C9-3A4AB711DA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3608184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3504EBEA-2D35-4568-A5B7-EB0A0A3FD5A9}"/>
                </a:ext>
              </a:extLst>
            </p:cNvPr>
            <p:cNvSpPr/>
            <p:nvPr/>
          </p:nvSpPr>
          <p:spPr>
            <a:xfrm>
              <a:off x="470584" y="5051939"/>
              <a:ext cx="818625" cy="3278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PwC</a:t>
              </a:r>
              <a:b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컨설팅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0549A905-5101-4ACF-A244-6AF87572B768}"/>
                </a:ext>
              </a:extLst>
            </p:cNvPr>
            <p:cNvSpPr/>
            <p:nvPr/>
          </p:nvSpPr>
          <p:spPr>
            <a:xfrm>
              <a:off x="507921" y="5641992"/>
              <a:ext cx="818625" cy="3278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삼일아카데미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FCA483FA-DF07-4157-A733-3789C2D62231}"/>
                </a:ext>
              </a:extLst>
            </p:cNvPr>
            <p:cNvSpPr/>
            <p:nvPr/>
          </p:nvSpPr>
          <p:spPr>
            <a:xfrm>
              <a:off x="507921" y="5890214"/>
              <a:ext cx="818625" cy="3278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삼일인포마인</a:t>
              </a: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AFDBE09C-7E03-4D74-9304-3DE0413C0317}"/>
                </a:ext>
              </a:extLst>
            </p:cNvPr>
            <p:cNvSpPr/>
            <p:nvPr/>
          </p:nvSpPr>
          <p:spPr>
            <a:xfrm>
              <a:off x="1368917" y="5760736"/>
              <a:ext cx="998777" cy="294793"/>
            </a:xfrm>
            <a:prstGeom prst="rect">
              <a:avLst/>
            </a:prstGeom>
            <a:noFill/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amil</a:t>
              </a: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Link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kumimoji="0" lang="en-US" altLang="ko-KR" sz="900" b="1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닷컴</a:t>
              </a:r>
              <a:endPara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0" name="Picture 2" descr="집 ">
              <a:extLst>
                <a:ext uri="{FF2B5EF4-FFF2-40B4-BE49-F238E27FC236}">
                  <a16:creationId xmlns:a16="http://schemas.microsoft.com/office/drawing/2014/main" id="{1178F711-2712-4380-948E-A4A1379E65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3200" y="5800214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1" name="Picture 2" descr="집 ">
              <a:extLst>
                <a:ext uri="{FF2B5EF4-FFF2-40B4-BE49-F238E27FC236}">
                  <a16:creationId xmlns:a16="http://schemas.microsoft.com/office/drawing/2014/main" id="{5BF1A18F-FA01-495C-B46B-9ECCB1519F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3200" y="6028113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08BCEB9F-7FF6-443C-B126-E774B27C6CBC}"/>
                </a:ext>
              </a:extLst>
            </p:cNvPr>
            <p:cNvSpPr/>
            <p:nvPr/>
          </p:nvSpPr>
          <p:spPr>
            <a:xfrm>
              <a:off x="479376" y="3965254"/>
              <a:ext cx="818625" cy="32784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삼일</a:t>
              </a:r>
              <a:b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회계법인</a:t>
              </a:r>
            </a:p>
          </p:txBody>
        </p:sp>
        <p:sp>
          <p:nvSpPr>
            <p:cNvPr id="71" name="화살표: 오각형 70">
              <a:extLst>
                <a:ext uri="{FF2B5EF4-FFF2-40B4-BE49-F238E27FC236}">
                  <a16:creationId xmlns:a16="http://schemas.microsoft.com/office/drawing/2014/main" id="{AEC3B845-C3DC-49BB-901B-E9D766D6CD0E}"/>
                </a:ext>
              </a:extLst>
            </p:cNvPr>
            <p:cNvSpPr/>
            <p:nvPr/>
          </p:nvSpPr>
          <p:spPr>
            <a:xfrm>
              <a:off x="1343472" y="3165665"/>
              <a:ext cx="2232000" cy="279931"/>
            </a:xfrm>
            <a:prstGeom prst="homePlate">
              <a:avLst>
                <a:gd name="adj" fmla="val 24873"/>
              </a:avLst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ESG 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략 ∙ 계획</a:t>
              </a:r>
            </a:p>
          </p:txBody>
        </p:sp>
        <p:sp>
          <p:nvSpPr>
            <p:cNvPr id="72" name="화살표: 오각형 71">
              <a:extLst>
                <a:ext uri="{FF2B5EF4-FFF2-40B4-BE49-F238E27FC236}">
                  <a16:creationId xmlns:a16="http://schemas.microsoft.com/office/drawing/2014/main" id="{513C8717-6C35-4611-A9A4-85CACE776A9D}"/>
                </a:ext>
              </a:extLst>
            </p:cNvPr>
            <p:cNvSpPr/>
            <p:nvPr/>
          </p:nvSpPr>
          <p:spPr>
            <a:xfrm>
              <a:off x="3773876" y="3165665"/>
              <a:ext cx="2232000" cy="279931"/>
            </a:xfrm>
            <a:prstGeom prst="homePlate">
              <a:avLst>
                <a:gd name="adj" fmla="val 28014"/>
              </a:avLst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ESG 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과제이행</a:t>
              </a:r>
            </a:p>
          </p:txBody>
        </p:sp>
        <p:sp>
          <p:nvSpPr>
            <p:cNvPr id="80" name="화살표: 오각형 79">
              <a:extLst>
                <a:ext uri="{FF2B5EF4-FFF2-40B4-BE49-F238E27FC236}">
                  <a16:creationId xmlns:a16="http://schemas.microsoft.com/office/drawing/2014/main" id="{83115FD0-850D-4C5A-A402-4264EB3FB704}"/>
                </a:ext>
              </a:extLst>
            </p:cNvPr>
            <p:cNvSpPr/>
            <p:nvPr/>
          </p:nvSpPr>
          <p:spPr>
            <a:xfrm>
              <a:off x="6204280" y="3165665"/>
              <a:ext cx="2232000" cy="279931"/>
            </a:xfrm>
            <a:prstGeom prst="homePlate">
              <a:avLst>
                <a:gd name="adj" fmla="val 31154"/>
              </a:avLst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ESG 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공시 ∙ 인증</a:t>
              </a:r>
            </a:p>
          </p:txBody>
        </p:sp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EBD48CD2-8E48-4A3E-8E25-685787C22FAE}"/>
                </a:ext>
              </a:extLst>
            </p:cNvPr>
            <p:cNvCxnSpPr>
              <a:cxnSpLocks/>
            </p:cNvCxnSpPr>
            <p:nvPr/>
          </p:nvCxnSpPr>
          <p:spPr>
            <a:xfrm>
              <a:off x="545111" y="4760312"/>
              <a:ext cx="680721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BFC22F46-7384-41FA-ADAF-51E02D47E259}"/>
                </a:ext>
              </a:extLst>
            </p:cNvPr>
            <p:cNvSpPr/>
            <p:nvPr/>
          </p:nvSpPr>
          <p:spPr>
            <a:xfrm>
              <a:off x="2414800" y="3849613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채권 발행 지원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사 지원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623C420B-3232-4709-90AE-2AFF05C93F54}"/>
                </a:ext>
              </a:extLst>
            </p:cNvPr>
            <p:cNvSpPr/>
            <p:nvPr/>
          </p:nvSpPr>
          <p:spPr>
            <a:xfrm>
              <a:off x="2414800" y="4152586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세제 컨설팅 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제도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CBAM)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응 등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829DDAC6-B90A-46AF-9CD6-35F433AD79A7}"/>
                </a:ext>
              </a:extLst>
            </p:cNvPr>
            <p:cNvSpPr/>
            <p:nvPr/>
          </p:nvSpPr>
          <p:spPr>
            <a:xfrm>
              <a:off x="2414800" y="4455560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업무 전반에 대한 자문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전문가 리포트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주제 세미나 개최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8" name="Picture 2" descr="집 ">
              <a:extLst>
                <a:ext uri="{FF2B5EF4-FFF2-40B4-BE49-F238E27FC236}">
                  <a16:creationId xmlns:a16="http://schemas.microsoft.com/office/drawing/2014/main" id="{0871C9CC-E328-47B1-8758-97740B0074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3925059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Picture 2" descr="집 ">
              <a:extLst>
                <a:ext uri="{FF2B5EF4-FFF2-40B4-BE49-F238E27FC236}">
                  <a16:creationId xmlns:a16="http://schemas.microsoft.com/office/drawing/2014/main" id="{7FE6B71A-4FBD-4DB3-878D-AA66CACE9B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4248728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" name="Picture 2" descr="집 ">
              <a:extLst>
                <a:ext uri="{FF2B5EF4-FFF2-40B4-BE49-F238E27FC236}">
                  <a16:creationId xmlns:a16="http://schemas.microsoft.com/office/drawing/2014/main" id="{59E73682-6194-42EA-B7C1-95A2107FA3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4545552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1" name="직선 연결선 120">
              <a:extLst>
                <a:ext uri="{FF2B5EF4-FFF2-40B4-BE49-F238E27FC236}">
                  <a16:creationId xmlns:a16="http://schemas.microsoft.com/office/drawing/2014/main" id="{F826A4CD-C406-4140-9737-16E8F4259265}"/>
                </a:ext>
              </a:extLst>
            </p:cNvPr>
            <p:cNvCxnSpPr>
              <a:cxnSpLocks/>
            </p:cNvCxnSpPr>
            <p:nvPr/>
          </p:nvCxnSpPr>
          <p:spPr>
            <a:xfrm>
              <a:off x="545111" y="5580783"/>
              <a:ext cx="680721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pic>
          <p:nvPicPr>
            <p:cNvPr id="122" name="Picture 2" descr="집 ">
              <a:extLst>
                <a:ext uri="{FF2B5EF4-FFF2-40B4-BE49-F238E27FC236}">
                  <a16:creationId xmlns:a16="http://schemas.microsoft.com/office/drawing/2014/main" id="{66532496-CD4A-41EA-9592-43D01A7DB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4959059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" name="Picture 2" descr="집 ">
              <a:extLst>
                <a:ext uri="{FF2B5EF4-FFF2-40B4-BE49-F238E27FC236}">
                  <a16:creationId xmlns:a16="http://schemas.microsoft.com/office/drawing/2014/main" id="{11F441EC-A7CF-4EC4-8954-300921FD6D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4408" y="5335664"/>
              <a:ext cx="94163" cy="9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C90A1D6A-F102-46B0-83E0-BF79AE5D0EBA}"/>
                </a:ext>
              </a:extLst>
            </p:cNvPr>
            <p:cNvSpPr/>
            <p:nvPr/>
          </p:nvSpPr>
          <p:spPr>
            <a:xfrm>
              <a:off x="2414800" y="4902528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투자체계 구축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사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3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응전략 수립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측정 및 재무영향성 분석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시스템 구축 등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1D64EAC-9502-4ECC-BD36-2A76D3BDC1AD}"/>
                </a:ext>
              </a:extLst>
            </p:cNvPr>
            <p:cNvSpPr/>
            <p:nvPr/>
          </p:nvSpPr>
          <p:spPr>
            <a:xfrm>
              <a:off x="2414800" y="5276645"/>
              <a:ext cx="5966014" cy="25200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적 가치 영향평가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데이터 플랫폼 구축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U </a:t>
              </a:r>
              <a:r>
                <a:rPr kumimoji="0" lang="ko-KR" altLang="en-US" sz="900" b="0" i="0" u="none" strike="noStrike" kern="1200" cap="none" spc="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택소노미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대응 등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672AAAF5-60AC-439C-9AA1-1B6401AB8B72}"/>
                </a:ext>
              </a:extLst>
            </p:cNvPr>
            <p:cNvSpPr/>
            <p:nvPr/>
          </p:nvSpPr>
          <p:spPr>
            <a:xfrm>
              <a:off x="2424710" y="5692957"/>
              <a:ext cx="5966014" cy="241830"/>
            </a:xfrm>
            <a:prstGeom prst="rect">
              <a:avLst/>
            </a:prstGeom>
            <a:solidFill>
              <a:schemeClr val="bg1"/>
            </a:solidFill>
            <a:ln w="3175" cap="flat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marL="0" marR="0" lvl="0" indent="0" algn="ctr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오프라인 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교육 프로그램 운영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분야별 자료와 영상 제공</a:t>
              </a:r>
              <a:r>
                <a:rPr kumimoji="0" lang="en-US" altLang="ko-KR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 </a:t>
              </a:r>
              <a:r>
                <a:rPr kumimoji="0" lang="ko-KR" altLang="en-US" sz="900" b="0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세미나 개최 등</a:t>
              </a:r>
              <a:endPara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47" name="사각형: 둥근 모서리 146">
            <a:extLst>
              <a:ext uri="{FF2B5EF4-FFF2-40B4-BE49-F238E27FC236}">
                <a16:creationId xmlns:a16="http://schemas.microsoft.com/office/drawing/2014/main" id="{A010317C-5F17-46A9-B1E9-85DF274CABCF}"/>
              </a:ext>
            </a:extLst>
          </p:cNvPr>
          <p:cNvSpPr/>
          <p:nvPr/>
        </p:nvSpPr>
        <p:spPr>
          <a:xfrm>
            <a:off x="420936" y="2800184"/>
            <a:ext cx="5092036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직별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서비스</a:t>
            </a:r>
            <a:endParaRPr kumimoji="0" lang="en-US" altLang="ko-KR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D250B25-7582-4213-9F42-9149650FD4B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859CCA7F-ACB5-4AA1-A901-50FC355E1DDB}"/>
              </a:ext>
            </a:extLst>
          </p:cNvPr>
          <p:cNvSpPr/>
          <p:nvPr/>
        </p:nvSpPr>
        <p:spPr>
          <a:xfrm>
            <a:off x="2424710" y="5995357"/>
            <a:ext cx="5966014" cy="235992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8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>
              <a:defRPr/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세무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계 정보 제공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 개최 등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9640E80-602D-4DC3-A791-D3B00AD6287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CB1E40BD-DA94-4D24-80E3-3A165D4EBF3E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037216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DB55F0F-C301-4D73-97D6-3A38B39A9918}"/>
              </a:ext>
            </a:extLst>
          </p:cNvPr>
          <p:cNvSpPr/>
          <p:nvPr/>
        </p:nvSpPr>
        <p:spPr>
          <a:xfrm>
            <a:off x="356535" y="4279438"/>
            <a:ext cx="8377743" cy="3618732"/>
          </a:xfrm>
          <a:prstGeom prst="rect">
            <a:avLst/>
          </a:prstGeom>
          <a:solidFill>
            <a:schemeClr val="bg1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9FD8498B-210C-4AD1-B1BF-5B37AFCB01DD}"/>
              </a:ext>
            </a:extLst>
          </p:cNvPr>
          <p:cNvGrpSpPr/>
          <p:nvPr/>
        </p:nvGrpSpPr>
        <p:grpSpPr>
          <a:xfrm>
            <a:off x="508827" y="4132385"/>
            <a:ext cx="1944000" cy="3598545"/>
            <a:chOff x="508827" y="4294945"/>
            <a:chExt cx="1944000" cy="2944371"/>
          </a:xfrm>
        </p:grpSpPr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C920D3EF-8D0F-4FC1-8F92-8B6EC0C2FE61}"/>
                </a:ext>
              </a:extLst>
            </p:cNvPr>
            <p:cNvSpPr/>
            <p:nvPr/>
          </p:nvSpPr>
          <p:spPr>
            <a:xfrm>
              <a:off x="508827" y="4294945"/>
              <a:ext cx="1944000" cy="2944371"/>
            </a:xfrm>
            <a:prstGeom prst="rect">
              <a:avLst/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4" name="직선 연결선 3">
              <a:extLst>
                <a:ext uri="{FF2B5EF4-FFF2-40B4-BE49-F238E27FC236}">
                  <a16:creationId xmlns:a16="http://schemas.microsoft.com/office/drawing/2014/main" id="{E5EC3EB4-0588-47BA-848E-D7C002E73EE2}"/>
                </a:ext>
              </a:extLst>
            </p:cNvPr>
            <p:cNvCxnSpPr>
              <a:cxnSpLocks/>
            </p:cNvCxnSpPr>
            <p:nvPr/>
          </p:nvCxnSpPr>
          <p:spPr>
            <a:xfrm>
              <a:off x="508827" y="4294945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83" name="직선 연결선 82">
              <a:extLst>
                <a:ext uri="{FF2B5EF4-FFF2-40B4-BE49-F238E27FC236}">
                  <a16:creationId xmlns:a16="http://schemas.microsoft.com/office/drawing/2014/main" id="{D9D2E7F1-C403-4158-9997-4962F7351198}"/>
                </a:ext>
              </a:extLst>
            </p:cNvPr>
            <p:cNvCxnSpPr>
              <a:cxnSpLocks/>
            </p:cNvCxnSpPr>
            <p:nvPr/>
          </p:nvCxnSpPr>
          <p:spPr>
            <a:xfrm>
              <a:off x="508827" y="7239316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38637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이트 구성 안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이트 메뉴 구성 및 세부 내용 안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676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이퍼링크로 표현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해당하는 화면의 랜딩 페이지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10948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574621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4047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886114"/>
                  </a:ext>
                </a:extLst>
              </a:tr>
            </a:tbl>
          </a:graphicData>
        </a:graphic>
      </p:graphicFrame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DFF467D-CD71-40A5-BA0A-C37C68AE181E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E26D4DFE-9283-4683-AA31-314DBD270AD1}"/>
              </a:ext>
            </a:extLst>
          </p:cNvPr>
          <p:cNvSpPr/>
          <p:nvPr/>
        </p:nvSpPr>
        <p:spPr>
          <a:xfrm>
            <a:off x="508827" y="3402050"/>
            <a:ext cx="1944000" cy="637131"/>
          </a:xfrm>
          <a:prstGeom prst="rect">
            <a:avLst/>
          </a:prstGeom>
          <a:solidFill>
            <a:srgbClr val="DEDEDE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대응 수준을 확인하고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각 단계별 필요 활동을 안내 받고 싶은 고객에게 유용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C1E544FF-1BBB-43C0-8113-6A46C643C893}"/>
              </a:ext>
            </a:extLst>
          </p:cNvPr>
          <p:cNvSpPr/>
          <p:nvPr/>
        </p:nvSpPr>
        <p:spPr>
          <a:xfrm>
            <a:off x="2563311" y="3402050"/>
            <a:ext cx="1944000" cy="637131"/>
          </a:xfrm>
          <a:prstGeom prst="rect">
            <a:avLst/>
          </a:prstGeom>
          <a:solidFill>
            <a:srgbClr val="DEDEDE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웅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각 영역별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 실행을 위해 주요 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토픽별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핵심 개념과 자료를 모았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AF7CE1A6-A81E-4AC7-8671-719AFC9D65B4}"/>
              </a:ext>
            </a:extLst>
          </p:cNvPr>
          <p:cNvSpPr/>
          <p:nvPr/>
        </p:nvSpPr>
        <p:spPr>
          <a:xfrm>
            <a:off x="4617795" y="3402050"/>
            <a:ext cx="1944000" cy="637131"/>
          </a:xfrm>
          <a:prstGeom prst="rect">
            <a:avLst/>
          </a:prstGeom>
          <a:solidFill>
            <a:srgbClr val="DEDEDE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와 인증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등급 개선을 </a:t>
            </a: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준비하는데 유용한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문 자료 및 해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천 컨텐츠가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C3FA439-9024-4FCE-8AD4-4A75803FE067}"/>
              </a:ext>
            </a:extLst>
          </p:cNvPr>
          <p:cNvSpPr/>
          <p:nvPr/>
        </p:nvSpPr>
        <p:spPr>
          <a:xfrm>
            <a:off x="6672280" y="3402050"/>
            <a:ext cx="1944000" cy="637131"/>
          </a:xfrm>
          <a:prstGeom prst="rect">
            <a:avLst/>
          </a:prstGeom>
          <a:solidFill>
            <a:srgbClr val="DEDEDE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규제 동향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의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응 </a:t>
            </a:r>
            <a:r>
              <a:rPr lang="ko-KR" altLang="en-US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현황 등 </a:t>
            </a:r>
            <a:r>
              <a:rPr lang="en-US" altLang="ko-KR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다양한 컨텐츠를 유형별</a:t>
            </a:r>
            <a:r>
              <a:rPr lang="en-US" altLang="ko-KR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토픽별로 확인할 수 있습니다</a:t>
            </a:r>
            <a:r>
              <a:rPr lang="en-US" altLang="ko-KR" sz="900" spc="-1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4AF01DC7-E90B-460C-B803-0881F9256E1A}"/>
              </a:ext>
            </a:extLst>
          </p:cNvPr>
          <p:cNvSpPr/>
          <p:nvPr/>
        </p:nvSpPr>
        <p:spPr>
          <a:xfrm>
            <a:off x="500572" y="2924944"/>
            <a:ext cx="1944000" cy="385764"/>
          </a:xfrm>
          <a:prstGeom prst="rect">
            <a:avLst/>
          </a:prstGeom>
          <a:solidFill>
            <a:schemeClr val="tx1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〮계획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1AC1391A-D0D0-4217-8F8D-0FDC5F9DFAD6}"/>
              </a:ext>
            </a:extLst>
          </p:cNvPr>
          <p:cNvSpPr/>
          <p:nvPr/>
        </p:nvSpPr>
        <p:spPr>
          <a:xfrm>
            <a:off x="2555056" y="2924944"/>
            <a:ext cx="1944000" cy="385764"/>
          </a:xfrm>
          <a:prstGeom prst="rect">
            <a:avLst/>
          </a:prstGeom>
          <a:solidFill>
            <a:schemeClr val="tx1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C4B6CDE3-80E0-4260-9C64-FA7E9D17A437}"/>
              </a:ext>
            </a:extLst>
          </p:cNvPr>
          <p:cNvSpPr/>
          <p:nvPr/>
        </p:nvSpPr>
        <p:spPr>
          <a:xfrm>
            <a:off x="4609540" y="2924944"/>
            <a:ext cx="1944000" cy="385764"/>
          </a:xfrm>
          <a:prstGeom prst="rect">
            <a:avLst/>
          </a:prstGeom>
          <a:solidFill>
            <a:schemeClr val="tx1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〮인증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24D47E66-4746-4545-8537-687337F8732E}"/>
              </a:ext>
            </a:extLst>
          </p:cNvPr>
          <p:cNvSpPr/>
          <p:nvPr/>
        </p:nvSpPr>
        <p:spPr>
          <a:xfrm>
            <a:off x="6664025" y="2924944"/>
            <a:ext cx="1944000" cy="385764"/>
          </a:xfrm>
          <a:prstGeom prst="rect">
            <a:avLst/>
          </a:prstGeom>
          <a:solidFill>
            <a:schemeClr val="tx1"/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〮동향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8AA01CF4-88E8-4222-B8C1-367F2B337514}"/>
              </a:ext>
            </a:extLst>
          </p:cNvPr>
          <p:cNvSpPr/>
          <p:nvPr/>
        </p:nvSpPr>
        <p:spPr>
          <a:xfrm>
            <a:off x="567197" y="4230999"/>
            <a:ext cx="1835853" cy="81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60D7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0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60D7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  <a:endParaRPr kumimoji="0" lang="en-US" altLang="ko-KR" sz="1000" b="1" i="0" u="sng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60D7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현재의 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수준 진단</a:t>
            </a:r>
            <a:endParaRPr lang="en-US" altLang="ko-KR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진단 결과에 따른 필요한 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defTabSz="2437985"/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업무 활동 확인</a:t>
            </a:r>
            <a:endParaRPr lang="en-US" altLang="ko-KR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14D3D3B-49BC-45BC-AF2F-42DB2A7D3EC6}"/>
              </a:ext>
            </a:extLst>
          </p:cNvPr>
          <p:cNvSpPr/>
          <p:nvPr/>
        </p:nvSpPr>
        <p:spPr>
          <a:xfrm>
            <a:off x="51873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]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개</a:t>
            </a: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001DAE0-46F4-444B-8FEA-65DB13E763EF}"/>
              </a:ext>
            </a:extLst>
          </p:cNvPr>
          <p:cNvSpPr/>
          <p:nvPr/>
        </p:nvSpPr>
        <p:spPr>
          <a:xfrm>
            <a:off x="186004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CA668626-52C4-4E22-9F9A-C293359F3992}"/>
              </a:ext>
            </a:extLst>
          </p:cNvPr>
          <p:cNvSpPr/>
          <p:nvPr/>
        </p:nvSpPr>
        <p:spPr>
          <a:xfrm>
            <a:off x="3201355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</a:t>
            </a:r>
            <a:r>
              <a:rPr lang="ko-KR" altLang="en-US" sz="9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 안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0CA63026-BC93-451A-93D3-BE6E20BF2AC6}"/>
              </a:ext>
            </a:extLst>
          </p:cNvPr>
          <p:cNvSpPr/>
          <p:nvPr/>
        </p:nvSpPr>
        <p:spPr>
          <a:xfrm>
            <a:off x="4542664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DE139A8D-EA5A-4A19-A9B1-20B1BFF70B8B}"/>
              </a:ext>
            </a:extLst>
          </p:cNvPr>
          <p:cNvGrpSpPr/>
          <p:nvPr/>
        </p:nvGrpSpPr>
        <p:grpSpPr>
          <a:xfrm>
            <a:off x="6672280" y="4140005"/>
            <a:ext cx="1944000" cy="3598545"/>
            <a:chOff x="6672280" y="4294945"/>
            <a:chExt cx="1944000" cy="2944371"/>
          </a:xfrm>
        </p:grpSpPr>
        <p:sp>
          <p:nvSpPr>
            <p:cNvPr id="72" name="직사각형 71">
              <a:extLst>
                <a:ext uri="{FF2B5EF4-FFF2-40B4-BE49-F238E27FC236}">
                  <a16:creationId xmlns:a16="http://schemas.microsoft.com/office/drawing/2014/main" id="{C9B7F1DC-B679-4119-A0FF-37407938153A}"/>
                </a:ext>
              </a:extLst>
            </p:cNvPr>
            <p:cNvSpPr/>
            <p:nvPr/>
          </p:nvSpPr>
          <p:spPr>
            <a:xfrm>
              <a:off x="6672280" y="4294945"/>
              <a:ext cx="1944000" cy="2944371"/>
            </a:xfrm>
            <a:prstGeom prst="rect">
              <a:avLst/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2DEC267E-E723-4512-BDC0-A3A785202AAF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7239316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89" name="직선 연결선 88">
              <a:extLst>
                <a:ext uri="{FF2B5EF4-FFF2-40B4-BE49-F238E27FC236}">
                  <a16:creationId xmlns:a16="http://schemas.microsoft.com/office/drawing/2014/main" id="{679A663C-49F0-4E44-9241-9DA73FA77420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4294945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A44930DA-B3E9-41F5-A841-BAF567A383A3}"/>
              </a:ext>
            </a:extLst>
          </p:cNvPr>
          <p:cNvSpPr/>
          <p:nvPr/>
        </p:nvSpPr>
        <p:spPr>
          <a:xfrm>
            <a:off x="567198" y="5095080"/>
            <a:ext cx="1835852" cy="81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000" b="1" i="0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</a:t>
            </a:r>
            <a:endParaRPr kumimoji="0" lang="en-US" altLang="ko-KR" sz="1000" b="1" i="0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프로세스 소개 </a:t>
            </a:r>
            <a:endParaRPr lang="en-US" altLang="ko-KR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각 단계별 세부 활동에 대한 개념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</a:p>
          <a:p>
            <a:pPr defTabSz="2437985"/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요 역량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천 컨텐츠 확인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41D6DD8C-C4B5-410A-9CD2-6AA38A712396}"/>
              </a:ext>
            </a:extLst>
          </p:cNvPr>
          <p:cNvGrpSpPr/>
          <p:nvPr/>
        </p:nvGrpSpPr>
        <p:grpSpPr>
          <a:xfrm>
            <a:off x="6692530" y="4228792"/>
            <a:ext cx="1845223" cy="3430136"/>
            <a:chOff x="8610835" y="3389991"/>
            <a:chExt cx="1845223" cy="3430136"/>
          </a:xfrm>
        </p:grpSpPr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C983C8C3-7660-4B1C-83DB-91ADDB8A24E9}"/>
                </a:ext>
              </a:extLst>
            </p:cNvPr>
            <p:cNvSpPr/>
            <p:nvPr/>
          </p:nvSpPr>
          <p:spPr>
            <a:xfrm>
              <a:off x="8620058" y="3389991"/>
              <a:ext cx="1836000" cy="81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</a:t>
              </a:r>
              <a:r>
                <a:rPr kumimoji="0" lang="en-US" altLang="ko-KR" sz="10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kumimoji="0" lang="ko-KR" altLang="en-US" sz="10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사이트</a:t>
              </a:r>
              <a:endParaRPr kumimoji="0" lang="en-US" altLang="ko-KR" sz="1000" b="1" i="0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ko-KR" altLang="en-US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주요 </a:t>
              </a:r>
              <a:r>
                <a:rPr lang="en-US" altLang="ko-KR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현안에 대한</a:t>
              </a:r>
              <a:endPara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en-US" altLang="ko-KR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ko-KR" altLang="en-US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회계법인과 </a:t>
              </a:r>
              <a:r>
                <a:rPr lang="en-US" altLang="ko-KR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PwC</a:t>
              </a:r>
              <a:r>
                <a:rPr lang="ko-KR" altLang="en-US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설팅의 </a:t>
              </a:r>
              <a:endPara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en-US" altLang="ko-KR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ko-KR" altLang="en-US" sz="859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심층 리포트 및 세미나 영상</a:t>
              </a:r>
            </a:p>
          </p:txBody>
        </p: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3C3019DD-1BD0-44A7-8111-AC239A3ED74A}"/>
                </a:ext>
              </a:extLst>
            </p:cNvPr>
            <p:cNvSpPr/>
            <p:nvPr/>
          </p:nvSpPr>
          <p:spPr>
            <a:xfrm>
              <a:off x="8610835" y="5141702"/>
              <a:ext cx="1836000" cy="81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defTabSz="2437985">
                <a:spcAft>
                  <a:spcPts val="600"/>
                </a:spcAft>
                <a:defRPr/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주요 뉴스를 매일</a:t>
              </a:r>
              <a:endPara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업데이트하여 제공</a:t>
              </a:r>
            </a:p>
          </p:txBody>
        </p:sp>
        <p:sp>
          <p:nvSpPr>
            <p:cNvPr id="106" name="직사각형 105">
              <a:extLst>
                <a:ext uri="{FF2B5EF4-FFF2-40B4-BE49-F238E27FC236}">
                  <a16:creationId xmlns:a16="http://schemas.microsoft.com/office/drawing/2014/main" id="{C79E6DCD-FFA0-43F6-A462-8156DCCAD61F}"/>
                </a:ext>
              </a:extLst>
            </p:cNvPr>
            <p:cNvSpPr/>
            <p:nvPr/>
          </p:nvSpPr>
          <p:spPr>
            <a:xfrm>
              <a:off x="8620058" y="6002927"/>
              <a:ext cx="1836000" cy="81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defTabSz="2437985">
                <a:spcAft>
                  <a:spcPts val="600"/>
                </a:spcAft>
                <a:defRPr/>
              </a:pP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교육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기업 맞춤형 교육 커리큘럼 안내</a:t>
              </a:r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삼일 세미나를 통한 핵심 이슈</a:t>
              </a:r>
              <a:endPara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defTabSz="2437985"/>
              <a:r>
                <a:rPr lang="en-US" altLang="ko-KR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교육 영상 제공 </a:t>
              </a:r>
            </a:p>
          </p:txBody>
        </p:sp>
      </p:grp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3C71B869-EDB9-4CFA-AF95-1BCC0B912AB9}"/>
              </a:ext>
            </a:extLst>
          </p:cNvPr>
          <p:cNvGrpSpPr/>
          <p:nvPr/>
        </p:nvGrpSpPr>
        <p:grpSpPr>
          <a:xfrm>
            <a:off x="4647957" y="4135059"/>
            <a:ext cx="1944000" cy="3618731"/>
            <a:chOff x="6672280" y="4294945"/>
            <a:chExt cx="1944000" cy="2944371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EC2DC38F-B9ED-45B6-B468-E3A9C1291201}"/>
                </a:ext>
              </a:extLst>
            </p:cNvPr>
            <p:cNvSpPr/>
            <p:nvPr/>
          </p:nvSpPr>
          <p:spPr>
            <a:xfrm>
              <a:off x="6672280" y="4294945"/>
              <a:ext cx="1944000" cy="2944371"/>
            </a:xfrm>
            <a:prstGeom prst="rect">
              <a:avLst/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109" name="직선 연결선 108">
              <a:extLst>
                <a:ext uri="{FF2B5EF4-FFF2-40B4-BE49-F238E27FC236}">
                  <a16:creationId xmlns:a16="http://schemas.microsoft.com/office/drawing/2014/main" id="{D55959C8-427C-4FEC-B5FA-D173776A98A7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7239316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119" name="직선 연결선 118">
              <a:extLst>
                <a:ext uri="{FF2B5EF4-FFF2-40B4-BE49-F238E27FC236}">
                  <a16:creationId xmlns:a16="http://schemas.microsoft.com/office/drawing/2014/main" id="{F5343176-8647-4D35-8A42-E64105E3BF27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4294945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197A1228-02CC-4530-BD4E-3D0F7F91AF3E}"/>
              </a:ext>
            </a:extLst>
          </p:cNvPr>
          <p:cNvSpPr/>
          <p:nvPr/>
        </p:nvSpPr>
        <p:spPr>
          <a:xfrm>
            <a:off x="4666685" y="4228792"/>
            <a:ext cx="1836000" cy="81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kumimoji="0" lang="en-US" altLang="ko-KR" sz="1000" b="1" i="0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defRPr/>
            </a:pP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공시 </a:t>
            </a:r>
            <a:r>
              <a:rPr lang="ko-KR" altLang="en-US" sz="850" spc="-7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별</a:t>
            </a:r>
            <a:r>
              <a:rPr lang="ko-KR" altLang="en-US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프레임워크 소개</a:t>
            </a:r>
            <a:endParaRPr lang="en-US" altLang="ko-KR" sz="850" spc="-7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>
              <a:defRPr/>
            </a:pP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각 기준서 원문</a:t>
            </a:r>
            <a:r>
              <a:rPr lang="en-US" altLang="ko-KR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</a:t>
            </a:r>
            <a:r>
              <a:rPr lang="en-US" altLang="ko-KR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례</a:t>
            </a:r>
            <a:r>
              <a:rPr lang="en-US" altLang="ko-KR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spc="-8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천 컨텐츠 </a:t>
            </a:r>
            <a:endParaRPr lang="en-US" altLang="ko-KR" sz="850" spc="-8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CC2AA0D6-7712-4CD9-997B-0953F37B8D08}"/>
              </a:ext>
            </a:extLst>
          </p:cNvPr>
          <p:cNvSpPr/>
          <p:nvPr/>
        </p:nvSpPr>
        <p:spPr>
          <a:xfrm>
            <a:off x="4658894" y="5095243"/>
            <a:ext cx="1836000" cy="81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defTabSz="2437985">
              <a:spcAft>
                <a:spcPts val="600"/>
              </a:spcAft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주요 평가기관 안내 </a:t>
            </a:r>
            <a:endParaRPr lang="en-US" altLang="ko-KR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5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주요 평가항목 및 개별 평가 </a:t>
            </a:r>
            <a:endParaRPr lang="en-US" altLang="ko-KR" sz="85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en-US" altLang="ko-KR" sz="85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ko-KR" altLang="en-US" sz="85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항목과 연계되는 </a:t>
            </a:r>
            <a:r>
              <a:rPr lang="en-US" altLang="ko-KR" sz="85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 </a:t>
            </a:r>
            <a:r>
              <a:rPr lang="ko-KR" altLang="en-US" sz="85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항 및 사례 </a:t>
            </a: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5FC5C03F-E339-4DED-99CF-1E828FCC41C0}"/>
              </a:ext>
            </a:extLst>
          </p:cNvPr>
          <p:cNvSpPr/>
          <p:nvPr/>
        </p:nvSpPr>
        <p:spPr>
          <a:xfrm>
            <a:off x="4678534" y="5977632"/>
            <a:ext cx="1836000" cy="81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defTabSz="2437985">
              <a:spcAft>
                <a:spcPts val="600"/>
              </a:spcAft>
              <a:defRPr/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증의 기본 개념 및 인증</a:t>
            </a:r>
            <a:endParaRPr lang="en-US" altLang="ko-KR" sz="8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방법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프로세스 안내</a:t>
            </a:r>
            <a:r>
              <a:rPr lang="en-US" altLang="ko-KR" sz="8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grpSp>
        <p:nvGrpSpPr>
          <p:cNvPr id="152" name="그룹 151">
            <a:extLst>
              <a:ext uri="{FF2B5EF4-FFF2-40B4-BE49-F238E27FC236}">
                <a16:creationId xmlns:a16="http://schemas.microsoft.com/office/drawing/2014/main" id="{2C9A3C0B-8CB1-4CEF-825A-0C0E86BADDC1}"/>
              </a:ext>
            </a:extLst>
          </p:cNvPr>
          <p:cNvGrpSpPr/>
          <p:nvPr/>
        </p:nvGrpSpPr>
        <p:grpSpPr>
          <a:xfrm>
            <a:off x="2555056" y="4132385"/>
            <a:ext cx="1944000" cy="3598545"/>
            <a:chOff x="6672280" y="4294945"/>
            <a:chExt cx="1944000" cy="2944371"/>
          </a:xfrm>
        </p:grpSpPr>
        <p:sp>
          <p:nvSpPr>
            <p:cNvPr id="153" name="직사각형 152">
              <a:extLst>
                <a:ext uri="{FF2B5EF4-FFF2-40B4-BE49-F238E27FC236}">
                  <a16:creationId xmlns:a16="http://schemas.microsoft.com/office/drawing/2014/main" id="{C9169E43-4126-4004-BE07-81FBE55EF8DF}"/>
                </a:ext>
              </a:extLst>
            </p:cNvPr>
            <p:cNvSpPr/>
            <p:nvPr/>
          </p:nvSpPr>
          <p:spPr>
            <a:xfrm>
              <a:off x="6672280" y="4294945"/>
              <a:ext cx="1944000" cy="2944371"/>
            </a:xfrm>
            <a:prstGeom prst="rect">
              <a:avLst/>
            </a:prstGeom>
            <a:solidFill>
              <a:schemeClr val="bg1"/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6000" tIns="109720" rIns="36000" bIns="109720" numCol="1" spcCol="38100" rtlCol="0" anchor="ctr">
              <a:noAutofit/>
            </a:bodyPr>
            <a:lstStyle/>
            <a:p>
              <a:pPr algn="ctr" defTabSz="2437985"/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154" name="직선 연결선 153">
              <a:extLst>
                <a:ext uri="{FF2B5EF4-FFF2-40B4-BE49-F238E27FC236}">
                  <a16:creationId xmlns:a16="http://schemas.microsoft.com/office/drawing/2014/main" id="{A4070FAD-60F9-48C9-8AC3-74205969876C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7239316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155" name="직선 연결선 154">
              <a:extLst>
                <a:ext uri="{FF2B5EF4-FFF2-40B4-BE49-F238E27FC236}">
                  <a16:creationId xmlns:a16="http://schemas.microsoft.com/office/drawing/2014/main" id="{9C2629D4-7789-417A-8B91-02CD37088244}"/>
                </a:ext>
              </a:extLst>
            </p:cNvPr>
            <p:cNvCxnSpPr>
              <a:cxnSpLocks/>
            </p:cNvCxnSpPr>
            <p:nvPr/>
          </p:nvCxnSpPr>
          <p:spPr>
            <a:xfrm>
              <a:off x="6672280" y="4294945"/>
              <a:ext cx="1944000" cy="0"/>
            </a:xfrm>
            <a:prstGeom prst="line">
              <a:avLst/>
            </a:prstGeom>
            <a:ln w="1905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56" name="그룹 155">
            <a:extLst>
              <a:ext uri="{FF2B5EF4-FFF2-40B4-BE49-F238E27FC236}">
                <a16:creationId xmlns:a16="http://schemas.microsoft.com/office/drawing/2014/main" id="{E33C0D2D-FBB0-4BE1-9E4C-232AF8C062C2}"/>
              </a:ext>
            </a:extLst>
          </p:cNvPr>
          <p:cNvGrpSpPr/>
          <p:nvPr/>
        </p:nvGrpSpPr>
        <p:grpSpPr>
          <a:xfrm>
            <a:off x="2600779" y="4228792"/>
            <a:ext cx="1866480" cy="3404160"/>
            <a:chOff x="8590016" y="3348847"/>
            <a:chExt cx="1839665" cy="3404160"/>
          </a:xfrm>
        </p:grpSpPr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43C541A0-58F6-47D6-AA58-9896C55CFC0B}"/>
                </a:ext>
              </a:extLst>
            </p:cNvPr>
            <p:cNvSpPr/>
            <p:nvPr/>
          </p:nvSpPr>
          <p:spPr>
            <a:xfrm>
              <a:off x="8603367" y="3348847"/>
              <a:ext cx="1809623" cy="8153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nvironment (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</a:t>
              </a:r>
              <a:r>
                <a:rPr kumimoji="0" lang="ko-KR" altLang="en-US" sz="850" b="0" i="0" u="none" strike="noStrike" kern="1200" cap="none" spc="-7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토픽에 대한 개념 및 추천 </a:t>
              </a: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</a:t>
              </a:r>
              <a:r>
                <a:rPr kumimoji="0" lang="ko-KR" altLang="en-US" sz="850" b="0" i="0" u="none" strike="noStrike" kern="1200" cap="none" spc="-7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endParaRPr kumimoji="0" lang="en-US" altLang="ko-KR" sz="850" b="0" i="0" u="none" strike="noStrike" kern="1200" cap="none" spc="-7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8" name="직사각형 157">
              <a:extLst>
                <a:ext uri="{FF2B5EF4-FFF2-40B4-BE49-F238E27FC236}">
                  <a16:creationId xmlns:a16="http://schemas.microsoft.com/office/drawing/2014/main" id="{19CABA94-DC23-44EC-B687-72C2A6114327}"/>
                </a:ext>
              </a:extLst>
            </p:cNvPr>
            <p:cNvSpPr/>
            <p:nvPr/>
          </p:nvSpPr>
          <p:spPr>
            <a:xfrm>
              <a:off x="8592589" y="4211163"/>
              <a:ext cx="1817734" cy="8211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ocial (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</a:t>
              </a: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토픽에 대한 개념 및 추천 컨텐츠 </a:t>
              </a:r>
              <a:endParaRPr lang="en-US" altLang="ko-KR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9" name="직사각형 158">
              <a:extLst>
                <a:ext uri="{FF2B5EF4-FFF2-40B4-BE49-F238E27FC236}">
                  <a16:creationId xmlns:a16="http://schemas.microsoft.com/office/drawing/2014/main" id="{32A41AB8-86DB-430A-874B-614ACF7A241B}"/>
                </a:ext>
              </a:extLst>
            </p:cNvPr>
            <p:cNvSpPr/>
            <p:nvPr/>
          </p:nvSpPr>
          <p:spPr>
            <a:xfrm>
              <a:off x="8590016" y="5094471"/>
              <a:ext cx="1839665" cy="81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overnance (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</a:t>
              </a: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토픽에 대한 개념 및 추천   </a:t>
              </a:r>
              <a:endParaRPr lang="en-US" altLang="ko-KR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</a:t>
              </a: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</a:t>
              </a:r>
              <a:endParaRPr lang="en-US" altLang="ko-KR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1889C8F2-A67B-498C-9F81-7A400F92EBD9}"/>
                </a:ext>
              </a:extLst>
            </p:cNvPr>
            <p:cNvSpPr/>
            <p:nvPr/>
          </p:nvSpPr>
          <p:spPr>
            <a:xfrm>
              <a:off x="8590016" y="5982607"/>
              <a:ext cx="1839665" cy="770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2000" tIns="36000" rIns="72000" bIns="36000" numCol="1" spcCol="38100" rtlCol="0" anchor="t">
              <a:noAutofit/>
            </a:bodyPr>
            <a:lstStyle/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Finance (</a:t>
              </a:r>
              <a:r>
                <a:rPr kumimoji="0" lang="ko-KR" altLang="en-US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금융</a:t>
              </a:r>
              <a:r>
                <a:rPr kumimoji="0" lang="en-US" altLang="ko-KR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∙ </a:t>
              </a: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속가능 금융 토픽에 대한 개념</a:t>
              </a:r>
              <a:endParaRPr lang="en-US" altLang="ko-KR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marL="0" marR="0" lvl="0" indent="0" algn="l" defTabSz="2437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50" spc="-7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및 추천 컨텐츠 </a:t>
              </a:r>
              <a:endParaRPr lang="en-US" altLang="ko-KR" sz="850" spc="-7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pic>
        <p:nvPicPr>
          <p:cNvPr id="13" name="그래픽 12" descr="오른쪽을 가리키는 검지  윤곽선">
            <a:extLst>
              <a:ext uri="{FF2B5EF4-FFF2-40B4-BE49-F238E27FC236}">
                <a16:creationId xmlns:a16="http://schemas.microsoft.com/office/drawing/2014/main" id="{2FB84DB1-3220-4918-A81E-ECDA2F62EA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8774970">
            <a:off x="315811" y="4320857"/>
            <a:ext cx="362722" cy="381041"/>
          </a:xfrm>
          <a:prstGeom prst="rect">
            <a:avLst/>
          </a:prstGeom>
        </p:spPr>
      </p:pic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0383EAB7-0641-4616-845F-C124FC28CB84}"/>
              </a:ext>
            </a:extLst>
          </p:cNvPr>
          <p:cNvGrpSpPr/>
          <p:nvPr/>
        </p:nvGrpSpPr>
        <p:grpSpPr>
          <a:xfrm>
            <a:off x="8827553" y="2743635"/>
            <a:ext cx="152754" cy="3670512"/>
            <a:chOff x="9201470" y="1601344"/>
            <a:chExt cx="188139" cy="4198758"/>
          </a:xfrm>
        </p:grpSpPr>
        <p:sp>
          <p:nvSpPr>
            <p:cNvPr id="166" name="직사각형 165">
              <a:extLst>
                <a:ext uri="{FF2B5EF4-FFF2-40B4-BE49-F238E27FC236}">
                  <a16:creationId xmlns:a16="http://schemas.microsoft.com/office/drawing/2014/main" id="{A40CB5B7-40BF-4572-910E-F1034EF9F3DE}"/>
                </a:ext>
              </a:extLst>
            </p:cNvPr>
            <p:cNvSpPr/>
            <p:nvPr/>
          </p:nvSpPr>
          <p:spPr>
            <a:xfrm>
              <a:off x="9201472" y="1810108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67" name="그룹 166">
              <a:extLst>
                <a:ext uri="{FF2B5EF4-FFF2-40B4-BE49-F238E27FC236}">
                  <a16:creationId xmlns:a16="http://schemas.microsoft.com/office/drawing/2014/main" id="{718A4C0B-5549-466F-B892-81ED4B6124CC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8B4FE6A8-AC7C-4A2C-80EE-6B2AB83B3252}"/>
                  </a:ext>
                </a:extLst>
              </p:cNvPr>
              <p:cNvSpPr/>
              <p:nvPr/>
            </p:nvSpPr>
            <p:spPr>
              <a:xfrm>
                <a:off x="9201495" y="2830469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69DEA3BB-E171-4392-8330-2F797FB8418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70" name="직사각형 169">
                <a:extLst>
                  <a:ext uri="{FF2B5EF4-FFF2-40B4-BE49-F238E27FC236}">
                    <a16:creationId xmlns:a16="http://schemas.microsoft.com/office/drawing/2014/main" id="{17306BF6-70A9-45FD-9D14-02FBC65CEA7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8D504F3-D495-46AF-BB84-FB0747A7174B}"/>
              </a:ext>
            </a:extLst>
          </p:cNvPr>
          <p:cNvSpPr/>
          <p:nvPr/>
        </p:nvSpPr>
        <p:spPr>
          <a:xfrm>
            <a:off x="2688897" y="4671049"/>
            <a:ext cx="438352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Net Zero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63DA7A04-AC41-40FC-8123-A801C9563A0B}"/>
              </a:ext>
            </a:extLst>
          </p:cNvPr>
          <p:cNvSpPr/>
          <p:nvPr/>
        </p:nvSpPr>
        <p:spPr>
          <a:xfrm>
            <a:off x="3157292" y="4667942"/>
            <a:ext cx="414236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ope3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1BAFC103-30D6-44A1-BB0A-7BFC42158C5E}"/>
              </a:ext>
            </a:extLst>
          </p:cNvPr>
          <p:cNvSpPr/>
          <p:nvPr/>
        </p:nvSpPr>
        <p:spPr>
          <a:xfrm>
            <a:off x="3601571" y="4671049"/>
            <a:ext cx="386383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4D9EFA85-CD09-4FD5-97B1-17EE4691523F}"/>
              </a:ext>
            </a:extLst>
          </p:cNvPr>
          <p:cNvSpPr/>
          <p:nvPr/>
        </p:nvSpPr>
        <p:spPr>
          <a:xfrm>
            <a:off x="2687251" y="4846514"/>
            <a:ext cx="800748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친환경제품∙서비스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815CCD11-E934-4FC2-BCB3-77781D8021C2}"/>
              </a:ext>
            </a:extLst>
          </p:cNvPr>
          <p:cNvSpPr/>
          <p:nvPr/>
        </p:nvSpPr>
        <p:spPr>
          <a:xfrm>
            <a:off x="3508787" y="4846514"/>
            <a:ext cx="479167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생물다양성</a:t>
            </a: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911A47B4-46B3-49DE-AFD8-8FC9E6C8F8C7}"/>
              </a:ext>
            </a:extLst>
          </p:cNvPr>
          <p:cNvSpPr/>
          <p:nvPr/>
        </p:nvSpPr>
        <p:spPr>
          <a:xfrm>
            <a:off x="4013394" y="4670583"/>
            <a:ext cx="394185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순환경제</a:t>
            </a: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A6CF1FD4-934B-48EB-A7F9-3459D9DC56B6}"/>
              </a:ext>
            </a:extLst>
          </p:cNvPr>
          <p:cNvSpPr/>
          <p:nvPr/>
        </p:nvSpPr>
        <p:spPr>
          <a:xfrm>
            <a:off x="4013395" y="4842699"/>
            <a:ext cx="394185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연자본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0AEF87E7-39D5-433C-BD45-EAE1F85B0A4B}"/>
              </a:ext>
            </a:extLst>
          </p:cNvPr>
          <p:cNvSpPr/>
          <p:nvPr/>
        </p:nvSpPr>
        <p:spPr>
          <a:xfrm>
            <a:off x="2687251" y="5524500"/>
            <a:ext cx="414799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적자본</a:t>
            </a: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03B0D862-05A2-4228-A985-9D5B920146B8}"/>
              </a:ext>
            </a:extLst>
          </p:cNvPr>
          <p:cNvSpPr/>
          <p:nvPr/>
        </p:nvSpPr>
        <p:spPr>
          <a:xfrm>
            <a:off x="3125004" y="5524500"/>
            <a:ext cx="245136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인권</a:t>
            </a: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419DDC8F-5889-4316-A640-B6FE59CAD68C}"/>
              </a:ext>
            </a:extLst>
          </p:cNvPr>
          <p:cNvSpPr/>
          <p:nvPr/>
        </p:nvSpPr>
        <p:spPr>
          <a:xfrm>
            <a:off x="3404435" y="5522687"/>
            <a:ext cx="479167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관리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E8485D4F-5E59-4679-97F9-EF950ED8C61E}"/>
              </a:ext>
            </a:extLst>
          </p:cNvPr>
          <p:cNvSpPr/>
          <p:nvPr/>
        </p:nvSpPr>
        <p:spPr>
          <a:xfrm>
            <a:off x="3920671" y="5524592"/>
            <a:ext cx="479167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비자보호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602FAA89-46D5-47AB-8C87-EC416E32C032}"/>
              </a:ext>
            </a:extLst>
          </p:cNvPr>
          <p:cNvSpPr/>
          <p:nvPr/>
        </p:nvSpPr>
        <p:spPr>
          <a:xfrm>
            <a:off x="2683522" y="6548507"/>
            <a:ext cx="376617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사회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41EC8E84-0F2E-4848-AF74-52BD0FDE18BC}"/>
              </a:ext>
            </a:extLst>
          </p:cNvPr>
          <p:cNvSpPr/>
          <p:nvPr/>
        </p:nvSpPr>
        <p:spPr>
          <a:xfrm>
            <a:off x="3091936" y="6545471"/>
            <a:ext cx="433568" cy="1445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부통제</a:t>
            </a: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B4B7473E-D3BE-4804-837E-C17B8479D61C}"/>
              </a:ext>
            </a:extLst>
          </p:cNvPr>
          <p:cNvSpPr/>
          <p:nvPr/>
        </p:nvSpPr>
        <p:spPr>
          <a:xfrm>
            <a:off x="3557301" y="6548507"/>
            <a:ext cx="407864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윤리경영</a:t>
            </a: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29982C8C-440B-4C8D-9A26-5355AAB707A7}"/>
              </a:ext>
            </a:extLst>
          </p:cNvPr>
          <p:cNvSpPr/>
          <p:nvPr/>
        </p:nvSpPr>
        <p:spPr>
          <a:xfrm>
            <a:off x="3989623" y="6548041"/>
            <a:ext cx="412581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주권리</a:t>
            </a: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66CE3E55-FB99-4DBA-9F51-AD619DAFB115}"/>
              </a:ext>
            </a:extLst>
          </p:cNvPr>
          <p:cNvSpPr/>
          <p:nvPr/>
        </p:nvSpPr>
        <p:spPr>
          <a:xfrm>
            <a:off x="2655065" y="7437521"/>
            <a:ext cx="575919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ko-KR" altLang="en-US" sz="75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후리스크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9B674B6A-B233-4730-BDDB-F412F6BC8257}"/>
              </a:ext>
            </a:extLst>
          </p:cNvPr>
          <p:cNvSpPr/>
          <p:nvPr/>
        </p:nvSpPr>
        <p:spPr>
          <a:xfrm>
            <a:off x="3262782" y="7437754"/>
            <a:ext cx="573154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투자</a:t>
            </a: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7D72F7E7-A0DB-4720-AA8D-1D6369E79407}"/>
              </a:ext>
            </a:extLst>
          </p:cNvPr>
          <p:cNvSpPr/>
          <p:nvPr/>
        </p:nvSpPr>
        <p:spPr>
          <a:xfrm>
            <a:off x="3866210" y="7442601"/>
            <a:ext cx="533628" cy="13906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채권</a:t>
            </a:r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CC369BC2-5557-4785-988F-9989C13A1345}"/>
              </a:ext>
            </a:extLst>
          </p:cNvPr>
          <p:cNvSpPr/>
          <p:nvPr/>
        </p:nvSpPr>
        <p:spPr>
          <a:xfrm>
            <a:off x="4743937" y="4788480"/>
            <a:ext cx="229109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610B9528-39B7-40EC-A05E-19464CCDB41C}"/>
              </a:ext>
            </a:extLst>
          </p:cNvPr>
          <p:cNvSpPr/>
          <p:nvPr/>
        </p:nvSpPr>
        <p:spPr>
          <a:xfrm>
            <a:off x="5007392" y="4788480"/>
            <a:ext cx="229109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SB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7C70F21C-807E-4723-9E78-84A949240742}"/>
              </a:ext>
            </a:extLst>
          </p:cNvPr>
          <p:cNvSpPr/>
          <p:nvPr/>
        </p:nvSpPr>
        <p:spPr>
          <a:xfrm>
            <a:off x="5268077" y="4788480"/>
            <a:ext cx="294043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2" name="사각형: 둥근 모서리 131">
            <a:extLst>
              <a:ext uri="{FF2B5EF4-FFF2-40B4-BE49-F238E27FC236}">
                <a16:creationId xmlns:a16="http://schemas.microsoft.com/office/drawing/2014/main" id="{58FA9638-BD26-4A08-9CAF-0BFCA5D59107}"/>
              </a:ext>
            </a:extLst>
          </p:cNvPr>
          <p:cNvSpPr/>
          <p:nvPr/>
        </p:nvSpPr>
        <p:spPr>
          <a:xfrm>
            <a:off x="5587857" y="4788425"/>
            <a:ext cx="276768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CFD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0A52A309-846D-4D21-A543-96990A1D7526}"/>
              </a:ext>
            </a:extLst>
          </p:cNvPr>
          <p:cNvSpPr/>
          <p:nvPr/>
        </p:nvSpPr>
        <p:spPr>
          <a:xfrm>
            <a:off x="5890486" y="4788480"/>
            <a:ext cx="286445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NFD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35FEC7FF-FEB8-4560-A98A-D1D83205EC22}"/>
              </a:ext>
            </a:extLst>
          </p:cNvPr>
          <p:cNvSpPr/>
          <p:nvPr/>
        </p:nvSpPr>
        <p:spPr>
          <a:xfrm>
            <a:off x="6197531" y="4788480"/>
            <a:ext cx="258510" cy="1472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altLang="ko-KR" sz="75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C</a:t>
            </a:r>
            <a:endParaRPr lang="ko-KR" altLang="en-US" sz="75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3FF106D-6F85-4A7C-8799-C62A12324D84}"/>
              </a:ext>
            </a:extLst>
          </p:cNvPr>
          <p:cNvSpPr/>
          <p:nvPr/>
        </p:nvSpPr>
        <p:spPr>
          <a:xfrm>
            <a:off x="6701753" y="5099401"/>
            <a:ext cx="1836000" cy="83522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36000" rIns="72000" bIns="36000" numCol="1" spcCol="38100" rtlCol="0" anchor="t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1000" b="1" i="0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실</a:t>
            </a:r>
            <a:endParaRPr kumimoji="0" lang="en-US" altLang="ko-KR" sz="1000" b="1" i="0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 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이드라인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</a:p>
          <a:p>
            <a:pPr defTabSz="2437985"/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 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련 연구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보고자료</a:t>
            </a:r>
            <a:endParaRPr lang="en-US" altLang="ko-KR" sz="859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2437985"/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 세미나</a:t>
            </a:r>
            <a:r>
              <a:rPr lang="en-US" altLang="ko-KR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59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웨비나</a:t>
            </a:r>
            <a:r>
              <a:rPr lang="ko-KR" altLang="en-US" sz="859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등 미디어 영상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4F425AF-972A-4DBA-9B24-0CCFE03CD8B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3ACC42C0-427C-479B-9521-6A6A87227B9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B507A12A-1327-4398-8B0D-167274A02975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0528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4976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Contact Us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설팅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리스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락처 안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797924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e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10769"/>
              </p:ext>
            </p:extLst>
          </p:nvPr>
        </p:nvGraphicFramePr>
        <p:xfrm>
          <a:off x="9267391" y="759198"/>
          <a:ext cx="2922885" cy="34618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4618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 메일 발송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주소 복사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39E6AB1A-E6EE-46C0-8493-A62CF70C840A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A73CC4C6-B92B-4DEE-864F-F0E291DFF83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26EE5BC-B0E4-4B3E-AFCD-636500A0E1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9FA32AD0-4D62-4322-B592-0FE28AAFDA58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E8F05E8A-B12E-4326-B119-4116C6626BD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309B1141-0C51-4543-B030-39B92AB9F3D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88B5F25-7601-4D69-ABB3-DB25CBD4EB37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04213080-B1DB-4A07-BDFB-20315F369274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992409C6-0658-41A5-8039-40B6D7E204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B2088418-BDD6-4CB9-B971-1E22106C278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712F08B8-666D-480E-8A8F-A8FA2B8D2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12344DF-5149-4BD1-A335-6436A935A02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0E769D91-42B1-4291-B13E-3F451909CA70}"/>
              </a:ext>
            </a:extLst>
          </p:cNvPr>
          <p:cNvSpPr/>
          <p:nvPr/>
        </p:nvSpPr>
        <p:spPr>
          <a:xfrm>
            <a:off x="511174" y="2926058"/>
            <a:ext cx="2560489" cy="232586"/>
          </a:xfrm>
          <a:prstGeom prst="rect">
            <a:avLst/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소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9AFFC4F3-1957-4A47-BC16-60C762658FE4}"/>
              </a:ext>
            </a:extLst>
          </p:cNvPr>
          <p:cNvGrpSpPr/>
          <p:nvPr/>
        </p:nvGrpSpPr>
        <p:grpSpPr>
          <a:xfrm>
            <a:off x="766997" y="3490547"/>
            <a:ext cx="8033918" cy="891831"/>
            <a:chOff x="778824" y="3284497"/>
            <a:chExt cx="8033918" cy="891831"/>
          </a:xfrm>
        </p:grpSpPr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FA4AE730-5552-4ADF-A6E8-FD5BCF59DEA9}"/>
                </a:ext>
              </a:extLst>
            </p:cNvPr>
            <p:cNvGrpSpPr/>
            <p:nvPr/>
          </p:nvGrpSpPr>
          <p:grpSpPr>
            <a:xfrm>
              <a:off x="778824" y="3284497"/>
              <a:ext cx="2364848" cy="891831"/>
              <a:chOff x="778824" y="3329256"/>
              <a:chExt cx="2364848" cy="891831"/>
            </a:xfrm>
          </p:grpSpPr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E9DC076B-00BC-499A-A88E-24B38E96BBA6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47" name="직사각형 46">
                <a:extLst>
                  <a:ext uri="{FF2B5EF4-FFF2-40B4-BE49-F238E27FC236}">
                    <a16:creationId xmlns:a16="http://schemas.microsoft.com/office/drawing/2014/main" id="{41F5D8A3-76FD-46EC-BED7-AD7391916EE2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스티븐 강   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Platform Lead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709 4788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u="sng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teven.c.kang@pwc.com</a:t>
                </a:r>
                <a:endParaRPr lang="ko-KR" altLang="en-US" sz="800" b="1" u="sng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98A56862-2855-4CAD-983D-96DD8CA8A1F4}"/>
                </a:ext>
              </a:extLst>
            </p:cNvPr>
            <p:cNvGrpSpPr/>
            <p:nvPr/>
          </p:nvGrpSpPr>
          <p:grpSpPr>
            <a:xfrm>
              <a:off x="3613359" y="3284497"/>
              <a:ext cx="2364848" cy="891831"/>
              <a:chOff x="778824" y="3329256"/>
              <a:chExt cx="2364848" cy="891831"/>
            </a:xfrm>
          </p:grpSpPr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78C92C70-44FC-4B02-848F-F79F64EBD837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AA674B79-232E-4BC1-A7D5-7768414C2A9B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8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권미엽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Assurance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709 7938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miyop.kwon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85BA1671-833D-4861-890D-937F3ED2D586}"/>
                </a:ext>
              </a:extLst>
            </p:cNvPr>
            <p:cNvGrpSpPr/>
            <p:nvPr/>
          </p:nvGrpSpPr>
          <p:grpSpPr>
            <a:xfrm>
              <a:off x="6447894" y="3284497"/>
              <a:ext cx="2364848" cy="891831"/>
              <a:chOff x="778824" y="3329256"/>
              <a:chExt cx="2364848" cy="891831"/>
            </a:xfrm>
          </p:grpSpPr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C45CA4FE-0EEF-4A52-866A-12F9B8460BCA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527F3906-B3F5-424A-88F9-34A51D17821B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이진규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Assurance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3781 9105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jin-kyu.lee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4ADEFA6-A111-46D5-81C5-A3B3B6F5D298}"/>
              </a:ext>
            </a:extLst>
          </p:cNvPr>
          <p:cNvGrpSpPr/>
          <p:nvPr/>
        </p:nvGrpSpPr>
        <p:grpSpPr>
          <a:xfrm>
            <a:off x="766997" y="4553393"/>
            <a:ext cx="8033918" cy="891831"/>
            <a:chOff x="778824" y="3284497"/>
            <a:chExt cx="8033918" cy="891831"/>
          </a:xfrm>
        </p:grpSpPr>
        <p:grpSp>
          <p:nvGrpSpPr>
            <p:cNvPr id="93" name="그룹 92">
              <a:extLst>
                <a:ext uri="{FF2B5EF4-FFF2-40B4-BE49-F238E27FC236}">
                  <a16:creationId xmlns:a16="http://schemas.microsoft.com/office/drawing/2014/main" id="{EAABE9C4-7244-4955-89C3-E3A37F8F9703}"/>
                </a:ext>
              </a:extLst>
            </p:cNvPr>
            <p:cNvGrpSpPr/>
            <p:nvPr/>
          </p:nvGrpSpPr>
          <p:grpSpPr>
            <a:xfrm>
              <a:off x="778824" y="3284497"/>
              <a:ext cx="2364848" cy="891831"/>
              <a:chOff x="778824" y="3329256"/>
              <a:chExt cx="2364848" cy="891831"/>
            </a:xfrm>
          </p:grpSpPr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DEE32A45-C929-481A-9F85-3C3530C76D36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AB40DAF4-2645-4FAA-AB39-7F44065F60A9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곽윤구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Deals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3781 2501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yun-goo.kwak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BA2075CB-30C9-4411-A524-815A6B8A304E}"/>
                </a:ext>
              </a:extLst>
            </p:cNvPr>
            <p:cNvGrpSpPr/>
            <p:nvPr/>
          </p:nvGrpSpPr>
          <p:grpSpPr>
            <a:xfrm>
              <a:off x="3613359" y="3284497"/>
              <a:ext cx="2364848" cy="891831"/>
              <a:chOff x="778824" y="3329256"/>
              <a:chExt cx="2364848" cy="891831"/>
            </a:xfrm>
          </p:grpSpPr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0C554278-05CC-4E44-9E16-D6AC6D19F27C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69673E8D-B92F-4EB9-8F00-0437860CB4B0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서용태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Deals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3781 2340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yong-tae.seo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7B5B272E-F4BD-4DD7-B422-C9A187A863CC}"/>
                </a:ext>
              </a:extLst>
            </p:cNvPr>
            <p:cNvGrpSpPr/>
            <p:nvPr/>
          </p:nvGrpSpPr>
          <p:grpSpPr>
            <a:xfrm>
              <a:off x="6447894" y="3284497"/>
              <a:ext cx="2364848" cy="891831"/>
              <a:chOff x="778824" y="3329256"/>
              <a:chExt cx="2364848" cy="891831"/>
            </a:xfrm>
          </p:grpSpPr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1E9FBE25-BA03-4C27-9BF4-0469EE1BF408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AE5AF856-C1B4-4E40-9667-FD5157E179E8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심수아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AX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3781 3113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sooa.shim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FCBC3FE6-8C09-4E2C-8651-89D8BA5F3FD1}"/>
              </a:ext>
            </a:extLst>
          </p:cNvPr>
          <p:cNvGrpSpPr/>
          <p:nvPr/>
        </p:nvGrpSpPr>
        <p:grpSpPr>
          <a:xfrm>
            <a:off x="764613" y="5758891"/>
            <a:ext cx="8033918" cy="891831"/>
            <a:chOff x="778824" y="3284497"/>
            <a:chExt cx="8033918" cy="891831"/>
          </a:xfrm>
        </p:grpSpPr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47B19690-4C2C-4F42-9179-12F7C2BE2A19}"/>
                </a:ext>
              </a:extLst>
            </p:cNvPr>
            <p:cNvGrpSpPr/>
            <p:nvPr/>
          </p:nvGrpSpPr>
          <p:grpSpPr>
            <a:xfrm>
              <a:off x="778824" y="3284497"/>
              <a:ext cx="2364848" cy="891831"/>
              <a:chOff x="778824" y="3329256"/>
              <a:chExt cx="2364848" cy="891831"/>
            </a:xfrm>
          </p:grpSpPr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E7096C63-23EF-4323-B30B-115147C73010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196C9EC-7077-4760-AAA2-BAC53290AD41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차경민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TAX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 709 3320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hong-hyeon.kim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6BABC444-4F38-4936-87A5-C54C217F9D59}"/>
                </a:ext>
              </a:extLst>
            </p:cNvPr>
            <p:cNvGrpSpPr/>
            <p:nvPr/>
          </p:nvGrpSpPr>
          <p:grpSpPr>
            <a:xfrm>
              <a:off x="3613359" y="3284497"/>
              <a:ext cx="2364848" cy="891831"/>
              <a:chOff x="778824" y="3329256"/>
              <a:chExt cx="2364848" cy="891831"/>
            </a:xfrm>
          </p:grpSpPr>
          <p:sp>
            <p:nvSpPr>
              <p:cNvPr id="109" name="직사각형 108">
                <a:extLst>
                  <a:ext uri="{FF2B5EF4-FFF2-40B4-BE49-F238E27FC236}">
                    <a16:creationId xmlns:a16="http://schemas.microsoft.com/office/drawing/2014/main" id="{5C4E7361-BB9A-4EA7-9167-EA1BC36919BC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07A480F1-B54F-4EC5-8CA9-9E9D9D5EE9E6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윤영창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wC</a:t>
                </a:r>
                <a:r>
                  <a:rPr lang="ko-KR" altLang="en-US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Consulting FRC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-709-3354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youngchang.yun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1194EF64-FB92-48F1-82F8-BEEF9EF86A51}"/>
                </a:ext>
              </a:extLst>
            </p:cNvPr>
            <p:cNvGrpSpPr/>
            <p:nvPr/>
          </p:nvGrpSpPr>
          <p:grpSpPr>
            <a:xfrm>
              <a:off x="6447894" y="3284497"/>
              <a:ext cx="2364848" cy="891831"/>
              <a:chOff x="778824" y="3329256"/>
              <a:chExt cx="2364848" cy="891831"/>
            </a:xfrm>
          </p:grpSpPr>
          <p:sp>
            <p:nvSpPr>
              <p:cNvPr id="107" name="직사각형 106">
                <a:extLst>
                  <a:ext uri="{FF2B5EF4-FFF2-40B4-BE49-F238E27FC236}">
                    <a16:creationId xmlns:a16="http://schemas.microsoft.com/office/drawing/2014/main" id="{907D9BB0-72C5-4539-BEAB-A7F0EC564139}"/>
                  </a:ext>
                </a:extLst>
              </p:cNvPr>
              <p:cNvSpPr/>
              <p:nvPr/>
            </p:nvSpPr>
            <p:spPr>
              <a:xfrm>
                <a:off x="778824" y="3329256"/>
                <a:ext cx="708664" cy="8918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사진</a:t>
                </a: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C095BC30-8AEB-4789-9A86-1A77C1CDB9C1}"/>
                  </a:ext>
                </a:extLst>
              </p:cNvPr>
              <p:cNvSpPr/>
              <p:nvPr/>
            </p:nvSpPr>
            <p:spPr>
              <a:xfrm>
                <a:off x="1502302" y="3329256"/>
                <a:ext cx="1641370" cy="8918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  <a:spcAft>
                    <a:spcPts val="1200"/>
                  </a:spcAft>
                </a:pPr>
                <a:r>
                  <a:rPr lang="ko-KR" altLang="en-US" sz="900" b="1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김진유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ko-KR" altLang="en-US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</a:t>
                </a:r>
                <a:r>
                  <a:rPr lang="en-US" altLang="ko-KR" sz="9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wC Consulting FS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-3781-1486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jin-you.kim@pwc.com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cxnSp>
        <p:nvCxnSpPr>
          <p:cNvPr id="122" name="직선 연결선 121">
            <a:extLst>
              <a:ext uri="{FF2B5EF4-FFF2-40B4-BE49-F238E27FC236}">
                <a16:creationId xmlns:a16="http://schemas.microsoft.com/office/drawing/2014/main" id="{369C59F1-CF48-4CE3-8174-E9004225B62D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460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D4BECE5-0C06-498B-809C-BDB4C7282713}"/>
              </a:ext>
            </a:extLst>
          </p:cNvPr>
          <p:cNvSpPr/>
          <p:nvPr/>
        </p:nvSpPr>
        <p:spPr>
          <a:xfrm>
            <a:off x="51873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]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개</a:t>
            </a: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BDB0B856-3864-49B7-84D4-7A75AF2820EB}"/>
              </a:ext>
            </a:extLst>
          </p:cNvPr>
          <p:cNvSpPr/>
          <p:nvPr/>
        </p:nvSpPr>
        <p:spPr>
          <a:xfrm>
            <a:off x="186004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소개</a:t>
            </a: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F168A078-AA7D-45C3-BE2D-84616308696A}"/>
              </a:ext>
            </a:extLst>
          </p:cNvPr>
          <p:cNvSpPr/>
          <p:nvPr/>
        </p:nvSpPr>
        <p:spPr>
          <a:xfrm>
            <a:off x="3201355" y="2357871"/>
            <a:ext cx="1246262" cy="385764"/>
          </a:xfrm>
          <a:prstGeom prst="rect">
            <a:avLst/>
          </a:prstGeom>
          <a:solidFill>
            <a:schemeClr val="bg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이트 구성 안내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5CD73136-248C-47B7-9F89-DDF647511ED2}"/>
              </a:ext>
            </a:extLst>
          </p:cNvPr>
          <p:cNvSpPr/>
          <p:nvPr/>
        </p:nvSpPr>
        <p:spPr>
          <a:xfrm>
            <a:off x="4542664" y="2357871"/>
            <a:ext cx="1246262" cy="385764"/>
          </a:xfrm>
          <a:prstGeom prst="rect">
            <a:avLst/>
          </a:prstGeom>
          <a:solidFill>
            <a:schemeClr val="tx1"/>
          </a:solidFill>
          <a:ln w="3175" cap="flat">
            <a:solidFill>
              <a:schemeClr val="bg1">
                <a:lumMod val="6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algn="ctr"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ntact Us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EB784D6C-21EF-481E-9D05-E2718000F36F}"/>
              </a:ext>
            </a:extLst>
          </p:cNvPr>
          <p:cNvSpPr/>
          <p:nvPr/>
        </p:nvSpPr>
        <p:spPr>
          <a:xfrm>
            <a:off x="1397201" y="42032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5708BE97-099F-4133-BD2C-8B41267A58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2216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bout Us</a:t>
            </a:r>
          </a:p>
        </p:txBody>
      </p:sp>
      <p:pic>
        <p:nvPicPr>
          <p:cNvPr id="62" name="Picture 2" descr="Copy ">
            <a:extLst>
              <a:ext uri="{FF2B5EF4-FFF2-40B4-BE49-F238E27FC236}">
                <a16:creationId xmlns:a16="http://schemas.microsoft.com/office/drawing/2014/main" id="{D33EEAC3-6F6F-4FC7-B6CB-CF2DE9AA56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9822" y="4185388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 descr="Copy ">
            <a:extLst>
              <a:ext uri="{FF2B5EF4-FFF2-40B4-BE49-F238E27FC236}">
                <a16:creationId xmlns:a16="http://schemas.microsoft.com/office/drawing/2014/main" id="{D4CD8ADB-C531-45BE-AEE6-E7502697F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7773" y="5249964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Copy ">
            <a:extLst>
              <a:ext uri="{FF2B5EF4-FFF2-40B4-BE49-F238E27FC236}">
                <a16:creationId xmlns:a16="http://schemas.microsoft.com/office/drawing/2014/main" id="{58484121-DEC4-4EE6-A1AF-78B2D53B88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601" y="6464831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Copy ">
            <a:extLst>
              <a:ext uri="{FF2B5EF4-FFF2-40B4-BE49-F238E27FC236}">
                <a16:creationId xmlns:a16="http://schemas.microsoft.com/office/drawing/2014/main" id="{249D57A2-D39D-4F67-B7B3-B9FB173A51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13" y="4195266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Copy ">
            <a:extLst>
              <a:ext uri="{FF2B5EF4-FFF2-40B4-BE49-F238E27FC236}">
                <a16:creationId xmlns:a16="http://schemas.microsoft.com/office/drawing/2014/main" id="{57B4BB31-F1F3-46E6-9994-E5FE39F9F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43" y="4203209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Copy ">
            <a:extLst>
              <a:ext uri="{FF2B5EF4-FFF2-40B4-BE49-F238E27FC236}">
                <a16:creationId xmlns:a16="http://schemas.microsoft.com/office/drawing/2014/main" id="{275AABC7-6FF6-40E0-AE0A-8DA513F31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2628" y="5261492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" descr="Copy ">
            <a:extLst>
              <a:ext uri="{FF2B5EF4-FFF2-40B4-BE49-F238E27FC236}">
                <a16:creationId xmlns:a16="http://schemas.microsoft.com/office/drawing/2014/main" id="{9CEB46C0-5C26-4DC7-B84D-70253307D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610" y="6464830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Copy ">
            <a:extLst>
              <a:ext uri="{FF2B5EF4-FFF2-40B4-BE49-F238E27FC236}">
                <a16:creationId xmlns:a16="http://schemas.microsoft.com/office/drawing/2014/main" id="{07B9AE2A-E818-402D-BCAA-B102133423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0994" y="5250731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 descr="Copy ">
            <a:extLst>
              <a:ext uri="{FF2B5EF4-FFF2-40B4-BE49-F238E27FC236}">
                <a16:creationId xmlns:a16="http://schemas.microsoft.com/office/drawing/2014/main" id="{DCF75512-D6BE-45AE-A0C5-AB9760BB6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945" y="6464831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말풍선: 모서리가 둥근 사각형 82">
            <a:extLst>
              <a:ext uri="{FF2B5EF4-FFF2-40B4-BE49-F238E27FC236}">
                <a16:creationId xmlns:a16="http://schemas.microsoft.com/office/drawing/2014/main" id="{08A42B5C-7D6C-4575-AF46-C119FB9C592B}"/>
              </a:ext>
            </a:extLst>
          </p:cNvPr>
          <p:cNvSpPr/>
          <p:nvPr/>
        </p:nvSpPr>
        <p:spPr bwMode="auto">
          <a:xfrm>
            <a:off x="3481977" y="3854130"/>
            <a:ext cx="724326" cy="413085"/>
          </a:xfrm>
          <a:prstGeom prst="wedgeRoundRectCallout">
            <a:avLst>
              <a:gd name="adj1" fmla="val -21947"/>
              <a:gd name="adj2" fmla="val 75291"/>
              <a:gd name="adj3" fmla="val 16667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  <a:effectLst>
            <a:outerShdw blurRad="12700" dist="6350" dir="2700000" algn="ctr" rotWithShape="0">
              <a:schemeClr val="tx1">
                <a:alpha val="10000"/>
              </a:schemeClr>
            </a:outerShdw>
          </a:effectLst>
        </p:spPr>
        <p:txBody>
          <a:bodyPr wrap="square" lIns="90000" tIns="46800" rIns="90000" bIns="46800" rtlCol="0" anchor="t">
            <a:no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주소</a:t>
            </a:r>
            <a:endParaRPr lang="en-US" altLang="ko-KR" sz="700" b="1" spc="-3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ko-KR" altLang="en-US" sz="7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하기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F55C800-0798-4501-BF86-FD99F678C8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26699" y="1185975"/>
            <a:ext cx="2361259" cy="2531057"/>
          </a:xfrm>
          <a:prstGeom prst="rect">
            <a:avLst/>
          </a:prstGeom>
        </p:spPr>
      </p:pic>
      <p:sp>
        <p:nvSpPr>
          <p:cNvPr id="84" name="직사각형 83">
            <a:extLst>
              <a:ext uri="{FF2B5EF4-FFF2-40B4-BE49-F238E27FC236}">
                <a16:creationId xmlns:a16="http://schemas.microsoft.com/office/drawing/2014/main" id="{134035EB-6E16-47AD-AD50-0F8B33366C9A}"/>
              </a:ext>
            </a:extLst>
          </p:cNvPr>
          <p:cNvSpPr/>
          <p:nvPr/>
        </p:nvSpPr>
        <p:spPr>
          <a:xfrm>
            <a:off x="9261385" y="1"/>
            <a:ext cx="2950181" cy="1049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이메일 발송기능 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복사기능으로 대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 소개 소속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본부별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영역 구분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리스트는 별도 전달 예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84FD0FE-1F59-4403-8770-89B249744D9F}"/>
              </a:ext>
            </a:extLst>
          </p:cNvPr>
          <p:cNvSpPr/>
          <p:nvPr/>
        </p:nvSpPr>
        <p:spPr>
          <a:xfrm>
            <a:off x="683967" y="3163692"/>
            <a:ext cx="1799209" cy="26583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Assurance  |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F4C09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0DD9B52A-1E3A-42AF-A3C2-1E18531162AA}"/>
              </a:ext>
            </a:extLst>
          </p:cNvPr>
          <p:cNvSpPr/>
          <p:nvPr/>
        </p:nvSpPr>
        <p:spPr>
          <a:xfrm>
            <a:off x="673972" y="5506084"/>
            <a:ext cx="1799209" cy="26583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inancial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ervice  | </a:t>
            </a:r>
            <a:r>
              <a:rPr lang="en-US" altLang="ko-KR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C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F4C09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951C1142-2079-4D67-B707-623EAB64C636}"/>
              </a:ext>
            </a:extLst>
          </p:cNvPr>
          <p:cNvSpPr/>
          <p:nvPr/>
        </p:nvSpPr>
        <p:spPr bwMode="auto">
          <a:xfrm>
            <a:off x="343222" y="6409642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170F158F-8DF9-4112-9A49-8A129F112DB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F99A217D-33A6-4844-B442-2958CDDE6297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「삼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」 플랫폼의 목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역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성을 소개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PwC Korea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제공하는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문 및 컨설팅 서비스를 안내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800254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그림 109">
            <a:extLst>
              <a:ext uri="{FF2B5EF4-FFF2-40B4-BE49-F238E27FC236}">
                <a16:creationId xmlns:a16="http://schemas.microsoft.com/office/drawing/2014/main" id="{442F1034-019F-42F0-A2C7-B53038CE5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648" y="1289968"/>
            <a:ext cx="8635659" cy="2150636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211537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레이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52F139EE-7752-4B38-8745-7B32574927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8733"/>
          <a:stretch/>
        </p:blipFill>
        <p:spPr>
          <a:xfrm>
            <a:off x="344648" y="693623"/>
            <a:ext cx="1839227" cy="575137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36368BE3-AE4C-4357-BFEF-6647F0F1CDA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5BF00D27-053B-4A03-8630-C1C9F2D10A3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650" t="49932"/>
          <a:stretch/>
        </p:blipFill>
        <p:spPr>
          <a:xfrm>
            <a:off x="7978084" y="958332"/>
            <a:ext cx="1068038" cy="287959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E406E02-5F1D-49FB-B3BB-F4A716150645}"/>
              </a:ext>
            </a:extLst>
          </p:cNvPr>
          <p:cNvSpPr/>
          <p:nvPr/>
        </p:nvSpPr>
        <p:spPr>
          <a:xfrm>
            <a:off x="2413653" y="1049803"/>
            <a:ext cx="5359944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〮계획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      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〮평가〮인증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〮동향</a:t>
            </a:r>
            <a:endParaRPr lang="ko-KR" altLang="en-US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F563AB5F-5795-4D63-BD0E-5DF30D741F9F}"/>
              </a:ext>
            </a:extLst>
          </p:cNvPr>
          <p:cNvCxnSpPr>
            <a:cxnSpLocks/>
          </p:cNvCxnSpPr>
          <p:nvPr/>
        </p:nvCxnSpPr>
        <p:spPr>
          <a:xfrm>
            <a:off x="4295800" y="1100109"/>
            <a:ext cx="0" cy="15645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923539"/>
              </p:ext>
            </p:extLst>
          </p:nvPr>
        </p:nvGraphicFramePr>
        <p:xfrm>
          <a:off x="9273919" y="729342"/>
          <a:ext cx="2922885" cy="4794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55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레이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GN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 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arch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레이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닫기 버튼 클릭 시 레이어 닫힘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8925559"/>
                  </a:ext>
                </a:extLst>
              </a:tr>
              <a:tr h="2955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입력 필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지정한 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입력 시 자동완성 기능 지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음을 입력할 때마다 동일하게 시작하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어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나열하여 보여줌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2464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씩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정된 영역 초과 시 줄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x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해당 검색어 바로 삭제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삭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최근 검색어 모두 삭제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끄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리스트 노출하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않으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저장 기능이 꺼져 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안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기 검색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기 검색어 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씩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정된 영역 초과 시 줄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기 검색어 선정 기준 일자 노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기 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8996643"/>
                  </a:ext>
                </a:extLst>
              </a:tr>
            </a:tbl>
          </a:graphicData>
        </a:graphic>
      </p:graphicFrame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E0D88BC3-6E3C-4D49-A4A5-045471D55E6D}"/>
              </a:ext>
            </a:extLst>
          </p:cNvPr>
          <p:cNvSpPr/>
          <p:nvPr/>
        </p:nvSpPr>
        <p:spPr>
          <a:xfrm>
            <a:off x="717597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EE54F963-77CE-4615-94B0-A3B3B6F34DBB}"/>
              </a:ext>
            </a:extLst>
          </p:cNvPr>
          <p:cNvSpPr/>
          <p:nvPr/>
        </p:nvSpPr>
        <p:spPr>
          <a:xfrm>
            <a:off x="2770460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154C6DE5-9359-4112-8F44-A4D0A2EED4FD}"/>
              </a:ext>
            </a:extLst>
          </p:cNvPr>
          <p:cNvSpPr/>
          <p:nvPr/>
        </p:nvSpPr>
        <p:spPr>
          <a:xfrm>
            <a:off x="4823323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166303E8-59C2-4672-9C53-B19000CF3A44}"/>
              </a:ext>
            </a:extLst>
          </p:cNvPr>
          <p:cNvSpPr/>
          <p:nvPr/>
        </p:nvSpPr>
        <p:spPr>
          <a:xfrm>
            <a:off x="6885612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CE45104A-B3C5-48E5-8B8E-99DE6E512A7F}"/>
              </a:ext>
            </a:extLst>
          </p:cNvPr>
          <p:cNvSpPr/>
          <p:nvPr/>
        </p:nvSpPr>
        <p:spPr>
          <a:xfrm>
            <a:off x="782205" y="4389952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D871AB24-269F-4FBB-BCA5-57227ED45C79}"/>
              </a:ext>
            </a:extLst>
          </p:cNvPr>
          <p:cNvSpPr/>
          <p:nvPr/>
        </p:nvSpPr>
        <p:spPr>
          <a:xfrm>
            <a:off x="4902613" y="4391502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CA084674-6FC3-4759-A61C-97906A98177C}"/>
              </a:ext>
            </a:extLst>
          </p:cNvPr>
          <p:cNvSpPr/>
          <p:nvPr/>
        </p:nvSpPr>
        <p:spPr>
          <a:xfrm>
            <a:off x="6965250" y="4388125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F49257D1-D85C-424F-9CCD-14D8A929B3D2}"/>
              </a:ext>
            </a:extLst>
          </p:cNvPr>
          <p:cNvSpPr/>
          <p:nvPr/>
        </p:nvSpPr>
        <p:spPr>
          <a:xfrm>
            <a:off x="3504345" y="4379149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799F5F2A-B868-4184-87E7-10A8CC0A988C}"/>
              </a:ext>
            </a:extLst>
          </p:cNvPr>
          <p:cNvSpPr/>
          <p:nvPr/>
        </p:nvSpPr>
        <p:spPr>
          <a:xfrm>
            <a:off x="2839804" y="4389952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2" name="그림 131">
            <a:extLst>
              <a:ext uri="{FF2B5EF4-FFF2-40B4-BE49-F238E27FC236}">
                <a16:creationId xmlns:a16="http://schemas.microsoft.com/office/drawing/2014/main" id="{B4255248-6C52-43E1-90B9-5D5E5D11FE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1392" y="4481678"/>
            <a:ext cx="418299" cy="377420"/>
          </a:xfrm>
          <a:prstGeom prst="rect">
            <a:avLst/>
          </a:prstGeom>
        </p:spPr>
      </p:pic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6E17BD9D-696D-4843-9CA6-8FCECECA68CE}"/>
              </a:ext>
            </a:extLst>
          </p:cNvPr>
          <p:cNvSpPr/>
          <p:nvPr/>
        </p:nvSpPr>
        <p:spPr>
          <a:xfrm>
            <a:off x="5470726" y="4372564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 및 사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D792C85B-E4E2-425D-BEC1-09F1005F7D21}"/>
              </a:ext>
            </a:extLst>
          </p:cNvPr>
          <p:cNvSpPr/>
          <p:nvPr/>
        </p:nvSpPr>
        <p:spPr>
          <a:xfrm>
            <a:off x="1402064" y="4372563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소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5" name="그림 134">
            <a:extLst>
              <a:ext uri="{FF2B5EF4-FFF2-40B4-BE49-F238E27FC236}">
                <a16:creationId xmlns:a16="http://schemas.microsoft.com/office/drawing/2014/main" id="{AEF7ECA3-22CB-4007-93BF-4EEE20AC4A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4855" y="4476180"/>
            <a:ext cx="322214" cy="322214"/>
          </a:xfrm>
          <a:prstGeom prst="rect">
            <a:avLst/>
          </a:prstGeom>
        </p:spPr>
      </p:pic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E2124E50-74F3-45EA-80D6-60B2BC9D7D48}"/>
              </a:ext>
            </a:extLst>
          </p:cNvPr>
          <p:cNvSpPr/>
          <p:nvPr/>
        </p:nvSpPr>
        <p:spPr>
          <a:xfrm>
            <a:off x="7471278" y="4384644"/>
            <a:ext cx="1248924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amp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471EA379-FF2B-42C9-B5F3-BA984B8D4397}"/>
              </a:ext>
            </a:extLst>
          </p:cNvPr>
          <p:cNvSpPr/>
          <p:nvPr/>
        </p:nvSpPr>
        <p:spPr>
          <a:xfrm>
            <a:off x="697285" y="2883416"/>
            <a:ext cx="7946027" cy="11234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298738B7-6225-46B0-957E-2EC3A6D0384F}"/>
              </a:ext>
            </a:extLst>
          </p:cNvPr>
          <p:cNvGrpSpPr/>
          <p:nvPr/>
        </p:nvGrpSpPr>
        <p:grpSpPr>
          <a:xfrm>
            <a:off x="1719063" y="3170568"/>
            <a:ext cx="5810108" cy="393370"/>
            <a:chOff x="2130990" y="3232315"/>
            <a:chExt cx="5714779" cy="39337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B91ABA63-EDAB-4F49-94A8-ECF2E7E1DE53}"/>
                </a:ext>
              </a:extLst>
            </p:cNvPr>
            <p:cNvSpPr/>
            <p:nvPr/>
          </p:nvSpPr>
          <p:spPr>
            <a:xfrm>
              <a:off x="2155750" y="3232315"/>
              <a:ext cx="5690019" cy="39337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140" name="그림 139">
              <a:extLst>
                <a:ext uri="{FF2B5EF4-FFF2-40B4-BE49-F238E27FC236}">
                  <a16:creationId xmlns:a16="http://schemas.microsoft.com/office/drawing/2014/main" id="{AC946F2E-631B-4FF4-93C3-AF14C3D9E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47241" y="3326599"/>
              <a:ext cx="216024" cy="216024"/>
            </a:xfrm>
            <a:prstGeom prst="rect">
              <a:avLst/>
            </a:prstGeom>
          </p:spPr>
        </p:pic>
        <p:cxnSp>
          <p:nvCxnSpPr>
            <p:cNvPr id="141" name="직선 연결선 140">
              <a:extLst>
                <a:ext uri="{FF2B5EF4-FFF2-40B4-BE49-F238E27FC236}">
                  <a16:creationId xmlns:a16="http://schemas.microsoft.com/office/drawing/2014/main" id="{8EC3A26A-71CC-4E30-8F20-67824667E61A}"/>
                </a:ext>
              </a:extLst>
            </p:cNvPr>
            <p:cNvCxnSpPr>
              <a:cxnSpLocks/>
            </p:cNvCxnSpPr>
            <p:nvPr/>
          </p:nvCxnSpPr>
          <p:spPr>
            <a:xfrm>
              <a:off x="2961556" y="3301408"/>
              <a:ext cx="0" cy="232818"/>
            </a:xfrm>
            <a:prstGeom prst="line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2" name="직사각형 141">
              <a:extLst>
                <a:ext uri="{FF2B5EF4-FFF2-40B4-BE49-F238E27FC236}">
                  <a16:creationId xmlns:a16="http://schemas.microsoft.com/office/drawing/2014/main" id="{B264F290-6835-4770-9408-924DF518F08A}"/>
                </a:ext>
              </a:extLst>
            </p:cNvPr>
            <p:cNvSpPr/>
            <p:nvPr/>
          </p:nvSpPr>
          <p:spPr>
            <a:xfrm>
              <a:off x="2130990" y="3309805"/>
              <a:ext cx="723956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통합검색</a:t>
              </a:r>
            </a:p>
          </p:txBody>
        </p:sp>
        <p:sp>
          <p:nvSpPr>
            <p:cNvPr id="143" name="이등변 삼각형 142">
              <a:extLst>
                <a:ext uri="{FF2B5EF4-FFF2-40B4-BE49-F238E27FC236}">
                  <a16:creationId xmlns:a16="http://schemas.microsoft.com/office/drawing/2014/main" id="{C3D9E4B9-D6E8-423F-8463-5218BEC7BBB2}"/>
                </a:ext>
              </a:extLst>
            </p:cNvPr>
            <p:cNvSpPr/>
            <p:nvPr/>
          </p:nvSpPr>
          <p:spPr>
            <a:xfrm flipH="1" flipV="1">
              <a:off x="2773692" y="3404235"/>
              <a:ext cx="64800" cy="45719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144" name="그림 143">
            <a:extLst>
              <a:ext uri="{FF2B5EF4-FFF2-40B4-BE49-F238E27FC236}">
                <a16:creationId xmlns:a16="http://schemas.microsoft.com/office/drawing/2014/main" id="{5910B15F-5AFA-4A40-830F-BA7B926373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0725" y="4438429"/>
            <a:ext cx="549652" cy="370979"/>
          </a:xfrm>
          <a:prstGeom prst="rect">
            <a:avLst/>
          </a:prstGeom>
        </p:spPr>
      </p:pic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430C472D-12A1-4EF8-A6FF-742758879A45}"/>
              </a:ext>
            </a:extLst>
          </p:cNvPr>
          <p:cNvSpPr/>
          <p:nvPr/>
        </p:nvSpPr>
        <p:spPr>
          <a:xfrm>
            <a:off x="2247341" y="3623661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46" name="그림 145">
            <a:extLst>
              <a:ext uri="{FF2B5EF4-FFF2-40B4-BE49-F238E27FC236}">
                <a16:creationId xmlns:a16="http://schemas.microsoft.com/office/drawing/2014/main" id="{56878E1D-BCC8-46F1-BD16-21DD79E6C5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1061" y="4411643"/>
            <a:ext cx="409968" cy="409968"/>
          </a:xfrm>
          <a:prstGeom prst="rect">
            <a:avLst/>
          </a:prstGeom>
        </p:spPr>
      </p:pic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0839D51E-71DE-467B-BB19-1BD51955F924}"/>
              </a:ext>
            </a:extLst>
          </p:cNvPr>
          <p:cNvSpPr/>
          <p:nvPr/>
        </p:nvSpPr>
        <p:spPr>
          <a:xfrm>
            <a:off x="2590314" y="3248058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0" name="그룹 149">
            <a:extLst>
              <a:ext uri="{FF2B5EF4-FFF2-40B4-BE49-F238E27FC236}">
                <a16:creationId xmlns:a16="http://schemas.microsoft.com/office/drawing/2014/main" id="{2D6700DD-A3D8-47A5-B315-535D931C2AB9}"/>
              </a:ext>
            </a:extLst>
          </p:cNvPr>
          <p:cNvGrpSpPr/>
          <p:nvPr/>
        </p:nvGrpSpPr>
        <p:grpSpPr>
          <a:xfrm>
            <a:off x="2590314" y="3623661"/>
            <a:ext cx="644308" cy="140179"/>
            <a:chOff x="2523202" y="3707551"/>
            <a:chExt cx="644308" cy="140179"/>
          </a:xfrm>
        </p:grpSpPr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A94956C5-6562-4ABB-893B-7F7B81479408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2" name="직사각형 151">
              <a:extLst>
                <a:ext uri="{FF2B5EF4-FFF2-40B4-BE49-F238E27FC236}">
                  <a16:creationId xmlns:a16="http://schemas.microsoft.com/office/drawing/2014/main" id="{580A01F3-3097-41E3-9A6B-9DB78F110F63}"/>
                </a:ext>
              </a:extLst>
            </p:cNvPr>
            <p:cNvSpPr/>
            <p:nvPr/>
          </p:nvSpPr>
          <p:spPr>
            <a:xfrm>
              <a:off x="2631772" y="3707551"/>
              <a:ext cx="535738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55" name="그룹 154">
            <a:extLst>
              <a:ext uri="{FF2B5EF4-FFF2-40B4-BE49-F238E27FC236}">
                <a16:creationId xmlns:a16="http://schemas.microsoft.com/office/drawing/2014/main" id="{046B487A-2411-4CA3-A3B3-F3082F17469C}"/>
              </a:ext>
            </a:extLst>
          </p:cNvPr>
          <p:cNvGrpSpPr/>
          <p:nvPr/>
        </p:nvGrpSpPr>
        <p:grpSpPr>
          <a:xfrm>
            <a:off x="3487431" y="3628020"/>
            <a:ext cx="968266" cy="140179"/>
            <a:chOff x="2523202" y="3707551"/>
            <a:chExt cx="968266" cy="140179"/>
          </a:xfrm>
        </p:grpSpPr>
        <p:sp>
          <p:nvSpPr>
            <p:cNvPr id="156" name="사각형: 둥근 모서리 155">
              <a:extLst>
                <a:ext uri="{FF2B5EF4-FFF2-40B4-BE49-F238E27FC236}">
                  <a16:creationId xmlns:a16="http://schemas.microsoft.com/office/drawing/2014/main" id="{564BF73B-3852-4981-A500-E678FD04092C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8AB35020-C433-41F3-B2F8-D5B3B7DDDBE8}"/>
                </a:ext>
              </a:extLst>
            </p:cNvPr>
            <p:cNvSpPr/>
            <p:nvPr/>
          </p:nvSpPr>
          <p:spPr>
            <a:xfrm>
              <a:off x="2631772" y="3707551"/>
              <a:ext cx="859696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공시</a:t>
              </a:r>
            </a:p>
          </p:txBody>
        </p:sp>
      </p:grp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AD9AA81B-1F66-4CE7-9E39-3CC6F8EC0390}"/>
              </a:ext>
            </a:extLst>
          </p:cNvPr>
          <p:cNvGrpSpPr/>
          <p:nvPr/>
        </p:nvGrpSpPr>
        <p:grpSpPr>
          <a:xfrm>
            <a:off x="4554570" y="3628020"/>
            <a:ext cx="968266" cy="140179"/>
            <a:chOff x="2523202" y="3707551"/>
            <a:chExt cx="968266" cy="140179"/>
          </a:xfrm>
        </p:grpSpPr>
        <p:sp>
          <p:nvSpPr>
            <p:cNvPr id="159" name="사각형: 둥근 모서리 158">
              <a:extLst>
                <a:ext uri="{FF2B5EF4-FFF2-40B4-BE49-F238E27FC236}">
                  <a16:creationId xmlns:a16="http://schemas.microsoft.com/office/drawing/2014/main" id="{E393DFD8-2457-4A12-AADE-4E047583EF9C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371740F3-4BEE-4EBF-851B-A88E89B6466D}"/>
                </a:ext>
              </a:extLst>
            </p:cNvPr>
            <p:cNvSpPr/>
            <p:nvPr/>
          </p:nvSpPr>
          <p:spPr>
            <a:xfrm>
              <a:off x="2631772" y="3707551"/>
              <a:ext cx="859696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0790D6E7-3371-43EB-910D-335B542E453D}"/>
              </a:ext>
            </a:extLst>
          </p:cNvPr>
          <p:cNvGrpSpPr/>
          <p:nvPr/>
        </p:nvGrpSpPr>
        <p:grpSpPr>
          <a:xfrm>
            <a:off x="5448148" y="3623661"/>
            <a:ext cx="1086036" cy="140179"/>
            <a:chOff x="2523202" y="3707551"/>
            <a:chExt cx="1086036" cy="140179"/>
          </a:xfrm>
        </p:grpSpPr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6460D78A-A1AD-4C94-9387-0DA533BDFCBF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4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5CA6FBD0-B421-4F70-8006-3A65188BA6E0}"/>
                </a:ext>
              </a:extLst>
            </p:cNvPr>
            <p:cNvSpPr/>
            <p:nvPr/>
          </p:nvSpPr>
          <p:spPr>
            <a:xfrm>
              <a:off x="2631771" y="3707551"/>
              <a:ext cx="977467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 Taxonomy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FC63C868-C95E-478F-B730-AE4257E9A5FA}"/>
              </a:ext>
            </a:extLst>
          </p:cNvPr>
          <p:cNvGrpSpPr/>
          <p:nvPr/>
        </p:nvGrpSpPr>
        <p:grpSpPr>
          <a:xfrm>
            <a:off x="6732897" y="3623661"/>
            <a:ext cx="1086036" cy="140179"/>
            <a:chOff x="2523202" y="3707551"/>
            <a:chExt cx="1086036" cy="140179"/>
          </a:xfrm>
        </p:grpSpPr>
        <p:sp>
          <p:nvSpPr>
            <p:cNvPr id="165" name="사각형: 둥근 모서리 164">
              <a:extLst>
                <a:ext uri="{FF2B5EF4-FFF2-40B4-BE49-F238E27FC236}">
                  <a16:creationId xmlns:a16="http://schemas.microsoft.com/office/drawing/2014/main" id="{73145488-B99A-4394-97E7-DDB97C51E997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6" name="직사각형 165">
              <a:extLst>
                <a:ext uri="{FF2B5EF4-FFF2-40B4-BE49-F238E27FC236}">
                  <a16:creationId xmlns:a16="http://schemas.microsoft.com/office/drawing/2014/main" id="{392B5179-811C-4E9A-A49F-88DCDB0537DC}"/>
                </a:ext>
              </a:extLst>
            </p:cNvPr>
            <p:cNvSpPr/>
            <p:nvPr/>
          </p:nvSpPr>
          <p:spPr>
            <a:xfrm>
              <a:off x="2631771" y="3707551"/>
              <a:ext cx="977467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 관리</a:t>
              </a:r>
            </a:p>
          </p:txBody>
        </p:sp>
      </p:grp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E0AEE505-3A7F-40F4-8CDA-B92AFB0EFE51}"/>
              </a:ext>
            </a:extLst>
          </p:cNvPr>
          <p:cNvSpPr/>
          <p:nvPr/>
        </p:nvSpPr>
        <p:spPr>
          <a:xfrm>
            <a:off x="2586456" y="3248058"/>
            <a:ext cx="3509543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어를 입력하세요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D581F1AB-1EC7-470B-B815-1F7362EA805A}"/>
              </a:ext>
            </a:extLst>
          </p:cNvPr>
          <p:cNvSpPr/>
          <p:nvPr/>
        </p:nvSpPr>
        <p:spPr>
          <a:xfrm>
            <a:off x="343508" y="612562"/>
            <a:ext cx="8632849" cy="6056797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E4734F59-EB64-4DF3-9D4D-6D51FF3D4586}"/>
              </a:ext>
            </a:extLst>
          </p:cNvPr>
          <p:cNvGrpSpPr/>
          <p:nvPr/>
        </p:nvGrpSpPr>
        <p:grpSpPr>
          <a:xfrm>
            <a:off x="3164796" y="620184"/>
            <a:ext cx="5813536" cy="6049176"/>
            <a:chOff x="3161543" y="606167"/>
            <a:chExt cx="5813536" cy="6056797"/>
          </a:xfrm>
        </p:grpSpPr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E65EF662-5CBF-48E8-AA92-B32F3760D07C}"/>
                </a:ext>
              </a:extLst>
            </p:cNvPr>
            <p:cNvSpPr/>
            <p:nvPr/>
          </p:nvSpPr>
          <p:spPr>
            <a:xfrm>
              <a:off x="3161543" y="606167"/>
              <a:ext cx="5813536" cy="60567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0000"/>
                </a:lnSpc>
              </a:pPr>
              <a:endParaRPr lang="en-US" altLang="ko-KR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EFBFCEBA-8DE9-400D-BC5B-B8DEB73DF496}"/>
                </a:ext>
              </a:extLst>
            </p:cNvPr>
            <p:cNvCxnSpPr>
              <a:cxnSpLocks/>
            </p:cNvCxnSpPr>
            <p:nvPr/>
          </p:nvCxnSpPr>
          <p:spPr>
            <a:xfrm>
              <a:off x="3434854" y="1395998"/>
              <a:ext cx="5271957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620A8607-D087-414B-AA6C-FF4E672539AF}"/>
                </a:ext>
              </a:extLst>
            </p:cNvPr>
            <p:cNvSpPr/>
            <p:nvPr/>
          </p:nvSpPr>
          <p:spPr>
            <a:xfrm>
              <a:off x="4347974" y="1062149"/>
              <a:ext cx="1884519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검색어를 입력하세요</a:t>
              </a:r>
            </a:p>
          </p:txBody>
        </p:sp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DE04AF1F-8158-4E67-A20D-24E93CB20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472058" y="1107353"/>
              <a:ext cx="205460" cy="205460"/>
            </a:xfrm>
            <a:prstGeom prst="rect">
              <a:avLst/>
            </a:prstGeom>
          </p:spPr>
        </p:pic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C919BA29-6278-44E5-87D7-FC83D51D5A11}"/>
                </a:ext>
              </a:extLst>
            </p:cNvPr>
            <p:cNvSpPr/>
            <p:nvPr/>
          </p:nvSpPr>
          <p:spPr>
            <a:xfrm>
              <a:off x="3392534" y="1062519"/>
              <a:ext cx="736032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통합검색</a:t>
              </a:r>
            </a:p>
          </p:txBody>
        </p:sp>
        <p:sp>
          <p:nvSpPr>
            <p:cNvPr id="68" name="이등변 삼각형 67">
              <a:extLst>
                <a:ext uri="{FF2B5EF4-FFF2-40B4-BE49-F238E27FC236}">
                  <a16:creationId xmlns:a16="http://schemas.microsoft.com/office/drawing/2014/main" id="{D5A5F73D-B5BA-4401-8EA5-ED0E53AD0729}"/>
                </a:ext>
              </a:extLst>
            </p:cNvPr>
            <p:cNvSpPr/>
            <p:nvPr/>
          </p:nvSpPr>
          <p:spPr>
            <a:xfrm flipH="1" flipV="1">
              <a:off x="4070479" y="1152134"/>
              <a:ext cx="65881" cy="45719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dirty="0"/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68CB6E60-2C25-4591-8783-5EF355091066}"/>
                </a:ext>
              </a:extLst>
            </p:cNvPr>
            <p:cNvGrpSpPr/>
            <p:nvPr/>
          </p:nvGrpSpPr>
          <p:grpSpPr>
            <a:xfrm>
              <a:off x="3419838" y="1579652"/>
              <a:ext cx="5293668" cy="2791837"/>
              <a:chOff x="3419838" y="1675563"/>
              <a:chExt cx="5293668" cy="2791837"/>
            </a:xfrm>
          </p:grpSpPr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C519FDF1-4895-41FF-8ADC-1561E5038012}"/>
                  </a:ext>
                </a:extLst>
              </p:cNvPr>
              <p:cNvSpPr/>
              <p:nvPr/>
            </p:nvSpPr>
            <p:spPr>
              <a:xfrm>
                <a:off x="6272894" y="1675563"/>
                <a:ext cx="1551297" cy="23281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105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인기 검색어</a:t>
                </a:r>
              </a:p>
            </p:txBody>
          </p:sp>
          <p:grpSp>
            <p:nvGrpSpPr>
              <p:cNvPr id="24" name="그룹 23">
                <a:extLst>
                  <a:ext uri="{FF2B5EF4-FFF2-40B4-BE49-F238E27FC236}">
                    <a16:creationId xmlns:a16="http://schemas.microsoft.com/office/drawing/2014/main" id="{769FF272-2F19-4CED-80D7-0AF4C877AD9F}"/>
                  </a:ext>
                </a:extLst>
              </p:cNvPr>
              <p:cNvGrpSpPr/>
              <p:nvPr/>
            </p:nvGrpSpPr>
            <p:grpSpPr>
              <a:xfrm>
                <a:off x="3419838" y="1681659"/>
                <a:ext cx="895472" cy="2224442"/>
                <a:chOff x="3419838" y="1675563"/>
                <a:chExt cx="895472" cy="2224442"/>
              </a:xfrm>
            </p:grpSpPr>
            <p:sp>
              <p:nvSpPr>
                <p:cNvPr id="69" name="직사각형 68">
                  <a:extLst>
                    <a:ext uri="{FF2B5EF4-FFF2-40B4-BE49-F238E27FC236}">
                      <a16:creationId xmlns:a16="http://schemas.microsoft.com/office/drawing/2014/main" id="{B40F036A-2AF9-4366-B22B-6691E89B77FA}"/>
                    </a:ext>
                  </a:extLst>
                </p:cNvPr>
                <p:cNvSpPr/>
                <p:nvPr/>
              </p:nvSpPr>
              <p:spPr>
                <a:xfrm>
                  <a:off x="3419838" y="1675563"/>
                  <a:ext cx="895472" cy="23281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ko-KR" altLang="en-US" sz="105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ea typeface="맑은 고딕" panose="020B0503020000020004" pitchFamily="50" charset="-127"/>
                      <a:cs typeface="Arial"/>
                    </a:rPr>
                    <a:t>최근 검색어</a:t>
                  </a:r>
                </a:p>
              </p:txBody>
            </p:sp>
            <p:grpSp>
              <p:nvGrpSpPr>
                <p:cNvPr id="23" name="그룹 22">
                  <a:extLst>
                    <a:ext uri="{FF2B5EF4-FFF2-40B4-BE49-F238E27FC236}">
                      <a16:creationId xmlns:a16="http://schemas.microsoft.com/office/drawing/2014/main" id="{F8EB8A8A-7B32-49D2-BEAE-E7B452B19CEA}"/>
                    </a:ext>
                  </a:extLst>
                </p:cNvPr>
                <p:cNvGrpSpPr/>
                <p:nvPr/>
              </p:nvGrpSpPr>
              <p:grpSpPr>
                <a:xfrm>
                  <a:off x="3522097" y="3667187"/>
                  <a:ext cx="673520" cy="232818"/>
                  <a:chOff x="3445265" y="3679870"/>
                  <a:chExt cx="673520" cy="232818"/>
                </a:xfrm>
              </p:grpSpPr>
              <p:pic>
                <p:nvPicPr>
                  <p:cNvPr id="22" name="그림 21">
                    <a:extLst>
                      <a:ext uri="{FF2B5EF4-FFF2-40B4-BE49-F238E27FC236}">
                        <a16:creationId xmlns:a16="http://schemas.microsoft.com/office/drawing/2014/main" id="{0883E679-B8BC-4B19-8D5D-E0960E02EE8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/>
                  <a:stretch>
                    <a:fillRect/>
                  </a:stretch>
                </p:blipFill>
                <p:spPr>
                  <a:xfrm>
                    <a:off x="3445265" y="3736879"/>
                    <a:ext cx="112079" cy="113758"/>
                  </a:xfrm>
                  <a:prstGeom prst="rect">
                    <a:avLst/>
                  </a:prstGeom>
                </p:spPr>
              </p:pic>
              <p:sp>
                <p:nvSpPr>
                  <p:cNvPr id="71" name="직사각형 70">
                    <a:extLst>
                      <a:ext uri="{FF2B5EF4-FFF2-40B4-BE49-F238E27FC236}">
                        <a16:creationId xmlns:a16="http://schemas.microsoft.com/office/drawing/2014/main" id="{5FC7A172-52D3-43E8-8F00-6EA691651A38}"/>
                      </a:ext>
                    </a:extLst>
                  </p:cNvPr>
                  <p:cNvSpPr/>
                  <p:nvPr/>
                </p:nvSpPr>
                <p:spPr>
                  <a:xfrm>
                    <a:off x="3483535" y="3679870"/>
                    <a:ext cx="635250" cy="23281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ko-KR" altLang="en-US" sz="8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전체삭제</a:t>
                    </a:r>
                  </a:p>
                </p:txBody>
              </p:sp>
            </p:grpSp>
          </p:grp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53D5A028-07ED-4BA4-B78E-5582FD33D9FE}"/>
                  </a:ext>
                </a:extLst>
              </p:cNvPr>
              <p:cNvSpPr/>
              <p:nvPr/>
            </p:nvSpPr>
            <p:spPr>
              <a:xfrm>
                <a:off x="3421916" y="1962931"/>
                <a:ext cx="1488234" cy="178140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   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관리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실사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실사 관리 지침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        </a:t>
                </a:r>
                <a:endParaRPr lang="ko-KR" altLang="en-US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A405C109-B801-4866-8A47-FC99A99DEF68}"/>
                  </a:ext>
                </a:extLst>
              </p:cNvPr>
              <p:cNvSpPr/>
              <p:nvPr/>
            </p:nvSpPr>
            <p:spPr>
              <a:xfrm>
                <a:off x="5095786" y="1962931"/>
                <a:ext cx="993157" cy="1788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.03     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.03     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9.30     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9.28     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9.28     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BF96C46A-7E4B-47AD-8DF0-4B374AB976BD}"/>
                  </a:ext>
                </a:extLst>
              </p:cNvPr>
              <p:cNvSpPr/>
              <p:nvPr/>
            </p:nvSpPr>
            <p:spPr>
              <a:xfrm>
                <a:off x="6310791" y="1956228"/>
                <a:ext cx="1488234" cy="251117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1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    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2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3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보고서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4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경영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5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투자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6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급망 실사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7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</a:t>
                </a:r>
                <a:r>
                  <a:rPr lang="ko-KR" altLang="en-US" sz="10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탄소세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8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지속가능경영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9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ESG </a:t>
                </a:r>
                <a:r>
                  <a:rPr lang="ko-KR" altLang="en-US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념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</a:t>
                </a:r>
                <a:r>
                  <a:rPr lang="en-US" altLang="ko-KR" sz="10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  </a:t>
                </a:r>
                <a:r>
                  <a:rPr lang="ko-KR" altLang="en-US" sz="100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넷제로</a:t>
                </a:r>
                <a:endParaRPr lang="en-US" altLang="ko-KR" sz="10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9" name="직사각형 78">
                <a:extLst>
                  <a:ext uri="{FF2B5EF4-FFF2-40B4-BE49-F238E27FC236}">
                    <a16:creationId xmlns:a16="http://schemas.microsoft.com/office/drawing/2014/main" id="{C04EDDA0-ADEF-4CF4-A807-B304798BE65A}"/>
                  </a:ext>
                </a:extLst>
              </p:cNvPr>
              <p:cNvSpPr/>
              <p:nvPr/>
            </p:nvSpPr>
            <p:spPr>
              <a:xfrm>
                <a:off x="7477973" y="1681659"/>
                <a:ext cx="1235533" cy="23281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.03 10:00 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기준</a:t>
                </a:r>
              </a:p>
            </p:txBody>
          </p:sp>
        </p:grp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0DF5BD86-9724-491D-A851-D444A0D0A694}"/>
                </a:ext>
              </a:extLst>
            </p:cNvPr>
            <p:cNvSpPr/>
            <p:nvPr/>
          </p:nvSpPr>
          <p:spPr>
            <a:xfrm>
              <a:off x="8693066" y="645075"/>
              <a:ext cx="247209" cy="2266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X</a:t>
              </a:r>
              <a:endPara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75EECC37-2F42-402D-B947-6C3C2A225497}"/>
                </a:ext>
              </a:extLst>
            </p:cNvPr>
            <p:cNvSpPr/>
            <p:nvPr/>
          </p:nvSpPr>
          <p:spPr>
            <a:xfrm>
              <a:off x="4600416" y="3501008"/>
              <a:ext cx="1279959" cy="34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>
                <a:lnSpc>
                  <a:spcPct val="20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근 검색어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끄기</a:t>
              </a: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CB2B53C0-F7BE-40C0-9759-96719CD2E8B5}"/>
                </a:ext>
              </a:extLst>
            </p:cNvPr>
            <p:cNvSpPr/>
            <p:nvPr/>
          </p:nvSpPr>
          <p:spPr>
            <a:xfrm>
              <a:off x="3380029" y="962245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71E4DD47-5F1F-4CFC-AB0C-05D717E0EDB8}"/>
                </a:ext>
              </a:extLst>
            </p:cNvPr>
            <p:cNvSpPr/>
            <p:nvPr/>
          </p:nvSpPr>
          <p:spPr>
            <a:xfrm>
              <a:off x="4389754" y="961011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3" name="사각형: 둥근 모서리 82">
              <a:extLst>
                <a:ext uri="{FF2B5EF4-FFF2-40B4-BE49-F238E27FC236}">
                  <a16:creationId xmlns:a16="http://schemas.microsoft.com/office/drawing/2014/main" id="{688DD79E-EF1B-4A38-97BF-7A4075BA70B5}"/>
                </a:ext>
              </a:extLst>
            </p:cNvPr>
            <p:cNvSpPr/>
            <p:nvPr/>
          </p:nvSpPr>
          <p:spPr>
            <a:xfrm>
              <a:off x="3386096" y="1483783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4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6" name="사각형: 둥근 모서리 85">
              <a:extLst>
                <a:ext uri="{FF2B5EF4-FFF2-40B4-BE49-F238E27FC236}">
                  <a16:creationId xmlns:a16="http://schemas.microsoft.com/office/drawing/2014/main" id="{F251A4EB-6EE8-427C-8617-F6419D1FE3AE}"/>
                </a:ext>
              </a:extLst>
            </p:cNvPr>
            <p:cNvSpPr/>
            <p:nvPr/>
          </p:nvSpPr>
          <p:spPr>
            <a:xfrm>
              <a:off x="6239070" y="1484784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7" name="사각형: 둥근 모서리 106">
              <a:extLst>
                <a:ext uri="{FF2B5EF4-FFF2-40B4-BE49-F238E27FC236}">
                  <a16:creationId xmlns:a16="http://schemas.microsoft.com/office/drawing/2014/main" id="{97E4C5BF-B337-4B05-9480-4F26F3F96BF6}"/>
                </a:ext>
              </a:extLst>
            </p:cNvPr>
            <p:cNvSpPr/>
            <p:nvPr/>
          </p:nvSpPr>
          <p:spPr>
            <a:xfrm>
              <a:off x="8574788" y="676510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6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D7F0BF52-533A-480A-8A06-7DDE7145CC51}"/>
              </a:ext>
            </a:extLst>
          </p:cNvPr>
          <p:cNvCxnSpPr>
            <a:cxnSpLocks/>
          </p:cNvCxnSpPr>
          <p:nvPr/>
        </p:nvCxnSpPr>
        <p:spPr>
          <a:xfrm>
            <a:off x="2902481" y="614087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직선 연결선 168">
            <a:extLst>
              <a:ext uri="{FF2B5EF4-FFF2-40B4-BE49-F238E27FC236}">
                <a16:creationId xmlns:a16="http://schemas.microsoft.com/office/drawing/2014/main" id="{CD2BC49A-2C40-45AE-99C0-FA89F30DAADA}"/>
              </a:ext>
            </a:extLst>
          </p:cNvPr>
          <p:cNvCxnSpPr>
            <a:cxnSpLocks/>
          </p:cNvCxnSpPr>
          <p:nvPr/>
        </p:nvCxnSpPr>
        <p:spPr>
          <a:xfrm>
            <a:off x="2902481" y="6676980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직선 연결선 171">
            <a:extLst>
              <a:ext uri="{FF2B5EF4-FFF2-40B4-BE49-F238E27FC236}">
                <a16:creationId xmlns:a16="http://schemas.microsoft.com/office/drawing/2014/main" id="{78689CED-FF0B-4025-A84E-A3324BA69ED7}"/>
              </a:ext>
            </a:extLst>
          </p:cNvPr>
          <p:cNvCxnSpPr>
            <a:cxnSpLocks/>
          </p:cNvCxnSpPr>
          <p:nvPr/>
        </p:nvCxnSpPr>
        <p:spPr>
          <a:xfrm flipV="1">
            <a:off x="2992481" y="606168"/>
            <a:ext cx="0" cy="607081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12F1D2B8-FDA9-4111-8726-AB5012BECC5F}"/>
              </a:ext>
            </a:extLst>
          </p:cNvPr>
          <p:cNvSpPr/>
          <p:nvPr/>
        </p:nvSpPr>
        <p:spPr>
          <a:xfrm>
            <a:off x="2805787" y="669954"/>
            <a:ext cx="144962" cy="108239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6195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그림 109">
            <a:extLst>
              <a:ext uri="{FF2B5EF4-FFF2-40B4-BE49-F238E27FC236}">
                <a16:creationId xmlns:a16="http://schemas.microsoft.com/office/drawing/2014/main" id="{442F1034-019F-42F0-A2C7-B53038CE5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648" y="1289968"/>
            <a:ext cx="8635659" cy="2150636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82049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레이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942921"/>
              </p:ext>
            </p:extLst>
          </p:nvPr>
        </p:nvGraphicFramePr>
        <p:xfrm>
          <a:off x="9273919" y="750163"/>
          <a:ext cx="2922885" cy="3627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55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입력 필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전 지정한 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입력 시 자동완성 기능 지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음을 입력할 때마다 동일하게 시작하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어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나열하여 보여줌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035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레이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화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검색 필드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레이어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BG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레이어 닫힘 처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2760877"/>
                  </a:ext>
                </a:extLst>
              </a:tr>
              <a:tr h="12464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씩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정된 영역 초과 시 줄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x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해당 검색어 바로 삭제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삭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최근 검색어 모두 삭제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끄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리스트 노출하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않으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검색어 저장 기능이 꺼져 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안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시지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E0D88BC3-6E3C-4D49-A4A5-045471D55E6D}"/>
              </a:ext>
            </a:extLst>
          </p:cNvPr>
          <p:cNvSpPr/>
          <p:nvPr/>
        </p:nvSpPr>
        <p:spPr>
          <a:xfrm>
            <a:off x="717597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EE54F963-77CE-4615-94B0-A3B3B6F34DBB}"/>
              </a:ext>
            </a:extLst>
          </p:cNvPr>
          <p:cNvSpPr/>
          <p:nvPr/>
        </p:nvSpPr>
        <p:spPr>
          <a:xfrm>
            <a:off x="2770460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154C6DE5-9359-4112-8F44-A4D0A2EED4FD}"/>
              </a:ext>
            </a:extLst>
          </p:cNvPr>
          <p:cNvSpPr/>
          <p:nvPr/>
        </p:nvSpPr>
        <p:spPr>
          <a:xfrm>
            <a:off x="4823323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166303E8-59C2-4672-9C53-B19000CF3A44}"/>
              </a:ext>
            </a:extLst>
          </p:cNvPr>
          <p:cNvSpPr/>
          <p:nvPr/>
        </p:nvSpPr>
        <p:spPr>
          <a:xfrm>
            <a:off x="6885612" y="4327499"/>
            <a:ext cx="1848558" cy="611923"/>
          </a:xfrm>
          <a:prstGeom prst="roundRect">
            <a:avLst>
              <a:gd name="adj" fmla="val 1317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CE45104A-B3C5-48E5-8B8E-99DE6E512A7F}"/>
              </a:ext>
            </a:extLst>
          </p:cNvPr>
          <p:cNvSpPr/>
          <p:nvPr/>
        </p:nvSpPr>
        <p:spPr>
          <a:xfrm>
            <a:off x="782205" y="4389952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D871AB24-269F-4FBB-BCA5-57227ED45C79}"/>
              </a:ext>
            </a:extLst>
          </p:cNvPr>
          <p:cNvSpPr/>
          <p:nvPr/>
        </p:nvSpPr>
        <p:spPr>
          <a:xfrm>
            <a:off x="4902613" y="4391502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CA084674-6FC3-4759-A61C-97906A98177C}"/>
              </a:ext>
            </a:extLst>
          </p:cNvPr>
          <p:cNvSpPr/>
          <p:nvPr/>
        </p:nvSpPr>
        <p:spPr>
          <a:xfrm>
            <a:off x="6965250" y="4388125"/>
            <a:ext cx="496809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F49257D1-D85C-424F-9CCD-14D8A929B3D2}"/>
              </a:ext>
            </a:extLst>
          </p:cNvPr>
          <p:cNvSpPr/>
          <p:nvPr/>
        </p:nvSpPr>
        <p:spPr>
          <a:xfrm>
            <a:off x="3504345" y="4379149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799F5F2A-B868-4184-87E7-10A8CC0A988C}"/>
              </a:ext>
            </a:extLst>
          </p:cNvPr>
          <p:cNvSpPr/>
          <p:nvPr/>
        </p:nvSpPr>
        <p:spPr>
          <a:xfrm>
            <a:off x="2839804" y="4389952"/>
            <a:ext cx="690067" cy="492096"/>
          </a:xfrm>
          <a:prstGeom prst="roundRect">
            <a:avLst>
              <a:gd name="adj" fmla="val 1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2" name="그림 131">
            <a:extLst>
              <a:ext uri="{FF2B5EF4-FFF2-40B4-BE49-F238E27FC236}">
                <a16:creationId xmlns:a16="http://schemas.microsoft.com/office/drawing/2014/main" id="{B4255248-6C52-43E1-90B9-5D5E5D11FE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1392" y="4481678"/>
            <a:ext cx="418299" cy="377420"/>
          </a:xfrm>
          <a:prstGeom prst="rect">
            <a:avLst/>
          </a:prstGeom>
        </p:spPr>
      </p:pic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6E17BD9D-696D-4843-9CA6-8FCECECA68CE}"/>
              </a:ext>
            </a:extLst>
          </p:cNvPr>
          <p:cNvSpPr/>
          <p:nvPr/>
        </p:nvSpPr>
        <p:spPr>
          <a:xfrm>
            <a:off x="5470726" y="4372564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설 및 사례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D792C85B-E4E2-425D-BEC1-09F1005F7D21}"/>
              </a:ext>
            </a:extLst>
          </p:cNvPr>
          <p:cNvSpPr/>
          <p:nvPr/>
        </p:nvSpPr>
        <p:spPr>
          <a:xfrm>
            <a:off x="1402064" y="4372563"/>
            <a:ext cx="1080120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소개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5" name="그림 134">
            <a:extLst>
              <a:ext uri="{FF2B5EF4-FFF2-40B4-BE49-F238E27FC236}">
                <a16:creationId xmlns:a16="http://schemas.microsoft.com/office/drawing/2014/main" id="{AEF7ECA3-22CB-4007-93BF-4EEE20AC4A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855" y="4476180"/>
            <a:ext cx="322214" cy="322214"/>
          </a:xfrm>
          <a:prstGeom prst="rect">
            <a:avLst/>
          </a:prstGeom>
        </p:spPr>
      </p:pic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E2124E50-74F3-45EA-80D6-60B2BC9D7D48}"/>
              </a:ext>
            </a:extLst>
          </p:cNvPr>
          <p:cNvSpPr/>
          <p:nvPr/>
        </p:nvSpPr>
        <p:spPr>
          <a:xfrm>
            <a:off x="7471278" y="4384644"/>
            <a:ext cx="1248924" cy="48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</a:p>
          <a:p>
            <a:pPr algn="ctr">
              <a:lnSpc>
                <a:spcPct val="13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amp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교육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471EA379-FF2B-42C9-B5F3-BA984B8D4397}"/>
              </a:ext>
            </a:extLst>
          </p:cNvPr>
          <p:cNvSpPr/>
          <p:nvPr/>
        </p:nvSpPr>
        <p:spPr>
          <a:xfrm>
            <a:off x="697285" y="2883416"/>
            <a:ext cx="7946027" cy="11234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298738B7-6225-46B0-957E-2EC3A6D0384F}"/>
              </a:ext>
            </a:extLst>
          </p:cNvPr>
          <p:cNvGrpSpPr/>
          <p:nvPr/>
        </p:nvGrpSpPr>
        <p:grpSpPr>
          <a:xfrm>
            <a:off x="1719063" y="3170568"/>
            <a:ext cx="5810108" cy="393370"/>
            <a:chOff x="2130990" y="3232315"/>
            <a:chExt cx="5714779" cy="39337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B91ABA63-EDAB-4F49-94A8-ECF2E7E1DE53}"/>
                </a:ext>
              </a:extLst>
            </p:cNvPr>
            <p:cNvSpPr/>
            <p:nvPr/>
          </p:nvSpPr>
          <p:spPr>
            <a:xfrm>
              <a:off x="2155750" y="3232315"/>
              <a:ext cx="5690019" cy="39337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140" name="그림 139">
              <a:extLst>
                <a:ext uri="{FF2B5EF4-FFF2-40B4-BE49-F238E27FC236}">
                  <a16:creationId xmlns:a16="http://schemas.microsoft.com/office/drawing/2014/main" id="{AC946F2E-631B-4FF4-93C3-AF14C3D9E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47241" y="3326599"/>
              <a:ext cx="216024" cy="216024"/>
            </a:xfrm>
            <a:prstGeom prst="rect">
              <a:avLst/>
            </a:prstGeom>
          </p:spPr>
        </p:pic>
        <p:cxnSp>
          <p:nvCxnSpPr>
            <p:cNvPr id="141" name="직선 연결선 140">
              <a:extLst>
                <a:ext uri="{FF2B5EF4-FFF2-40B4-BE49-F238E27FC236}">
                  <a16:creationId xmlns:a16="http://schemas.microsoft.com/office/drawing/2014/main" id="{8EC3A26A-71CC-4E30-8F20-67824667E61A}"/>
                </a:ext>
              </a:extLst>
            </p:cNvPr>
            <p:cNvCxnSpPr>
              <a:cxnSpLocks/>
            </p:cNvCxnSpPr>
            <p:nvPr/>
          </p:nvCxnSpPr>
          <p:spPr>
            <a:xfrm>
              <a:off x="2961556" y="3301408"/>
              <a:ext cx="0" cy="232818"/>
            </a:xfrm>
            <a:prstGeom prst="line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2" name="직사각형 141">
              <a:extLst>
                <a:ext uri="{FF2B5EF4-FFF2-40B4-BE49-F238E27FC236}">
                  <a16:creationId xmlns:a16="http://schemas.microsoft.com/office/drawing/2014/main" id="{B264F290-6835-4770-9408-924DF518F08A}"/>
                </a:ext>
              </a:extLst>
            </p:cNvPr>
            <p:cNvSpPr/>
            <p:nvPr/>
          </p:nvSpPr>
          <p:spPr>
            <a:xfrm>
              <a:off x="2130990" y="3309805"/>
              <a:ext cx="723956" cy="2328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통합검색</a:t>
              </a:r>
            </a:p>
          </p:txBody>
        </p:sp>
        <p:sp>
          <p:nvSpPr>
            <p:cNvPr id="143" name="이등변 삼각형 142">
              <a:extLst>
                <a:ext uri="{FF2B5EF4-FFF2-40B4-BE49-F238E27FC236}">
                  <a16:creationId xmlns:a16="http://schemas.microsoft.com/office/drawing/2014/main" id="{C3D9E4B9-D6E8-423F-8463-5218BEC7BBB2}"/>
                </a:ext>
              </a:extLst>
            </p:cNvPr>
            <p:cNvSpPr/>
            <p:nvPr/>
          </p:nvSpPr>
          <p:spPr>
            <a:xfrm flipH="1" flipV="1">
              <a:off x="2773692" y="3404235"/>
              <a:ext cx="64800" cy="45719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144" name="그림 143">
            <a:extLst>
              <a:ext uri="{FF2B5EF4-FFF2-40B4-BE49-F238E27FC236}">
                <a16:creationId xmlns:a16="http://schemas.microsoft.com/office/drawing/2014/main" id="{5910B15F-5AFA-4A40-830F-BA7B926373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0725" y="4438429"/>
            <a:ext cx="549652" cy="370979"/>
          </a:xfrm>
          <a:prstGeom prst="rect">
            <a:avLst/>
          </a:prstGeom>
        </p:spPr>
      </p:pic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430C472D-12A1-4EF8-A6FF-742758879A45}"/>
              </a:ext>
            </a:extLst>
          </p:cNvPr>
          <p:cNvSpPr/>
          <p:nvPr/>
        </p:nvSpPr>
        <p:spPr>
          <a:xfrm>
            <a:off x="2247341" y="3623661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46" name="그림 145">
            <a:extLst>
              <a:ext uri="{FF2B5EF4-FFF2-40B4-BE49-F238E27FC236}">
                <a16:creationId xmlns:a16="http://schemas.microsoft.com/office/drawing/2014/main" id="{56878E1D-BCC8-46F1-BD16-21DD79E6C5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1061" y="4411643"/>
            <a:ext cx="409968" cy="409968"/>
          </a:xfrm>
          <a:prstGeom prst="rect">
            <a:avLst/>
          </a:prstGeom>
        </p:spPr>
      </p:pic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0839D51E-71DE-467B-BB19-1BD51955F924}"/>
              </a:ext>
            </a:extLst>
          </p:cNvPr>
          <p:cNvSpPr/>
          <p:nvPr/>
        </p:nvSpPr>
        <p:spPr>
          <a:xfrm>
            <a:off x="2590314" y="3248058"/>
            <a:ext cx="3993232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0" name="그룹 149">
            <a:extLst>
              <a:ext uri="{FF2B5EF4-FFF2-40B4-BE49-F238E27FC236}">
                <a16:creationId xmlns:a16="http://schemas.microsoft.com/office/drawing/2014/main" id="{2D6700DD-A3D8-47A5-B315-535D931C2AB9}"/>
              </a:ext>
            </a:extLst>
          </p:cNvPr>
          <p:cNvGrpSpPr/>
          <p:nvPr/>
        </p:nvGrpSpPr>
        <p:grpSpPr>
          <a:xfrm>
            <a:off x="2590314" y="3623661"/>
            <a:ext cx="644308" cy="140179"/>
            <a:chOff x="2523202" y="3707551"/>
            <a:chExt cx="644308" cy="140179"/>
          </a:xfrm>
        </p:grpSpPr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A94956C5-6562-4ABB-893B-7F7B81479408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2" name="직사각형 151">
              <a:extLst>
                <a:ext uri="{FF2B5EF4-FFF2-40B4-BE49-F238E27FC236}">
                  <a16:creationId xmlns:a16="http://schemas.microsoft.com/office/drawing/2014/main" id="{580A01F3-3097-41E3-9A6B-9DB78F110F63}"/>
                </a:ext>
              </a:extLst>
            </p:cNvPr>
            <p:cNvSpPr/>
            <p:nvPr/>
          </p:nvSpPr>
          <p:spPr>
            <a:xfrm>
              <a:off x="2631772" y="3707551"/>
              <a:ext cx="535738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ISSB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55" name="그룹 154">
            <a:extLst>
              <a:ext uri="{FF2B5EF4-FFF2-40B4-BE49-F238E27FC236}">
                <a16:creationId xmlns:a16="http://schemas.microsoft.com/office/drawing/2014/main" id="{046B487A-2411-4CA3-A3B3-F3082F17469C}"/>
              </a:ext>
            </a:extLst>
          </p:cNvPr>
          <p:cNvGrpSpPr/>
          <p:nvPr/>
        </p:nvGrpSpPr>
        <p:grpSpPr>
          <a:xfrm>
            <a:off x="3487431" y="3628020"/>
            <a:ext cx="968266" cy="140179"/>
            <a:chOff x="2523202" y="3707551"/>
            <a:chExt cx="968266" cy="140179"/>
          </a:xfrm>
        </p:grpSpPr>
        <p:sp>
          <p:nvSpPr>
            <p:cNvPr id="156" name="사각형: 둥근 모서리 155">
              <a:extLst>
                <a:ext uri="{FF2B5EF4-FFF2-40B4-BE49-F238E27FC236}">
                  <a16:creationId xmlns:a16="http://schemas.microsoft.com/office/drawing/2014/main" id="{564BF73B-3852-4981-A500-E678FD04092C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8AB35020-C433-41F3-B2F8-D5B3B7DDDBE8}"/>
                </a:ext>
              </a:extLst>
            </p:cNvPr>
            <p:cNvSpPr/>
            <p:nvPr/>
          </p:nvSpPr>
          <p:spPr>
            <a:xfrm>
              <a:off x="2631772" y="3707551"/>
              <a:ext cx="859696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공시</a:t>
              </a:r>
            </a:p>
          </p:txBody>
        </p:sp>
      </p:grp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AD9AA81B-1F66-4CE7-9E39-3CC6F8EC0390}"/>
              </a:ext>
            </a:extLst>
          </p:cNvPr>
          <p:cNvGrpSpPr/>
          <p:nvPr/>
        </p:nvGrpSpPr>
        <p:grpSpPr>
          <a:xfrm>
            <a:off x="4554570" y="3628020"/>
            <a:ext cx="968266" cy="140179"/>
            <a:chOff x="2523202" y="3707551"/>
            <a:chExt cx="968266" cy="140179"/>
          </a:xfrm>
        </p:grpSpPr>
        <p:sp>
          <p:nvSpPr>
            <p:cNvPr id="159" name="사각형: 둥근 모서리 158">
              <a:extLst>
                <a:ext uri="{FF2B5EF4-FFF2-40B4-BE49-F238E27FC236}">
                  <a16:creationId xmlns:a16="http://schemas.microsoft.com/office/drawing/2014/main" id="{E393DFD8-2457-4A12-AADE-4E047583EF9C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371740F3-4BEE-4EBF-851B-A88E89B6466D}"/>
                </a:ext>
              </a:extLst>
            </p:cNvPr>
            <p:cNvSpPr/>
            <p:nvPr/>
          </p:nvSpPr>
          <p:spPr>
            <a:xfrm>
              <a:off x="2631772" y="3707551"/>
              <a:ext cx="859696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RI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0790D6E7-3371-43EB-910D-335B542E453D}"/>
              </a:ext>
            </a:extLst>
          </p:cNvPr>
          <p:cNvGrpSpPr/>
          <p:nvPr/>
        </p:nvGrpSpPr>
        <p:grpSpPr>
          <a:xfrm>
            <a:off x="5448148" y="3623661"/>
            <a:ext cx="1086036" cy="140179"/>
            <a:chOff x="2523202" y="3707551"/>
            <a:chExt cx="1086036" cy="140179"/>
          </a:xfrm>
        </p:grpSpPr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6460D78A-A1AD-4C94-9387-0DA533BDFCBF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4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5CA6FBD0-B421-4F70-8006-3A65188BA6E0}"/>
                </a:ext>
              </a:extLst>
            </p:cNvPr>
            <p:cNvSpPr/>
            <p:nvPr/>
          </p:nvSpPr>
          <p:spPr>
            <a:xfrm>
              <a:off x="2631771" y="3707551"/>
              <a:ext cx="977467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 Taxonomy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FC63C868-C95E-478F-B730-AE4257E9A5FA}"/>
              </a:ext>
            </a:extLst>
          </p:cNvPr>
          <p:cNvGrpSpPr/>
          <p:nvPr/>
        </p:nvGrpSpPr>
        <p:grpSpPr>
          <a:xfrm>
            <a:off x="6732897" y="3623661"/>
            <a:ext cx="1086036" cy="140179"/>
            <a:chOff x="2523202" y="3707551"/>
            <a:chExt cx="1086036" cy="140179"/>
          </a:xfrm>
        </p:grpSpPr>
        <p:sp>
          <p:nvSpPr>
            <p:cNvPr id="165" name="사각형: 둥근 모서리 164">
              <a:extLst>
                <a:ext uri="{FF2B5EF4-FFF2-40B4-BE49-F238E27FC236}">
                  <a16:creationId xmlns:a16="http://schemas.microsoft.com/office/drawing/2014/main" id="{73145488-B99A-4394-97E7-DDB97C51E997}"/>
                </a:ext>
              </a:extLst>
            </p:cNvPr>
            <p:cNvSpPr/>
            <p:nvPr/>
          </p:nvSpPr>
          <p:spPr>
            <a:xfrm>
              <a:off x="2523202" y="3709342"/>
              <a:ext cx="144962" cy="1383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6" name="직사각형 165">
              <a:extLst>
                <a:ext uri="{FF2B5EF4-FFF2-40B4-BE49-F238E27FC236}">
                  <a16:creationId xmlns:a16="http://schemas.microsoft.com/office/drawing/2014/main" id="{392B5179-811C-4E9A-A49F-88DCDB0537DC}"/>
                </a:ext>
              </a:extLst>
            </p:cNvPr>
            <p:cNvSpPr/>
            <p:nvPr/>
          </p:nvSpPr>
          <p:spPr>
            <a:xfrm>
              <a:off x="2631771" y="3707551"/>
              <a:ext cx="977467" cy="1401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급망 관리</a:t>
              </a:r>
            </a:p>
          </p:txBody>
        </p:sp>
      </p:grp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E0AEE505-3A7F-40F4-8CDA-B92AFB0EFE51}"/>
              </a:ext>
            </a:extLst>
          </p:cNvPr>
          <p:cNvSpPr/>
          <p:nvPr/>
        </p:nvSpPr>
        <p:spPr>
          <a:xfrm>
            <a:off x="2586456" y="3248058"/>
            <a:ext cx="3509543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어를 입력하세요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B0AE25E5-5FB4-45AF-8577-65B1FF066258}"/>
              </a:ext>
            </a:extLst>
          </p:cNvPr>
          <p:cNvSpPr/>
          <p:nvPr/>
        </p:nvSpPr>
        <p:spPr>
          <a:xfrm>
            <a:off x="2557037" y="3565690"/>
            <a:ext cx="4972134" cy="2158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</a:pPr>
            <a:endParaRPr lang="en-US" altLang="ko-KR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0F9FD3CA-C239-4CE3-89BF-4D5363868213}"/>
              </a:ext>
            </a:extLst>
          </p:cNvPr>
          <p:cNvSpPr/>
          <p:nvPr/>
        </p:nvSpPr>
        <p:spPr>
          <a:xfrm>
            <a:off x="2650633" y="3528981"/>
            <a:ext cx="1488234" cy="1657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   </a:t>
            </a:r>
          </a:p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 관리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 실사</a:t>
            </a:r>
            <a:endParaRPr lang="en-US" altLang="ko-KR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r>
              <a:rPr lang="ko-KR" altLang="en-US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급망 실사 관리 지침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EBF28A38-9409-4784-9A2C-69FE6F82F533}"/>
              </a:ext>
            </a:extLst>
          </p:cNvPr>
          <p:cNvSpPr/>
          <p:nvPr/>
        </p:nvSpPr>
        <p:spPr>
          <a:xfrm>
            <a:off x="6513338" y="3565850"/>
            <a:ext cx="905374" cy="1657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.03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</a:p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.03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</a:p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.30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</a:p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.28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</a:p>
          <a:p>
            <a:pPr>
              <a:lnSpc>
                <a:spcPct val="200000"/>
              </a:lnSpc>
            </a:pP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.28     </a:t>
            </a:r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2354BF80-08C3-49C0-A836-55B9393F051F}"/>
              </a:ext>
            </a:extLst>
          </p:cNvPr>
          <p:cNvSpPr/>
          <p:nvPr/>
        </p:nvSpPr>
        <p:spPr>
          <a:xfrm>
            <a:off x="6045450" y="5252397"/>
            <a:ext cx="1279959" cy="343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lnSpc>
                <a:spcPct val="20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검색어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끄기</a:t>
            </a: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E3473045-976B-42B8-956E-1F2801F41D49}"/>
              </a:ext>
            </a:extLst>
          </p:cNvPr>
          <p:cNvSpPr/>
          <p:nvPr/>
        </p:nvSpPr>
        <p:spPr>
          <a:xfrm>
            <a:off x="1693879" y="31166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08C792B2-B1C9-41B6-A590-211FA52BF426}"/>
              </a:ext>
            </a:extLst>
          </p:cNvPr>
          <p:cNvSpPr/>
          <p:nvPr/>
        </p:nvSpPr>
        <p:spPr>
          <a:xfrm>
            <a:off x="2563484" y="31163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03DD8291-9C63-47CE-B3A1-578E25735D4F}"/>
              </a:ext>
            </a:extLst>
          </p:cNvPr>
          <p:cNvSpPr/>
          <p:nvPr/>
        </p:nvSpPr>
        <p:spPr>
          <a:xfrm>
            <a:off x="2662755" y="35467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95" name="그림 94">
            <a:extLst>
              <a:ext uri="{FF2B5EF4-FFF2-40B4-BE49-F238E27FC236}">
                <a16:creationId xmlns:a16="http://schemas.microsoft.com/office/drawing/2014/main" id="{477926A4-7703-466D-B1C0-E518077A3D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34924" y="5391412"/>
            <a:ext cx="112079" cy="113758"/>
          </a:xfrm>
          <a:prstGeom prst="rect">
            <a:avLst/>
          </a:prstGeom>
        </p:spPr>
      </p:pic>
      <p:sp>
        <p:nvSpPr>
          <p:cNvPr id="96" name="직사각형 95">
            <a:extLst>
              <a:ext uri="{FF2B5EF4-FFF2-40B4-BE49-F238E27FC236}">
                <a16:creationId xmlns:a16="http://schemas.microsoft.com/office/drawing/2014/main" id="{AA5F0B62-639F-4AA5-B9E7-13E1B9AF3CC5}"/>
              </a:ext>
            </a:extLst>
          </p:cNvPr>
          <p:cNvSpPr/>
          <p:nvPr/>
        </p:nvSpPr>
        <p:spPr>
          <a:xfrm>
            <a:off x="2773194" y="5334403"/>
            <a:ext cx="635250" cy="232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체삭제</a:t>
            </a:r>
          </a:p>
        </p:txBody>
      </p:sp>
      <p:cxnSp>
        <p:nvCxnSpPr>
          <p:cNvPr id="98" name="직선 연결선 97">
            <a:extLst>
              <a:ext uri="{FF2B5EF4-FFF2-40B4-BE49-F238E27FC236}">
                <a16:creationId xmlns:a16="http://schemas.microsoft.com/office/drawing/2014/main" id="{6241E1D8-FFDF-46D2-8729-E7A9C096B4BB}"/>
              </a:ext>
            </a:extLst>
          </p:cNvPr>
          <p:cNvCxnSpPr>
            <a:cxnSpLocks/>
          </p:cNvCxnSpPr>
          <p:nvPr/>
        </p:nvCxnSpPr>
        <p:spPr>
          <a:xfrm>
            <a:off x="2304483" y="3566285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연결선 99">
            <a:extLst>
              <a:ext uri="{FF2B5EF4-FFF2-40B4-BE49-F238E27FC236}">
                <a16:creationId xmlns:a16="http://schemas.microsoft.com/office/drawing/2014/main" id="{1C108813-72AB-4701-8361-9807B9716E40}"/>
              </a:ext>
            </a:extLst>
          </p:cNvPr>
          <p:cNvCxnSpPr>
            <a:cxnSpLocks/>
          </p:cNvCxnSpPr>
          <p:nvPr/>
        </p:nvCxnSpPr>
        <p:spPr>
          <a:xfrm>
            <a:off x="2304483" y="5723749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연결선 102">
            <a:extLst>
              <a:ext uri="{FF2B5EF4-FFF2-40B4-BE49-F238E27FC236}">
                <a16:creationId xmlns:a16="http://schemas.microsoft.com/office/drawing/2014/main" id="{1325C1D6-A7B3-4E60-8467-CDC7C064E07B}"/>
              </a:ext>
            </a:extLst>
          </p:cNvPr>
          <p:cNvCxnSpPr>
            <a:cxnSpLocks/>
          </p:cNvCxnSpPr>
          <p:nvPr/>
        </p:nvCxnSpPr>
        <p:spPr>
          <a:xfrm flipV="1">
            <a:off x="2394483" y="3558366"/>
            <a:ext cx="0" cy="2165383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6087208B-9D2A-4D13-A422-35456FF91234}"/>
              </a:ext>
            </a:extLst>
          </p:cNvPr>
          <p:cNvSpPr/>
          <p:nvPr/>
        </p:nvSpPr>
        <p:spPr>
          <a:xfrm>
            <a:off x="2196208" y="3636671"/>
            <a:ext cx="144962" cy="108239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9E47A41F-D806-4287-8364-6A5BAFAF91B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1" name="그림 70">
              <a:extLst>
                <a:ext uri="{FF2B5EF4-FFF2-40B4-BE49-F238E27FC236}">
                  <a16:creationId xmlns:a16="http://schemas.microsoft.com/office/drawing/2014/main" id="{41C99AFA-9B55-44A5-BA4A-27E3BD94B1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2" name="직사각형 71">
              <a:extLst>
                <a:ext uri="{FF2B5EF4-FFF2-40B4-BE49-F238E27FC236}">
                  <a16:creationId xmlns:a16="http://schemas.microsoft.com/office/drawing/2014/main" id="{353898FD-C9AB-472A-932C-7B1D98881DAC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5" name="그림 74">
              <a:extLst>
                <a:ext uri="{FF2B5EF4-FFF2-40B4-BE49-F238E27FC236}">
                  <a16:creationId xmlns:a16="http://schemas.microsoft.com/office/drawing/2014/main" id="{A44B7B83-E8D7-4A21-B6DA-E97A86BD4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37680A5-B8AF-4482-879C-A6E04CAD2FF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49133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BDE3CDFA-101B-4867-87C0-DD222587F932}"/>
              </a:ext>
            </a:extLst>
          </p:cNvPr>
          <p:cNvSpPr txBox="1"/>
          <p:nvPr/>
        </p:nvSpPr>
        <p:spPr>
          <a:xfrm>
            <a:off x="263352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통합 검색 결과 화면 예시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5649FCB-E863-43A7-AA92-98BEBA2860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836712"/>
            <a:ext cx="4752528" cy="547260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3F62854-2DAC-4C51-9282-F041DEC2C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5960" y="836712"/>
            <a:ext cx="4745232" cy="52003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81084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881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사이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등으로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840836"/>
              </p:ext>
            </p:extLst>
          </p:nvPr>
        </p:nvGraphicFramePr>
        <p:xfrm>
          <a:off x="9267391" y="761602"/>
          <a:ext cx="2940214" cy="59686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900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51210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시 지정한 검색 범위 지정되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 입력 필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시 입력한 키워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 [x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 해당 검색어 바로 삭제 처리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 및 검색 필드 활성화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960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어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연관 검색어 출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0882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화면구성은 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 탭으로 구분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검색결과에 따른 건수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641197"/>
                  </a:ext>
                </a:extLst>
              </a:tr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73083"/>
                  </a:ext>
                </a:extLst>
              </a:tr>
              <a:tr h="8333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리스트는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확도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탭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0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Lv1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〮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〮평가〮인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③ 검색어 키워드 볼드 처리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본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</a:tbl>
          </a:graphicData>
        </a:graphic>
      </p:graphicFrame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4397326-A104-4860-A6DA-FE6D8AD12230}"/>
              </a:ext>
            </a:extLst>
          </p:cNvPr>
          <p:cNvSpPr/>
          <p:nvPr/>
        </p:nvSpPr>
        <p:spPr>
          <a:xfrm>
            <a:off x="373310" y="3033912"/>
            <a:ext cx="1114177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컨텐츠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DE84D0C9-0755-4486-AECC-689BC304EABF}"/>
              </a:ext>
            </a:extLst>
          </p:cNvPr>
          <p:cNvGrpSpPr/>
          <p:nvPr/>
        </p:nvGrpSpPr>
        <p:grpSpPr>
          <a:xfrm>
            <a:off x="493812" y="3392387"/>
            <a:ext cx="8381061" cy="782876"/>
            <a:chOff x="472558" y="3489210"/>
            <a:chExt cx="8381061" cy="782876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BD94E2F7-B2BE-4183-87E9-6EC6E35E2C89}"/>
                </a:ext>
              </a:extLst>
            </p:cNvPr>
            <p:cNvSpPr/>
            <p:nvPr/>
          </p:nvSpPr>
          <p:spPr>
            <a:xfrm>
              <a:off x="472558" y="3489210"/>
              <a:ext cx="775879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계획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EE4A4B91-EA72-4237-ABCE-9B1F5F26304C}"/>
                </a:ext>
              </a:extLst>
            </p:cNvPr>
            <p:cNvSpPr/>
            <p:nvPr/>
          </p:nvSpPr>
          <p:spPr>
            <a:xfrm>
              <a:off x="472558" y="3675504"/>
              <a:ext cx="2286144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경영가이드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과제 이행</a:t>
              </a:r>
            </a:p>
          </p:txBody>
        </p:sp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E808140E-36B5-4CB0-B3C5-2A7090459C86}"/>
                </a:ext>
              </a:extLst>
            </p:cNvPr>
            <p:cNvSpPr/>
            <p:nvPr/>
          </p:nvSpPr>
          <p:spPr>
            <a:xfrm>
              <a:off x="472558" y="3883000"/>
              <a:ext cx="8381061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측정 및 개선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가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목표관리제 및 온실가스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권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거래제 대응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보고 경계와 측정 범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의 설정 및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량 측정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1&amp;2), Scope 3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스크리닝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및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측정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3)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BAB1667-354D-46C1-9EE4-9D7820D1A2B7}"/>
              </a:ext>
            </a:extLst>
          </p:cNvPr>
          <p:cNvGrpSpPr/>
          <p:nvPr/>
        </p:nvGrpSpPr>
        <p:grpSpPr>
          <a:xfrm>
            <a:off x="493812" y="4339272"/>
            <a:ext cx="8381062" cy="645638"/>
            <a:chOff x="460273" y="4411823"/>
            <a:chExt cx="8381062" cy="645638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6CDD75BF-68EB-4FD9-AE86-5DD955374D7D}"/>
                </a:ext>
              </a:extLst>
            </p:cNvPr>
            <p:cNvSpPr/>
            <p:nvPr/>
          </p:nvSpPr>
          <p:spPr>
            <a:xfrm>
              <a:off x="460273" y="4411823"/>
              <a:ext cx="777600" cy="151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FCC6BE9-6F7B-4016-AA53-225921FB55E9}"/>
                </a:ext>
              </a:extLst>
            </p:cNvPr>
            <p:cNvSpPr/>
            <p:nvPr/>
          </p:nvSpPr>
          <p:spPr>
            <a:xfrm>
              <a:off x="460274" y="4575524"/>
              <a:ext cx="2286145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nvironment(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 -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1F4830-E5C5-4E8A-B8D5-925DA75FBF02}"/>
                </a:ext>
              </a:extLst>
            </p:cNvPr>
            <p:cNvSpPr/>
            <p:nvPr/>
          </p:nvSpPr>
          <p:spPr>
            <a:xfrm>
              <a:off x="460274" y="4791625"/>
              <a:ext cx="8381061" cy="2658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 합의안에 따르면 시범 기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23.10.01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5.12.31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는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 수입되는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BAM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상 제품의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Greenhouse Gas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하 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HG”)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자국에 대해 분기별 보고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 및 간접 배출 포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를 수행하며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2026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년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월부터는 수입자가 수입 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BAM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서 구매 후 해당 내역을 당국에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신고해야합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2B87FE11-3DCE-47E7-924B-F00A37406EFC}"/>
              </a:ext>
            </a:extLst>
          </p:cNvPr>
          <p:cNvGrpSpPr/>
          <p:nvPr/>
        </p:nvGrpSpPr>
        <p:grpSpPr>
          <a:xfrm>
            <a:off x="493812" y="5206537"/>
            <a:ext cx="8391630" cy="600627"/>
            <a:chOff x="483301" y="4226123"/>
            <a:chExt cx="8391630" cy="600627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B3C11F5D-56E6-47B7-AB93-6C312AD7B221}"/>
                </a:ext>
              </a:extLst>
            </p:cNvPr>
            <p:cNvSpPr/>
            <p:nvPr/>
          </p:nvSpPr>
          <p:spPr>
            <a:xfrm>
              <a:off x="491929" y="4226123"/>
              <a:ext cx="985047" cy="151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" rIns="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</a:t>
              </a:r>
              <a:r>
                <a:rPr lang="ko-KR" altLang="en-US" sz="750" b="1" strike="sngStrike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평가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인증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87081164-A286-448A-8E3D-C9598A799E43}"/>
                </a:ext>
              </a:extLst>
            </p:cNvPr>
            <p:cNvSpPr/>
            <p:nvPr/>
          </p:nvSpPr>
          <p:spPr>
            <a:xfrm>
              <a:off x="483301" y="4406431"/>
              <a:ext cx="247837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개요</a:t>
              </a: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A8D29FA7-028F-4D43-9CF5-D7C233986BA4}"/>
                </a:ext>
              </a:extLst>
            </p:cNvPr>
            <p:cNvSpPr/>
            <p:nvPr/>
          </p:nvSpPr>
          <p:spPr>
            <a:xfrm>
              <a:off x="493870" y="4621809"/>
              <a:ext cx="8381061" cy="20494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l" latinLnBrk="0">
                <a:lnSpc>
                  <a:spcPct val="12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DP 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업의 환경 지속가능성을 측정하여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 등급을 평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매년 수천개의 기업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도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역을 지원하여 기후 변화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물 안보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및 산림에 대한 위험과 기회를 측정</a:t>
              </a:r>
            </a:p>
          </p:txBody>
        </p: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9DEBF005-B01C-40C8-8E9D-86821F59BDA1}"/>
              </a:ext>
            </a:extLst>
          </p:cNvPr>
          <p:cNvGrpSpPr/>
          <p:nvPr/>
        </p:nvGrpSpPr>
        <p:grpSpPr>
          <a:xfrm>
            <a:off x="489567" y="6009674"/>
            <a:ext cx="8381061" cy="254681"/>
            <a:chOff x="489567" y="5743259"/>
            <a:chExt cx="8381061" cy="332201"/>
          </a:xfrm>
        </p:grpSpPr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757B72C7-6234-41BF-85B8-910331B9D296}"/>
                </a:ext>
              </a:extLst>
            </p:cNvPr>
            <p:cNvSpPr/>
            <p:nvPr/>
          </p:nvSpPr>
          <p:spPr>
            <a:xfrm>
              <a:off x="489567" y="5743259"/>
              <a:ext cx="8381061" cy="33220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8B3096F2-51D8-4DB3-86DD-E376DF598CAF}"/>
                </a:ext>
              </a:extLst>
            </p:cNvPr>
            <p:cNvSpPr/>
            <p:nvPr/>
          </p:nvSpPr>
          <p:spPr>
            <a:xfrm>
              <a:off x="3770699" y="5800385"/>
              <a:ext cx="1818796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</a:t>
              </a:r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컨텐츠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더 보기 → </a:t>
              </a:r>
            </a:p>
          </p:txBody>
        </p:sp>
      </p:grp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F7C29918-76C2-4DCA-87C9-07EFCD042DC0}"/>
              </a:ext>
            </a:extLst>
          </p:cNvPr>
          <p:cNvCxnSpPr>
            <a:cxnSpLocks/>
          </p:cNvCxnSpPr>
          <p:nvPr/>
        </p:nvCxnSpPr>
        <p:spPr>
          <a:xfrm>
            <a:off x="460873" y="3278837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연결선 139">
            <a:extLst>
              <a:ext uri="{FF2B5EF4-FFF2-40B4-BE49-F238E27FC236}">
                <a16:creationId xmlns:a16="http://schemas.microsoft.com/office/drawing/2014/main" id="{79DC8F4E-7971-4934-8364-8B57D7F0EA7D}"/>
              </a:ext>
            </a:extLst>
          </p:cNvPr>
          <p:cNvCxnSpPr>
            <a:cxnSpLocks/>
          </p:cNvCxnSpPr>
          <p:nvPr/>
        </p:nvCxnSpPr>
        <p:spPr>
          <a:xfrm>
            <a:off x="489567" y="4234373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연결선 140">
            <a:extLst>
              <a:ext uri="{FF2B5EF4-FFF2-40B4-BE49-F238E27FC236}">
                <a16:creationId xmlns:a16="http://schemas.microsoft.com/office/drawing/2014/main" id="{532A1990-4B86-42A5-87B4-33E4302136CF}"/>
              </a:ext>
            </a:extLst>
          </p:cNvPr>
          <p:cNvCxnSpPr>
            <a:cxnSpLocks/>
          </p:cNvCxnSpPr>
          <p:nvPr/>
        </p:nvCxnSpPr>
        <p:spPr>
          <a:xfrm>
            <a:off x="493813" y="5098469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그룹 4">
            <a:extLst>
              <a:ext uri="{FF2B5EF4-FFF2-40B4-BE49-F238E27FC236}">
                <a16:creationId xmlns:a16="http://schemas.microsoft.com/office/drawing/2014/main" id="{23C4957F-2722-4AD7-8603-50300D48FE3C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111" name="직사각형 110">
              <a:extLst>
                <a:ext uri="{FF2B5EF4-FFF2-40B4-BE49-F238E27FC236}">
                  <a16:creationId xmlns:a16="http://schemas.microsoft.com/office/drawing/2014/main" id="{B9EEC4A7-FE5D-4B2D-99E2-DEDC2663B3A6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5F47612C-6402-41F2-A9C9-7FAC6562CD26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8AD50CD9-189B-4F2E-9CDD-DD0FAF7A4625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54152845-0A66-4F58-8349-845A92AC7019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10" name="타원 9">
                <a:extLst>
                  <a:ext uri="{FF2B5EF4-FFF2-40B4-BE49-F238E27FC236}">
                    <a16:creationId xmlns:a16="http://schemas.microsoft.com/office/drawing/2014/main" id="{92FA3AAE-24EE-4AFC-B5E8-19838D83166C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CD31D450-3D97-4569-8F26-6F97DC18DEEE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C531E077-5317-4AC6-AB3B-B177CC7E40F9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115" name="사각형: 둥근 모서리 114">
              <a:extLst>
                <a:ext uri="{FF2B5EF4-FFF2-40B4-BE49-F238E27FC236}">
                  <a16:creationId xmlns:a16="http://schemas.microsoft.com/office/drawing/2014/main" id="{00AB4AB7-00C7-4746-B1D3-BE54A97F9227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사각형: 둥근 모서리 115">
              <a:extLst>
                <a:ext uri="{FF2B5EF4-FFF2-40B4-BE49-F238E27FC236}">
                  <a16:creationId xmlns:a16="http://schemas.microsoft.com/office/drawing/2014/main" id="{3EB74E73-F191-4104-95D3-0EDFD6CD0150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7" name="사각형: 둥근 모서리 116">
              <a:extLst>
                <a:ext uri="{FF2B5EF4-FFF2-40B4-BE49-F238E27FC236}">
                  <a16:creationId xmlns:a16="http://schemas.microsoft.com/office/drawing/2014/main" id="{113C25C8-A164-499F-B697-0D2BF6DE1C19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8" name="사각형: 둥근 모서리 117">
              <a:extLst>
                <a:ext uri="{FF2B5EF4-FFF2-40B4-BE49-F238E27FC236}">
                  <a16:creationId xmlns:a16="http://schemas.microsoft.com/office/drawing/2014/main" id="{A39F79F5-F681-418E-85F5-F04ED386B959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AA7532E3-7D56-4F73-BECA-875F98B4DEDC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3" name="사각형: 둥근 모서리 2">
                <a:extLst>
                  <a:ext uri="{FF2B5EF4-FFF2-40B4-BE49-F238E27FC236}">
                    <a16:creationId xmlns:a16="http://schemas.microsoft.com/office/drawing/2014/main" id="{48460A65-1B03-44EF-9E9A-C83857175EA2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직사각형 55">
                <a:extLst>
                  <a:ext uri="{FF2B5EF4-FFF2-40B4-BE49-F238E27FC236}">
                    <a16:creationId xmlns:a16="http://schemas.microsoft.com/office/drawing/2014/main" id="{69610811-B3EB-49C3-879A-4A85607EAEC5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57" name="이등변 삼각형 56">
                <a:extLst>
                  <a:ext uri="{FF2B5EF4-FFF2-40B4-BE49-F238E27FC236}">
                    <a16:creationId xmlns:a16="http://schemas.microsoft.com/office/drawing/2014/main" id="{51144F38-8F7F-4765-85B0-AA185A0BC4BB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E2CDE9A0-1A46-4E1F-8617-92362799051A}"/>
              </a:ext>
            </a:extLst>
          </p:cNvPr>
          <p:cNvSpPr/>
          <p:nvPr/>
        </p:nvSpPr>
        <p:spPr>
          <a:xfrm>
            <a:off x="410755" y="14209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E67A529B-035C-4DBB-9521-07F67685C3C4}"/>
              </a:ext>
            </a:extLst>
          </p:cNvPr>
          <p:cNvSpPr/>
          <p:nvPr/>
        </p:nvSpPr>
        <p:spPr>
          <a:xfrm>
            <a:off x="421331" y="17329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5DCF9B2E-1EB6-44DA-A276-4A6A909C97C8}"/>
              </a:ext>
            </a:extLst>
          </p:cNvPr>
          <p:cNvSpPr/>
          <p:nvPr/>
        </p:nvSpPr>
        <p:spPr>
          <a:xfrm>
            <a:off x="422773" y="20964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DBEEBAD5-F6B0-40EA-843F-2B388ECF8290}"/>
              </a:ext>
            </a:extLst>
          </p:cNvPr>
          <p:cNvGrpSpPr/>
          <p:nvPr/>
        </p:nvGrpSpPr>
        <p:grpSpPr>
          <a:xfrm>
            <a:off x="405731" y="2518063"/>
            <a:ext cx="6511013" cy="278893"/>
            <a:chOff x="405731" y="2576423"/>
            <a:chExt cx="6511013" cy="278893"/>
          </a:xfrm>
        </p:grpSpPr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B4C9928D-A99E-442D-8162-E675F83F3BAF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7A907D59-D359-4CFD-B282-57F410839919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" name="사각형: 둥근 모서리 46">
              <a:extLst>
                <a:ext uri="{FF2B5EF4-FFF2-40B4-BE49-F238E27FC236}">
                  <a16:creationId xmlns:a16="http://schemas.microsoft.com/office/drawing/2014/main" id="{643E85F0-6826-403C-8C76-7B036FDCAF66}"/>
                </a:ext>
              </a:extLst>
            </p:cNvPr>
            <p:cNvSpPr/>
            <p:nvPr/>
          </p:nvSpPr>
          <p:spPr>
            <a:xfrm>
              <a:off x="4435476" y="2622673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24CBD47A-2AD7-4CB4-9985-AC5DA1F5BF53}"/>
                </a:ext>
              </a:extLst>
            </p:cNvPr>
            <p:cNvSpPr/>
            <p:nvPr/>
          </p:nvSpPr>
          <p:spPr>
            <a:xfrm>
              <a:off x="3114166" y="263061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0BDB56BF-8C55-4CE5-8F4A-4C93CAA3EB1A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3" name="사각형: 둥근 모서리 62">
              <a:extLst>
                <a:ext uri="{FF2B5EF4-FFF2-40B4-BE49-F238E27FC236}">
                  <a16:creationId xmlns:a16="http://schemas.microsoft.com/office/drawing/2014/main" id="{33FB693B-D875-4A34-9F15-8E4F617754C1}"/>
                </a:ext>
              </a:extLst>
            </p:cNvPr>
            <p:cNvSpPr/>
            <p:nvPr/>
          </p:nvSpPr>
          <p:spPr>
            <a:xfrm>
              <a:off x="405731" y="2576423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4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64" name="표 10">
            <a:extLst>
              <a:ext uri="{FF2B5EF4-FFF2-40B4-BE49-F238E27FC236}">
                <a16:creationId xmlns:a16="http://schemas.microsoft.com/office/drawing/2014/main" id="{47D8472A-55BE-4524-A3AA-2C76D9B6C0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004503"/>
              </p:ext>
            </p:extLst>
          </p:nvPr>
        </p:nvGraphicFramePr>
        <p:xfrm>
          <a:off x="9687020" y="2684798"/>
          <a:ext cx="2417103" cy="1584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7103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4143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라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최대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정확도순 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232327"/>
                  </a:ext>
                </a:extLst>
              </a:tr>
              <a:tr h="4143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진단계획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에  등록된 </a:t>
                      </a:r>
                      <a:r>
                        <a:rPr lang="ko-KR" altLang="en-US" sz="800" b="0" kern="1200" spc="-8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게시글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endParaRPr lang="ko-KR" altLang="en-US" sz="800" b="0" kern="1200" spc="-8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</a:tbl>
          </a:graphicData>
        </a:graphic>
      </p:graphicFrame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3E30CEF4-5FC3-46C8-8CE0-2AE5D458796A}"/>
              </a:ext>
            </a:extLst>
          </p:cNvPr>
          <p:cNvSpPr/>
          <p:nvPr/>
        </p:nvSpPr>
        <p:spPr>
          <a:xfrm>
            <a:off x="222018" y="30495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FD3271DA-B3E1-43CE-8ADF-BFC98B7F413D}"/>
              </a:ext>
            </a:extLst>
          </p:cNvPr>
          <p:cNvCxnSpPr>
            <a:cxnSpLocks/>
          </p:cNvCxnSpPr>
          <p:nvPr/>
        </p:nvCxnSpPr>
        <p:spPr>
          <a:xfrm>
            <a:off x="320755" y="2994575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DF892D5F-50FD-4A46-96D8-72202FDDBD42}"/>
              </a:ext>
            </a:extLst>
          </p:cNvPr>
          <p:cNvCxnSpPr>
            <a:cxnSpLocks/>
          </p:cNvCxnSpPr>
          <p:nvPr/>
        </p:nvCxnSpPr>
        <p:spPr>
          <a:xfrm flipV="1">
            <a:off x="410755" y="2986656"/>
            <a:ext cx="0" cy="341686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>
            <a:extLst>
              <a:ext uri="{FF2B5EF4-FFF2-40B4-BE49-F238E27FC236}">
                <a16:creationId xmlns:a16="http://schemas.microsoft.com/office/drawing/2014/main" id="{B9CCBF41-4946-4ACF-B922-FC0A3819380F}"/>
              </a:ext>
            </a:extLst>
          </p:cNvPr>
          <p:cNvCxnSpPr>
            <a:cxnSpLocks/>
          </p:cNvCxnSpPr>
          <p:nvPr/>
        </p:nvCxnSpPr>
        <p:spPr>
          <a:xfrm>
            <a:off x="313812" y="6403524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6D948F5A-91D6-49DC-A985-84739D7FC49C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45DE23C0-EA21-44CF-B18C-BE32D35B7EE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C6D139E3-686C-4D02-AD1B-D7D58542BE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3" name="직사각형 72">
              <a:extLst>
                <a:ext uri="{FF2B5EF4-FFF2-40B4-BE49-F238E27FC236}">
                  <a16:creationId xmlns:a16="http://schemas.microsoft.com/office/drawing/2014/main" id="{C406C3BE-A77B-4A39-B619-B5EC1870BEA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C9196B80-0072-4A74-AE36-3D2D476330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80463B40-4986-4816-A7F4-B3CCDA263E0C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F6E4821D-8823-4BA9-B99E-ACC6B9123A4E}"/>
              </a:ext>
            </a:extLst>
          </p:cNvPr>
          <p:cNvSpPr/>
          <p:nvPr/>
        </p:nvSpPr>
        <p:spPr>
          <a:xfrm>
            <a:off x="9261385" y="1"/>
            <a:ext cx="2950181" cy="476671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평가〮인증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→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인증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수정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693889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397511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사이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등으로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9DEBF005-B01C-40C8-8E9D-86821F59BDA1}"/>
              </a:ext>
            </a:extLst>
          </p:cNvPr>
          <p:cNvGrpSpPr/>
          <p:nvPr/>
        </p:nvGrpSpPr>
        <p:grpSpPr>
          <a:xfrm>
            <a:off x="489567" y="5635747"/>
            <a:ext cx="8381061" cy="332201"/>
            <a:chOff x="489567" y="5743259"/>
            <a:chExt cx="8381061" cy="332201"/>
          </a:xfrm>
        </p:grpSpPr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757B72C7-6234-41BF-85B8-910331B9D296}"/>
                </a:ext>
              </a:extLst>
            </p:cNvPr>
            <p:cNvSpPr/>
            <p:nvPr/>
          </p:nvSpPr>
          <p:spPr>
            <a:xfrm>
              <a:off x="489567" y="5743259"/>
              <a:ext cx="8381061" cy="33220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8B3096F2-51D8-4DB3-86DD-E376DF598CAF}"/>
                </a:ext>
              </a:extLst>
            </p:cNvPr>
            <p:cNvSpPr/>
            <p:nvPr/>
          </p:nvSpPr>
          <p:spPr>
            <a:xfrm>
              <a:off x="3770699" y="5800385"/>
              <a:ext cx="1818796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자료 더 보기 → </a:t>
              </a:r>
            </a:p>
          </p:txBody>
        </p:sp>
      </p:grp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BBAB8ED-8EC8-4444-A5EF-20F514532B70}"/>
              </a:ext>
            </a:extLst>
          </p:cNvPr>
          <p:cNvSpPr/>
          <p:nvPr/>
        </p:nvSpPr>
        <p:spPr>
          <a:xfrm>
            <a:off x="373311" y="1556792"/>
            <a:ext cx="1186185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3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EE6E6003-E895-486B-89DB-B46A11F5D40C}"/>
              </a:ext>
            </a:extLst>
          </p:cNvPr>
          <p:cNvCxnSpPr>
            <a:cxnSpLocks/>
          </p:cNvCxnSpPr>
          <p:nvPr/>
        </p:nvCxnSpPr>
        <p:spPr>
          <a:xfrm>
            <a:off x="460873" y="1801717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970E6B08-13D7-4881-8E55-810F2C41F69C}"/>
              </a:ext>
            </a:extLst>
          </p:cNvPr>
          <p:cNvGrpSpPr/>
          <p:nvPr/>
        </p:nvGrpSpPr>
        <p:grpSpPr>
          <a:xfrm>
            <a:off x="499725" y="1905020"/>
            <a:ext cx="6538294" cy="782876"/>
            <a:chOff x="472556" y="3512070"/>
            <a:chExt cx="6538294" cy="782876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A8FB4091-77F7-442A-9BA6-B0072BF61FF6}"/>
                </a:ext>
              </a:extLst>
            </p:cNvPr>
            <p:cNvSpPr/>
            <p:nvPr/>
          </p:nvSpPr>
          <p:spPr>
            <a:xfrm>
              <a:off x="472556" y="3512070"/>
              <a:ext cx="83869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인사이트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6522D28-F929-4E34-95BF-0C30497869DA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Newsflash –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 시행</a:t>
              </a: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B82A71B2-B1E2-4BE9-BA2D-30F245B90E19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2D0B89C9-32EC-47D9-A660-FD34BD07C76A}"/>
              </a:ext>
            </a:extLst>
          </p:cNvPr>
          <p:cNvSpPr/>
          <p:nvPr/>
        </p:nvSpPr>
        <p:spPr>
          <a:xfrm>
            <a:off x="501552" y="2830363"/>
            <a:ext cx="8291495" cy="23663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marR="0" lvl="0" algn="l" defTabSz="97717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배출 규제가 느슨한 국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非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규제가 엄격한 국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물품을 수출할 때 발생하는 가격 차이를 보전하기 위해 비용을 부과하는 일종의 무역 관세입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정 합의안에 따르면 시범 기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02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2025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제품의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reenhouse Gas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HG”)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자국에 대해 분기별 보고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DFBEE1B5-B086-456C-96B0-E8A327CE7212}"/>
              </a:ext>
            </a:extLst>
          </p:cNvPr>
          <p:cNvCxnSpPr>
            <a:cxnSpLocks/>
          </p:cNvCxnSpPr>
          <p:nvPr/>
        </p:nvCxnSpPr>
        <p:spPr>
          <a:xfrm>
            <a:off x="489567" y="3209988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EB7219C7-D864-4084-AC65-2FB52F242C75}"/>
              </a:ext>
            </a:extLst>
          </p:cNvPr>
          <p:cNvGrpSpPr/>
          <p:nvPr/>
        </p:nvGrpSpPr>
        <p:grpSpPr>
          <a:xfrm>
            <a:off x="499727" y="4501022"/>
            <a:ext cx="5530180" cy="394340"/>
            <a:chOff x="472558" y="3512070"/>
            <a:chExt cx="5530180" cy="394340"/>
          </a:xfrm>
        </p:grpSpPr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898D6E90-62B4-45C0-9ED9-FDD63B541563}"/>
                </a:ext>
              </a:extLst>
            </p:cNvPr>
            <p:cNvSpPr/>
            <p:nvPr/>
          </p:nvSpPr>
          <p:spPr>
            <a:xfrm>
              <a:off x="472558" y="3512070"/>
              <a:ext cx="555713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연구</a:t>
              </a:r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보고</a:t>
              </a: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06E91F32-F004-4EFC-825E-748A36056D09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년도 환경정책 키워드는 안전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서비스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중립</a:t>
              </a:r>
            </a:p>
          </p:txBody>
        </p:sp>
      </p:grp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2E9D98D2-670B-49EB-8646-9F44385B1E34}"/>
              </a:ext>
            </a:extLst>
          </p:cNvPr>
          <p:cNvCxnSpPr>
            <a:cxnSpLocks/>
          </p:cNvCxnSpPr>
          <p:nvPr/>
        </p:nvCxnSpPr>
        <p:spPr>
          <a:xfrm>
            <a:off x="478960" y="4287380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008C4B69-4AD2-46EC-9E64-1F3F0769B443}"/>
              </a:ext>
            </a:extLst>
          </p:cNvPr>
          <p:cNvSpPr/>
          <p:nvPr/>
        </p:nvSpPr>
        <p:spPr>
          <a:xfrm>
            <a:off x="2205919" y="2586598"/>
            <a:ext cx="165783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탄소국경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C892C911-BECF-4F2E-B4A8-0C80A5365B8D}"/>
              </a:ext>
            </a:extLst>
          </p:cNvPr>
          <p:cNvSpPr/>
          <p:nvPr/>
        </p:nvSpPr>
        <p:spPr>
          <a:xfrm>
            <a:off x="534606" y="2586598"/>
            <a:ext cx="360929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E00FA9A4-1FB6-4716-8FD2-0E518CB8E601}"/>
              </a:ext>
            </a:extLst>
          </p:cNvPr>
          <p:cNvSpPr/>
          <p:nvPr/>
        </p:nvSpPr>
        <p:spPr>
          <a:xfrm>
            <a:off x="969060" y="2586598"/>
            <a:ext cx="369361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38BC6FA4-D475-43E4-A951-AADB6028F5D0}"/>
              </a:ext>
            </a:extLst>
          </p:cNvPr>
          <p:cNvSpPr/>
          <p:nvPr/>
        </p:nvSpPr>
        <p:spPr>
          <a:xfrm>
            <a:off x="1415481" y="2586598"/>
            <a:ext cx="711698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521F278-6503-4765-A6DA-D8E17FAC8C77}"/>
              </a:ext>
            </a:extLst>
          </p:cNvPr>
          <p:cNvSpPr/>
          <p:nvPr/>
        </p:nvSpPr>
        <p:spPr>
          <a:xfrm>
            <a:off x="483778" y="3319283"/>
            <a:ext cx="854643" cy="15098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이드라인</a:t>
            </a: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15AC5589-6046-413B-8717-40268A88674B}"/>
              </a:ext>
            </a:extLst>
          </p:cNvPr>
          <p:cNvSpPr/>
          <p:nvPr/>
        </p:nvSpPr>
        <p:spPr>
          <a:xfrm>
            <a:off x="483779" y="3520817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 (Carbon Disclosure Project)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C3A71257-A5A5-487A-8104-5BD387779678}"/>
              </a:ext>
            </a:extLst>
          </p:cNvPr>
          <p:cNvSpPr/>
          <p:nvPr/>
        </p:nvSpPr>
        <p:spPr>
          <a:xfrm>
            <a:off x="1919536" y="4023732"/>
            <a:ext cx="165783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탄소국경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4C339177-C6FB-4696-B6D7-FDD85B37A1B8}"/>
              </a:ext>
            </a:extLst>
          </p:cNvPr>
          <p:cNvSpPr/>
          <p:nvPr/>
        </p:nvSpPr>
        <p:spPr>
          <a:xfrm>
            <a:off x="536625" y="4023732"/>
            <a:ext cx="360929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6CD91728-6070-49B4-AAB2-25DC75B91BFC}"/>
              </a:ext>
            </a:extLst>
          </p:cNvPr>
          <p:cNvSpPr/>
          <p:nvPr/>
        </p:nvSpPr>
        <p:spPr>
          <a:xfrm>
            <a:off x="971079" y="4023732"/>
            <a:ext cx="36734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2908A6B2-C399-4F65-BA91-031A2A9F8C14}"/>
              </a:ext>
            </a:extLst>
          </p:cNvPr>
          <p:cNvSpPr/>
          <p:nvPr/>
        </p:nvSpPr>
        <p:spPr>
          <a:xfrm>
            <a:off x="1415482" y="4023732"/>
            <a:ext cx="43204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ECC92201-CBD2-415D-8DFC-8B0FB1C403E4}"/>
              </a:ext>
            </a:extLst>
          </p:cNvPr>
          <p:cNvSpPr/>
          <p:nvPr/>
        </p:nvSpPr>
        <p:spPr>
          <a:xfrm>
            <a:off x="489567" y="2330201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2023-06-30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48907879-BA24-4AC2-9C78-36C305913343}"/>
              </a:ext>
            </a:extLst>
          </p:cNvPr>
          <p:cNvSpPr/>
          <p:nvPr/>
        </p:nvSpPr>
        <p:spPr>
          <a:xfrm>
            <a:off x="483778" y="3744053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2023-06-30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EC3ED87E-DC56-4689-9402-C79403F069E7}"/>
              </a:ext>
            </a:extLst>
          </p:cNvPr>
          <p:cNvSpPr/>
          <p:nvPr/>
        </p:nvSpPr>
        <p:spPr>
          <a:xfrm>
            <a:off x="2001325" y="5243723"/>
            <a:ext cx="165783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탄소국경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EE710B52-7913-4F9A-B411-FB14A302A8CA}"/>
              </a:ext>
            </a:extLst>
          </p:cNvPr>
          <p:cNvSpPr/>
          <p:nvPr/>
        </p:nvSpPr>
        <p:spPr>
          <a:xfrm>
            <a:off x="550499" y="5243723"/>
            <a:ext cx="360929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7D563807-20BD-4448-8445-9743C6851BDF}"/>
              </a:ext>
            </a:extLst>
          </p:cNvPr>
          <p:cNvSpPr/>
          <p:nvPr/>
        </p:nvSpPr>
        <p:spPr>
          <a:xfrm>
            <a:off x="984953" y="5243723"/>
            <a:ext cx="36734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98E6B097-B452-4C14-AB45-EB4D08F07AB8}"/>
              </a:ext>
            </a:extLst>
          </p:cNvPr>
          <p:cNvSpPr/>
          <p:nvPr/>
        </p:nvSpPr>
        <p:spPr>
          <a:xfrm>
            <a:off x="1429356" y="5243723"/>
            <a:ext cx="504054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92AFA23E-C42C-4312-B5EA-7EDC4358E015}"/>
              </a:ext>
            </a:extLst>
          </p:cNvPr>
          <p:cNvSpPr/>
          <p:nvPr/>
        </p:nvSpPr>
        <p:spPr>
          <a:xfrm>
            <a:off x="497652" y="4964044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제정보센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KDI)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2023-06-30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4D93764D-B174-4012-8917-D0CCE856CB57}"/>
              </a:ext>
            </a:extLst>
          </p:cNvPr>
          <p:cNvSpPr/>
          <p:nvPr/>
        </p:nvSpPr>
        <p:spPr>
          <a:xfrm>
            <a:off x="222018" y="16209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81A8BF1D-34B5-4DAC-BFEC-3406C3EC42C5}"/>
              </a:ext>
            </a:extLst>
          </p:cNvPr>
          <p:cNvCxnSpPr>
            <a:cxnSpLocks/>
          </p:cNvCxnSpPr>
          <p:nvPr/>
        </p:nvCxnSpPr>
        <p:spPr>
          <a:xfrm>
            <a:off x="320755" y="1565932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>
            <a:extLst>
              <a:ext uri="{FF2B5EF4-FFF2-40B4-BE49-F238E27FC236}">
                <a16:creationId xmlns:a16="http://schemas.microsoft.com/office/drawing/2014/main" id="{626AAC0B-EFA0-4817-B075-7A0EF825AE46}"/>
              </a:ext>
            </a:extLst>
          </p:cNvPr>
          <p:cNvCxnSpPr>
            <a:cxnSpLocks/>
          </p:cNvCxnSpPr>
          <p:nvPr/>
        </p:nvCxnSpPr>
        <p:spPr>
          <a:xfrm flipV="1">
            <a:off x="410755" y="1558013"/>
            <a:ext cx="0" cy="447166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2760C5F6-2A55-41BF-9820-9F31DFE5A27E}"/>
              </a:ext>
            </a:extLst>
          </p:cNvPr>
          <p:cNvCxnSpPr>
            <a:cxnSpLocks/>
          </p:cNvCxnSpPr>
          <p:nvPr/>
        </p:nvCxnSpPr>
        <p:spPr>
          <a:xfrm>
            <a:off x="313812" y="6029677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8" name="표 10">
            <a:extLst>
              <a:ext uri="{FF2B5EF4-FFF2-40B4-BE49-F238E27FC236}">
                <a16:creationId xmlns:a16="http://schemas.microsoft.com/office/drawing/2014/main" id="{EC1010E4-5152-46B1-A375-CA317A1A64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340493"/>
              </p:ext>
            </p:extLst>
          </p:nvPr>
        </p:nvGraphicFramePr>
        <p:xfrm>
          <a:off x="9276656" y="750765"/>
          <a:ext cx="2922885" cy="3703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057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문서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리스트는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확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탭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1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→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표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〮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보고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②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③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처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④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⑤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⑦ 컨텐츠 본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범위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검색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우에만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되는 정보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 키워드 볼드 처리된 본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cxnSp>
        <p:nvCxnSpPr>
          <p:cNvPr id="52" name="직선 연결선 51">
            <a:extLst>
              <a:ext uri="{FF2B5EF4-FFF2-40B4-BE49-F238E27FC236}">
                <a16:creationId xmlns:a16="http://schemas.microsoft.com/office/drawing/2014/main" id="{F0E36AD5-65CD-422B-A544-C7686EE14A5A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6F34666C-B8FD-463D-A30A-C44555186D5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5" name="그림 84">
              <a:extLst>
                <a:ext uri="{FF2B5EF4-FFF2-40B4-BE49-F238E27FC236}">
                  <a16:creationId xmlns:a16="http://schemas.microsoft.com/office/drawing/2014/main" id="{193814F4-E0CE-4407-ACF5-D2D1656537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0B4C6E9-8BC4-45B5-A63F-82E331CC020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9" name="그림 88">
              <a:extLst>
                <a:ext uri="{FF2B5EF4-FFF2-40B4-BE49-F238E27FC236}">
                  <a16:creationId xmlns:a16="http://schemas.microsoft.com/office/drawing/2014/main" id="{D9684C27-05AA-48D6-96AA-C86C1B1055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18FB418A-11D7-4B75-91CD-8FC082CC597F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16419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41802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사이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등으로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9" name="표 10">
            <a:extLst>
              <a:ext uri="{FF2B5EF4-FFF2-40B4-BE49-F238E27FC236}">
                <a16:creationId xmlns:a16="http://schemas.microsoft.com/office/drawing/2014/main" id="{50F0B606-8D4B-49BA-8032-E5E6E9C61F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376739"/>
              </p:ext>
            </p:extLst>
          </p:nvPr>
        </p:nvGraphicFramePr>
        <p:xfrm>
          <a:off x="9276656" y="750765"/>
          <a:ext cx="2922885" cy="2316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057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뉴스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리스트는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확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탭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2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픈 시점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팩트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고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② 뉴스제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③ 뉴스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④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표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⑤ 뉴스 본문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grpSp>
        <p:nvGrpSpPr>
          <p:cNvPr id="42" name="그룹 41">
            <a:extLst>
              <a:ext uri="{FF2B5EF4-FFF2-40B4-BE49-F238E27FC236}">
                <a16:creationId xmlns:a16="http://schemas.microsoft.com/office/drawing/2014/main" id="{9DEBF005-B01C-40C8-8E9D-86821F59BDA1}"/>
              </a:ext>
            </a:extLst>
          </p:cNvPr>
          <p:cNvGrpSpPr/>
          <p:nvPr/>
        </p:nvGrpSpPr>
        <p:grpSpPr>
          <a:xfrm>
            <a:off x="489567" y="5329047"/>
            <a:ext cx="8381061" cy="332201"/>
            <a:chOff x="489567" y="5743259"/>
            <a:chExt cx="8381061" cy="332201"/>
          </a:xfrm>
        </p:grpSpPr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757B72C7-6234-41BF-85B8-910331B9D296}"/>
                </a:ext>
              </a:extLst>
            </p:cNvPr>
            <p:cNvSpPr/>
            <p:nvPr/>
          </p:nvSpPr>
          <p:spPr>
            <a:xfrm>
              <a:off x="489567" y="5743259"/>
              <a:ext cx="8381061" cy="33220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8B3096F2-51D8-4DB3-86DD-E376DF598CAF}"/>
                </a:ext>
              </a:extLst>
            </p:cNvPr>
            <p:cNvSpPr/>
            <p:nvPr/>
          </p:nvSpPr>
          <p:spPr>
            <a:xfrm>
              <a:off x="3770699" y="5800385"/>
              <a:ext cx="1818796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뉴스 더 보기 → </a:t>
              </a:r>
            </a:p>
          </p:txBody>
        </p:sp>
      </p:grpSp>
      <p:pic>
        <p:nvPicPr>
          <p:cNvPr id="3" name="그림 2">
            <a:extLst>
              <a:ext uri="{FF2B5EF4-FFF2-40B4-BE49-F238E27FC236}">
                <a16:creationId xmlns:a16="http://schemas.microsoft.com/office/drawing/2014/main" id="{CBE47D1F-2CD4-41E7-94E7-F00C3AB047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96" t="3747" r="81307" b="73862"/>
          <a:stretch/>
        </p:blipFill>
        <p:spPr>
          <a:xfrm>
            <a:off x="7162806" y="1945767"/>
            <a:ext cx="1597490" cy="809777"/>
          </a:xfrm>
          <a:prstGeom prst="rect">
            <a:avLst/>
          </a:prstGeom>
        </p:spPr>
      </p:pic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BBAB8ED-8EC8-4444-A5EF-20F514532B70}"/>
              </a:ext>
            </a:extLst>
          </p:cNvPr>
          <p:cNvSpPr/>
          <p:nvPr/>
        </p:nvSpPr>
        <p:spPr>
          <a:xfrm>
            <a:off x="373311" y="1610132"/>
            <a:ext cx="826145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EE6E6003-E895-486B-89DB-B46A11F5D40C}"/>
              </a:ext>
            </a:extLst>
          </p:cNvPr>
          <p:cNvCxnSpPr>
            <a:cxnSpLocks/>
          </p:cNvCxnSpPr>
          <p:nvPr/>
        </p:nvCxnSpPr>
        <p:spPr>
          <a:xfrm>
            <a:off x="460873" y="1855057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970E6B08-13D7-4881-8E55-810F2C41F69C}"/>
              </a:ext>
            </a:extLst>
          </p:cNvPr>
          <p:cNvGrpSpPr/>
          <p:nvPr/>
        </p:nvGrpSpPr>
        <p:grpSpPr>
          <a:xfrm>
            <a:off x="499727" y="1958360"/>
            <a:ext cx="6538292" cy="782876"/>
            <a:chOff x="472558" y="3512070"/>
            <a:chExt cx="6538292" cy="782876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A8FB4091-77F7-442A-9BA6-B0072BF61FF6}"/>
                </a:ext>
              </a:extLst>
            </p:cNvPr>
            <p:cNvSpPr/>
            <p:nvPr/>
          </p:nvSpPr>
          <p:spPr>
            <a:xfrm>
              <a:off x="472558" y="3512070"/>
              <a:ext cx="48370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6522D28-F929-4E34-95BF-0C30497869DA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CS+,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 측정 표준 개발 중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--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 크레딧 시장은 투자 유치 기대감 늘어</a:t>
              </a: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B82A71B2-B1E2-4BE9-BA2D-30F245B90E19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발적인 탄소 크레딧 시장에서 탄소 측정에 대한 중요성이 부각되는 가운데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글로벌 기후 기술 관계자들의 연합인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CS+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니셔티브에서 탄소 측정 방법론에 대한 공개 협의를 진행한다고 지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현지시각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표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CCS+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니셔티브의 탄소 측정 방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82B61838-49BD-42AD-B588-38179137E786}"/>
              </a:ext>
            </a:extLst>
          </p:cNvPr>
          <p:cNvGrpSpPr/>
          <p:nvPr/>
        </p:nvGrpSpPr>
        <p:grpSpPr>
          <a:xfrm>
            <a:off x="499727" y="3007114"/>
            <a:ext cx="6538292" cy="782876"/>
            <a:chOff x="472558" y="3512070"/>
            <a:chExt cx="6538292" cy="782876"/>
          </a:xfrm>
        </p:grpSpPr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B3D910FC-24A6-44F2-9EA6-C13FB012BE8A}"/>
                </a:ext>
              </a:extLst>
            </p:cNvPr>
            <p:cNvSpPr/>
            <p:nvPr/>
          </p:nvSpPr>
          <p:spPr>
            <a:xfrm>
              <a:off x="472558" y="3512070"/>
              <a:ext cx="48370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F679BFA3-9AED-42D8-B519-287463A76154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한상의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포험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애그테크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관심 급부상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 문제 해결이 과제</a:t>
              </a:r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2D0B89C9-32EC-47D9-A660-FD34BD07C76A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한상공회의소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장 최태원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는 산업통상자원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Y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한영과 공동으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8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 세종대로 대한상의회관에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4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차 대한상의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포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을 개최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번 행사는 정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업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학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관 기관의 전문가들이 참여하여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반 신사업 창출 전략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</p:grpSp>
      <p:pic>
        <p:nvPicPr>
          <p:cNvPr id="63" name="그림 62">
            <a:extLst>
              <a:ext uri="{FF2B5EF4-FFF2-40B4-BE49-F238E27FC236}">
                <a16:creationId xmlns:a16="http://schemas.microsoft.com/office/drawing/2014/main" id="{7FD6546A-116A-4B06-A8CC-8574921D54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" t="35405" r="81276" b="40335"/>
          <a:stretch/>
        </p:blipFill>
        <p:spPr>
          <a:xfrm>
            <a:off x="7162806" y="2980061"/>
            <a:ext cx="1597490" cy="843074"/>
          </a:xfrm>
          <a:prstGeom prst="rect">
            <a:avLst/>
          </a:prstGeom>
        </p:spPr>
      </p:pic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DFBEE1B5-B086-456C-96B0-E8A327CE7212}"/>
              </a:ext>
            </a:extLst>
          </p:cNvPr>
          <p:cNvCxnSpPr>
            <a:cxnSpLocks/>
          </p:cNvCxnSpPr>
          <p:nvPr/>
        </p:nvCxnSpPr>
        <p:spPr>
          <a:xfrm>
            <a:off x="489567" y="2872368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EB7219C7-D864-4084-AC65-2FB52F242C75}"/>
              </a:ext>
            </a:extLst>
          </p:cNvPr>
          <p:cNvGrpSpPr/>
          <p:nvPr/>
        </p:nvGrpSpPr>
        <p:grpSpPr>
          <a:xfrm>
            <a:off x="499727" y="4055868"/>
            <a:ext cx="6538292" cy="782876"/>
            <a:chOff x="472558" y="3512070"/>
            <a:chExt cx="6538292" cy="782876"/>
          </a:xfrm>
        </p:grpSpPr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898D6E90-62B4-45C0-9ED9-FDD63B541563}"/>
                </a:ext>
              </a:extLst>
            </p:cNvPr>
            <p:cNvSpPr/>
            <p:nvPr/>
          </p:nvSpPr>
          <p:spPr>
            <a:xfrm>
              <a:off x="472558" y="3512070"/>
              <a:ext cx="48370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06E91F32-F004-4EFC-825E-748A36056D09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[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워싱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탐사대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]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글로벌 음반 산업의 탄소중립 노력은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  <a:endPara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7614C562-9074-4963-890A-3CF8522FE953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재단법인 기후변화센터와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은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올해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워싱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탐사대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’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를 운영한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ESG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관한 모니터링을 하는 청년 기자단을 중심으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들을 직접 멘토링하고 이들이 작성한 기사를 보도한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세계적인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록밴드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콜드플레이는 지난해 탄소 배출을 줄이기 위해  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2E9D98D2-670B-49EB-8646-9F44385B1E34}"/>
              </a:ext>
            </a:extLst>
          </p:cNvPr>
          <p:cNvCxnSpPr>
            <a:cxnSpLocks/>
          </p:cNvCxnSpPr>
          <p:nvPr/>
        </p:nvCxnSpPr>
        <p:spPr>
          <a:xfrm>
            <a:off x="478960" y="3924735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그림 69">
            <a:extLst>
              <a:ext uri="{FF2B5EF4-FFF2-40B4-BE49-F238E27FC236}">
                <a16:creationId xmlns:a16="http://schemas.microsoft.com/office/drawing/2014/main" id="{E66A5968-A008-4A5D-BC90-1E23099932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t="69582" r="82070" b="6237"/>
          <a:stretch/>
        </p:blipFill>
        <p:spPr>
          <a:xfrm>
            <a:off x="7162806" y="4132497"/>
            <a:ext cx="1591170" cy="816021"/>
          </a:xfrm>
          <a:prstGeom prst="rect">
            <a:avLst/>
          </a:prstGeom>
        </p:spPr>
      </p:pic>
      <p:sp>
        <p:nvSpPr>
          <p:cNvPr id="71" name="직사각형 70">
            <a:extLst>
              <a:ext uri="{FF2B5EF4-FFF2-40B4-BE49-F238E27FC236}">
                <a16:creationId xmlns:a16="http://schemas.microsoft.com/office/drawing/2014/main" id="{CFD93C58-8222-4FF9-AA00-A376E888F227}"/>
              </a:ext>
            </a:extLst>
          </p:cNvPr>
          <p:cNvSpPr/>
          <p:nvPr/>
        </p:nvSpPr>
        <p:spPr>
          <a:xfrm>
            <a:off x="6196641" y="2172647"/>
            <a:ext cx="727538" cy="1509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r"/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30</a:t>
            </a:r>
            <a:endParaRPr lang="ko-KR" altLang="en-US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B5332397-A620-4699-9927-23D7C0E5D4DD}"/>
              </a:ext>
            </a:extLst>
          </p:cNvPr>
          <p:cNvSpPr/>
          <p:nvPr/>
        </p:nvSpPr>
        <p:spPr>
          <a:xfrm>
            <a:off x="6196641" y="3232334"/>
            <a:ext cx="727538" cy="1509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r"/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30</a:t>
            </a:r>
            <a:endParaRPr lang="ko-KR" altLang="en-US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31E1CBCB-7DE4-4F5E-BA9B-F3764B49CBFA}"/>
              </a:ext>
            </a:extLst>
          </p:cNvPr>
          <p:cNvSpPr/>
          <p:nvPr/>
        </p:nvSpPr>
        <p:spPr>
          <a:xfrm>
            <a:off x="6196641" y="4265960"/>
            <a:ext cx="727538" cy="1509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r"/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30</a:t>
            </a:r>
            <a:endParaRPr lang="ko-KR" altLang="en-US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F558E5B3-DA13-4C50-B345-A9263C46DEF7}"/>
              </a:ext>
            </a:extLst>
          </p:cNvPr>
          <p:cNvSpPr/>
          <p:nvPr/>
        </p:nvSpPr>
        <p:spPr>
          <a:xfrm>
            <a:off x="222018" y="16209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DE9C1743-ED64-4E7A-A484-F1573576F3C3}"/>
              </a:ext>
            </a:extLst>
          </p:cNvPr>
          <p:cNvCxnSpPr>
            <a:cxnSpLocks/>
          </p:cNvCxnSpPr>
          <p:nvPr/>
        </p:nvCxnSpPr>
        <p:spPr>
          <a:xfrm>
            <a:off x="320755" y="1565932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97B557C0-EF83-41C2-A52B-23BD44C8C8E0}"/>
              </a:ext>
            </a:extLst>
          </p:cNvPr>
          <p:cNvCxnSpPr>
            <a:cxnSpLocks/>
          </p:cNvCxnSpPr>
          <p:nvPr/>
        </p:nvCxnSpPr>
        <p:spPr>
          <a:xfrm flipV="1">
            <a:off x="410755" y="1558013"/>
            <a:ext cx="0" cy="4175243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4D05B815-1292-4A5A-96B1-504EFF0CE96E}"/>
              </a:ext>
            </a:extLst>
          </p:cNvPr>
          <p:cNvCxnSpPr>
            <a:cxnSpLocks/>
          </p:cNvCxnSpPr>
          <p:nvPr/>
        </p:nvCxnSpPr>
        <p:spPr>
          <a:xfrm>
            <a:off x="313812" y="5733256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27793B89-F954-4777-9DCE-ADD76C8B116C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BA119D8E-66AC-4EF9-B5C9-4158BB8D07EF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57" name="그림 56">
              <a:extLst>
                <a:ext uri="{FF2B5EF4-FFF2-40B4-BE49-F238E27FC236}">
                  <a16:creationId xmlns:a16="http://schemas.microsoft.com/office/drawing/2014/main" id="{F998ABA0-0903-4B82-B4B5-FBC1D9DCC0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E1FC9695-3C85-4294-8AD2-CB8DD687D5F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998D69E6-EE87-4201-ACEA-8D212B32E9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E0FA176-0A3C-4AC1-97B8-B106B9064DC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92374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9913030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/4)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사이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 등으로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9DEBF005-B01C-40C8-8E9D-86821F59BDA1}"/>
              </a:ext>
            </a:extLst>
          </p:cNvPr>
          <p:cNvGrpSpPr/>
          <p:nvPr/>
        </p:nvGrpSpPr>
        <p:grpSpPr>
          <a:xfrm>
            <a:off x="489567" y="4495431"/>
            <a:ext cx="8381061" cy="332201"/>
            <a:chOff x="489567" y="5743259"/>
            <a:chExt cx="8381061" cy="332201"/>
          </a:xfrm>
        </p:grpSpPr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757B72C7-6234-41BF-85B8-910331B9D296}"/>
                </a:ext>
              </a:extLst>
            </p:cNvPr>
            <p:cNvSpPr/>
            <p:nvPr/>
          </p:nvSpPr>
          <p:spPr>
            <a:xfrm>
              <a:off x="489567" y="5743259"/>
              <a:ext cx="8381061" cy="33220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8B3096F2-51D8-4DB3-86DD-E376DF598CAF}"/>
                </a:ext>
              </a:extLst>
            </p:cNvPr>
            <p:cNvSpPr/>
            <p:nvPr/>
          </p:nvSpPr>
          <p:spPr>
            <a:xfrm>
              <a:off x="3770699" y="5800385"/>
              <a:ext cx="1818796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련 미디어 영상 더 보기 → </a:t>
              </a:r>
            </a:p>
          </p:txBody>
        </p:sp>
      </p:grp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BBAB8ED-8EC8-4444-A5EF-20F514532B70}"/>
              </a:ext>
            </a:extLst>
          </p:cNvPr>
          <p:cNvSpPr/>
          <p:nvPr/>
        </p:nvSpPr>
        <p:spPr>
          <a:xfrm>
            <a:off x="373311" y="1568604"/>
            <a:ext cx="1186185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디어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EE6E6003-E895-486B-89DB-B46A11F5D40C}"/>
              </a:ext>
            </a:extLst>
          </p:cNvPr>
          <p:cNvCxnSpPr>
            <a:cxnSpLocks/>
          </p:cNvCxnSpPr>
          <p:nvPr/>
        </p:nvCxnSpPr>
        <p:spPr>
          <a:xfrm>
            <a:off x="460873" y="1813529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29D6B9EB-5497-4790-AC4A-9DE2DA26B5CD}"/>
              </a:ext>
            </a:extLst>
          </p:cNvPr>
          <p:cNvGrpSpPr/>
          <p:nvPr/>
        </p:nvGrpSpPr>
        <p:grpSpPr>
          <a:xfrm>
            <a:off x="406883" y="3188469"/>
            <a:ext cx="2019650" cy="562421"/>
            <a:chOff x="766908" y="5312341"/>
            <a:chExt cx="2019650" cy="56242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353DA75D-8FB0-46EC-A458-892A0F6B973B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AA3EA96B-2360-411C-96F8-3A5D109F23DC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삼일회계법인   </a:t>
              </a: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30</a:t>
              </a:r>
            </a:p>
          </p:txBody>
        </p: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9F6C41B0-4B46-41F0-9EE4-3D5C4A8042BB}"/>
              </a:ext>
            </a:extLst>
          </p:cNvPr>
          <p:cNvGrpSpPr/>
          <p:nvPr/>
        </p:nvGrpSpPr>
        <p:grpSpPr>
          <a:xfrm>
            <a:off x="489567" y="1920435"/>
            <a:ext cx="1944000" cy="1189703"/>
            <a:chOff x="3925318" y="3675504"/>
            <a:chExt cx="1124954" cy="765997"/>
          </a:xfrm>
        </p:grpSpPr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8C4FE3F0-50C0-4FF2-BF54-337D4BE898FC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93" name="직선 연결선 92">
              <a:extLst>
                <a:ext uri="{FF2B5EF4-FFF2-40B4-BE49-F238E27FC236}">
                  <a16:creationId xmlns:a16="http://schemas.microsoft.com/office/drawing/2014/main" id="{39867336-F6F6-46BF-B8AD-9039107AFF50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직선 연결선 93">
              <a:extLst>
                <a:ext uri="{FF2B5EF4-FFF2-40B4-BE49-F238E27FC236}">
                  <a16:creationId xmlns:a16="http://schemas.microsoft.com/office/drawing/2014/main" id="{6FF23825-513C-4EA0-95E2-9ABB450A0F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17F53FE3-EC62-4C79-BA39-C8ECAE9A2CAD}"/>
              </a:ext>
            </a:extLst>
          </p:cNvPr>
          <p:cNvGrpSpPr/>
          <p:nvPr/>
        </p:nvGrpSpPr>
        <p:grpSpPr>
          <a:xfrm>
            <a:off x="475102" y="3850297"/>
            <a:ext cx="1795182" cy="389623"/>
            <a:chOff x="2640783" y="6163907"/>
            <a:chExt cx="1795182" cy="389623"/>
          </a:xfrm>
        </p:grpSpPr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23D8CFDF-68C0-4AAA-A809-08F9C7ED987C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B5EDF01A-4133-4EFC-8821-01DF2052433C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60135750-1534-4F24-85BB-9EF4F355F0BA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1A01C1ED-7081-4492-A4C0-6C48DB32D050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C7710E60-C81E-4EC6-9EC4-84005480360D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85D3624C-8A5B-4CC9-AB94-11CE69E75550}"/>
              </a:ext>
            </a:extLst>
          </p:cNvPr>
          <p:cNvGrpSpPr/>
          <p:nvPr/>
        </p:nvGrpSpPr>
        <p:grpSpPr>
          <a:xfrm>
            <a:off x="1323778" y="2356501"/>
            <a:ext cx="317115" cy="317115"/>
            <a:chOff x="1519093" y="5661249"/>
            <a:chExt cx="504056" cy="504056"/>
          </a:xfrm>
        </p:grpSpPr>
        <p:sp>
          <p:nvSpPr>
            <p:cNvPr id="103" name="타원 102">
              <a:extLst>
                <a:ext uri="{FF2B5EF4-FFF2-40B4-BE49-F238E27FC236}">
                  <a16:creationId xmlns:a16="http://schemas.microsoft.com/office/drawing/2014/main" id="{1DFFE19A-533E-4370-AE9B-15000A29388B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04" name="이등변 삼각형 103">
              <a:extLst>
                <a:ext uri="{FF2B5EF4-FFF2-40B4-BE49-F238E27FC236}">
                  <a16:creationId xmlns:a16="http://schemas.microsoft.com/office/drawing/2014/main" id="{A5B2A60C-183A-4436-B470-226B23C33E90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BFB8A081-A9F4-4A7D-B5B5-F2260AEF7942}"/>
              </a:ext>
            </a:extLst>
          </p:cNvPr>
          <p:cNvSpPr/>
          <p:nvPr/>
        </p:nvSpPr>
        <p:spPr>
          <a:xfrm>
            <a:off x="1524524" y="2898923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72F7A5AD-8E4C-4835-85A9-15622117C27D}"/>
              </a:ext>
            </a:extLst>
          </p:cNvPr>
          <p:cNvGrpSpPr/>
          <p:nvPr/>
        </p:nvGrpSpPr>
        <p:grpSpPr>
          <a:xfrm>
            <a:off x="2525105" y="3188469"/>
            <a:ext cx="2019650" cy="562421"/>
            <a:chOff x="766908" y="5312341"/>
            <a:chExt cx="2019650" cy="562421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B797394F-CBEC-4C81-B14D-5B4DA6855DF0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33CD9BCE-18E3-464C-BF25-F6DB196A50D4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대한상공회의소   </a:t>
              </a: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30</a:t>
              </a:r>
            </a:p>
          </p:txBody>
        </p:sp>
      </p:grp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719B73D3-81A4-4265-8094-BC569BD45A9C}"/>
              </a:ext>
            </a:extLst>
          </p:cNvPr>
          <p:cNvGrpSpPr/>
          <p:nvPr/>
        </p:nvGrpSpPr>
        <p:grpSpPr>
          <a:xfrm>
            <a:off x="2607789" y="1920435"/>
            <a:ext cx="1944000" cy="1189703"/>
            <a:chOff x="3925318" y="3675504"/>
            <a:chExt cx="1124954" cy="765997"/>
          </a:xfrm>
        </p:grpSpPr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89F3E32F-6311-4148-B60A-1F51FC497F65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11" name="직선 연결선 110">
              <a:extLst>
                <a:ext uri="{FF2B5EF4-FFF2-40B4-BE49-F238E27FC236}">
                  <a16:creationId xmlns:a16="http://schemas.microsoft.com/office/drawing/2014/main" id="{7DDAB808-1F0D-484A-BB6A-E284B665B1F3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직선 연결선 111">
              <a:extLst>
                <a:ext uri="{FF2B5EF4-FFF2-40B4-BE49-F238E27FC236}">
                  <a16:creationId xmlns:a16="http://schemas.microsoft.com/office/drawing/2014/main" id="{1DB3A3B8-BFA2-4F2E-A14D-852F383119E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C7DF1E8A-A589-4567-ACD2-C643491AA4EB}"/>
              </a:ext>
            </a:extLst>
          </p:cNvPr>
          <p:cNvGrpSpPr/>
          <p:nvPr/>
        </p:nvGrpSpPr>
        <p:grpSpPr>
          <a:xfrm>
            <a:off x="2593324" y="3850297"/>
            <a:ext cx="1795182" cy="389623"/>
            <a:chOff x="2640783" y="6163907"/>
            <a:chExt cx="1795182" cy="389623"/>
          </a:xfrm>
        </p:grpSpPr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756A39D6-9848-4A45-A9E0-0005BD5224A3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F1FEEDC6-EE23-4A95-BCD1-B2F9B28EB48A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58F12C6A-2CEC-48E8-8B71-BAF44FA0B746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60695342-36E3-4B29-B775-3274416C46C3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985F3F55-AC02-449A-94FA-2D11E1660722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9" name="그룹 118">
            <a:extLst>
              <a:ext uri="{FF2B5EF4-FFF2-40B4-BE49-F238E27FC236}">
                <a16:creationId xmlns:a16="http://schemas.microsoft.com/office/drawing/2014/main" id="{FD07DC84-F929-432A-8F73-36B36A38B854}"/>
              </a:ext>
            </a:extLst>
          </p:cNvPr>
          <p:cNvGrpSpPr/>
          <p:nvPr/>
        </p:nvGrpSpPr>
        <p:grpSpPr>
          <a:xfrm>
            <a:off x="3442000" y="2356501"/>
            <a:ext cx="317115" cy="317115"/>
            <a:chOff x="1519093" y="5661249"/>
            <a:chExt cx="504056" cy="504056"/>
          </a:xfrm>
        </p:grpSpPr>
        <p:sp>
          <p:nvSpPr>
            <p:cNvPr id="120" name="타원 119">
              <a:extLst>
                <a:ext uri="{FF2B5EF4-FFF2-40B4-BE49-F238E27FC236}">
                  <a16:creationId xmlns:a16="http://schemas.microsoft.com/office/drawing/2014/main" id="{DE939B55-C27B-49A3-827F-4C1984CC9C5E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21" name="이등변 삼각형 120">
              <a:extLst>
                <a:ext uri="{FF2B5EF4-FFF2-40B4-BE49-F238E27FC236}">
                  <a16:creationId xmlns:a16="http://schemas.microsoft.com/office/drawing/2014/main" id="{A822E455-5AC5-4B67-A2EF-C2F00482685F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F891DE43-BFD9-4E2C-A3C4-9BFC231B66F7}"/>
              </a:ext>
            </a:extLst>
          </p:cNvPr>
          <p:cNvSpPr/>
          <p:nvPr/>
        </p:nvSpPr>
        <p:spPr>
          <a:xfrm>
            <a:off x="3642746" y="2898923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0DDDC1D0-CED4-482F-941C-35FA8A33732A}"/>
              </a:ext>
            </a:extLst>
          </p:cNvPr>
          <p:cNvGrpSpPr/>
          <p:nvPr/>
        </p:nvGrpSpPr>
        <p:grpSpPr>
          <a:xfrm>
            <a:off x="4650817" y="3188469"/>
            <a:ext cx="2019650" cy="562421"/>
            <a:chOff x="766908" y="5312341"/>
            <a:chExt cx="2019650" cy="562421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3A1808B1-6F11-4199-B24D-9EDA5CF27933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63D0361F-F297-400C-BC72-3AD102AF0F2C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한국생산성본부    </a:t>
              </a: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2023.06.30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2D55FCE5-0F4C-4CA8-9750-D4E7EC63B767}"/>
              </a:ext>
            </a:extLst>
          </p:cNvPr>
          <p:cNvGrpSpPr/>
          <p:nvPr/>
        </p:nvGrpSpPr>
        <p:grpSpPr>
          <a:xfrm>
            <a:off x="4733501" y="1920435"/>
            <a:ext cx="1944000" cy="1189703"/>
            <a:chOff x="3925318" y="3675504"/>
            <a:chExt cx="1124954" cy="765997"/>
          </a:xfrm>
        </p:grpSpPr>
        <p:sp>
          <p:nvSpPr>
            <p:cNvPr id="127" name="사각형: 둥근 모서리 126">
              <a:extLst>
                <a:ext uri="{FF2B5EF4-FFF2-40B4-BE49-F238E27FC236}">
                  <a16:creationId xmlns:a16="http://schemas.microsoft.com/office/drawing/2014/main" id="{CE9A6D6E-6446-491E-BE7E-A90FCC69B5DC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28" name="직선 연결선 127">
              <a:extLst>
                <a:ext uri="{FF2B5EF4-FFF2-40B4-BE49-F238E27FC236}">
                  <a16:creationId xmlns:a16="http://schemas.microsoft.com/office/drawing/2014/main" id="{5286195F-F0A8-42FC-8808-A943A4CCA456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직선 연결선 128">
              <a:extLst>
                <a:ext uri="{FF2B5EF4-FFF2-40B4-BE49-F238E27FC236}">
                  <a16:creationId xmlns:a16="http://schemas.microsoft.com/office/drawing/2014/main" id="{04B4CED3-5F4E-42CF-85B4-B6295FF74B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6FB580CA-9D90-44A3-96E7-11B8735633EA}"/>
              </a:ext>
            </a:extLst>
          </p:cNvPr>
          <p:cNvGrpSpPr/>
          <p:nvPr/>
        </p:nvGrpSpPr>
        <p:grpSpPr>
          <a:xfrm>
            <a:off x="4719036" y="3850297"/>
            <a:ext cx="1795182" cy="389623"/>
            <a:chOff x="2640783" y="6163907"/>
            <a:chExt cx="1795182" cy="389623"/>
          </a:xfrm>
        </p:grpSpPr>
        <p:grpSp>
          <p:nvGrpSpPr>
            <p:cNvPr id="131" name="그룹 130">
              <a:extLst>
                <a:ext uri="{FF2B5EF4-FFF2-40B4-BE49-F238E27FC236}">
                  <a16:creationId xmlns:a16="http://schemas.microsoft.com/office/drawing/2014/main" id="{F2B63355-CF0D-47BA-8FE0-7F3ADC412405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BA907C5-6401-45B5-8A05-E9DC9BE39AE9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C22E1016-62B7-4369-9F77-951DA2B705D1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53339066-5852-42FE-815A-497512A1C4E6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1991CF21-34A0-4661-BC5D-55247EC3EDB4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36" name="그룹 135">
            <a:extLst>
              <a:ext uri="{FF2B5EF4-FFF2-40B4-BE49-F238E27FC236}">
                <a16:creationId xmlns:a16="http://schemas.microsoft.com/office/drawing/2014/main" id="{B36350F2-79A3-4054-A2FF-9DDD9C3EB5BE}"/>
              </a:ext>
            </a:extLst>
          </p:cNvPr>
          <p:cNvGrpSpPr/>
          <p:nvPr/>
        </p:nvGrpSpPr>
        <p:grpSpPr>
          <a:xfrm>
            <a:off x="5567712" y="2356501"/>
            <a:ext cx="317115" cy="317115"/>
            <a:chOff x="1519093" y="5661249"/>
            <a:chExt cx="504056" cy="504056"/>
          </a:xfrm>
        </p:grpSpPr>
        <p:sp>
          <p:nvSpPr>
            <p:cNvPr id="137" name="타원 136">
              <a:extLst>
                <a:ext uri="{FF2B5EF4-FFF2-40B4-BE49-F238E27FC236}">
                  <a16:creationId xmlns:a16="http://schemas.microsoft.com/office/drawing/2014/main" id="{24A388B1-D395-4FBE-B374-7FDDE553D929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40" name="이등변 삼각형 139">
              <a:extLst>
                <a:ext uri="{FF2B5EF4-FFF2-40B4-BE49-F238E27FC236}">
                  <a16:creationId xmlns:a16="http://schemas.microsoft.com/office/drawing/2014/main" id="{0738F241-09F0-4A47-9231-8D5F7EA31E5C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F4351F48-B806-4426-BEAE-E36C76FA543E}"/>
              </a:ext>
            </a:extLst>
          </p:cNvPr>
          <p:cNvSpPr/>
          <p:nvPr/>
        </p:nvSpPr>
        <p:spPr>
          <a:xfrm>
            <a:off x="5768458" y="2898923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AC7D1FD2-9D57-4039-9F45-9FA884887E2E}"/>
              </a:ext>
            </a:extLst>
          </p:cNvPr>
          <p:cNvGrpSpPr/>
          <p:nvPr/>
        </p:nvGrpSpPr>
        <p:grpSpPr>
          <a:xfrm>
            <a:off x="6776757" y="3197694"/>
            <a:ext cx="2019650" cy="562421"/>
            <a:chOff x="766908" y="5312341"/>
            <a:chExt cx="2019650" cy="562421"/>
          </a:xfrm>
        </p:grpSpPr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EC0CAF4D-5670-4EA6-A53F-C7B08EB3D4A5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44" name="직사각형 143">
              <a:extLst>
                <a:ext uri="{FF2B5EF4-FFF2-40B4-BE49-F238E27FC236}">
                  <a16:creationId xmlns:a16="http://schemas.microsoft.com/office/drawing/2014/main" id="{AC14060F-9BDE-4231-A1B4-1D576B45190B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ko-KR" altLang="en-US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삼일회계법인    </a:t>
              </a: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|     2023.06.30</a:t>
              </a:r>
            </a:p>
          </p:txBody>
        </p:sp>
      </p:grpSp>
      <p:grpSp>
        <p:nvGrpSpPr>
          <p:cNvPr id="145" name="그룹 144">
            <a:extLst>
              <a:ext uri="{FF2B5EF4-FFF2-40B4-BE49-F238E27FC236}">
                <a16:creationId xmlns:a16="http://schemas.microsoft.com/office/drawing/2014/main" id="{15FA712A-7CAC-4299-BEBF-F0FE5A1F9FED}"/>
              </a:ext>
            </a:extLst>
          </p:cNvPr>
          <p:cNvGrpSpPr/>
          <p:nvPr/>
        </p:nvGrpSpPr>
        <p:grpSpPr>
          <a:xfrm>
            <a:off x="6859441" y="1929660"/>
            <a:ext cx="1944000" cy="1189703"/>
            <a:chOff x="3925318" y="3675504"/>
            <a:chExt cx="1124954" cy="765997"/>
          </a:xfrm>
        </p:grpSpPr>
        <p:sp>
          <p:nvSpPr>
            <p:cNvPr id="146" name="사각형: 둥근 모서리 145">
              <a:extLst>
                <a:ext uri="{FF2B5EF4-FFF2-40B4-BE49-F238E27FC236}">
                  <a16:creationId xmlns:a16="http://schemas.microsoft.com/office/drawing/2014/main" id="{0E49F954-792C-41A9-A91B-F7279B2429B6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47" name="직선 연결선 146">
              <a:extLst>
                <a:ext uri="{FF2B5EF4-FFF2-40B4-BE49-F238E27FC236}">
                  <a16:creationId xmlns:a16="http://schemas.microsoft.com/office/drawing/2014/main" id="{ABC25EDA-26EA-49B9-9799-C94B29CDEE39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직선 연결선 147">
              <a:extLst>
                <a:ext uri="{FF2B5EF4-FFF2-40B4-BE49-F238E27FC236}">
                  <a16:creationId xmlns:a16="http://schemas.microsoft.com/office/drawing/2014/main" id="{B93101C6-4E40-4B8D-BF07-BB74A53B25B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그룹 148">
            <a:extLst>
              <a:ext uri="{FF2B5EF4-FFF2-40B4-BE49-F238E27FC236}">
                <a16:creationId xmlns:a16="http://schemas.microsoft.com/office/drawing/2014/main" id="{0AAA6372-314C-4D92-B5C6-A80CDF05DE93}"/>
              </a:ext>
            </a:extLst>
          </p:cNvPr>
          <p:cNvGrpSpPr/>
          <p:nvPr/>
        </p:nvGrpSpPr>
        <p:grpSpPr>
          <a:xfrm>
            <a:off x="6844976" y="3859522"/>
            <a:ext cx="1795182" cy="389623"/>
            <a:chOff x="2640783" y="6163907"/>
            <a:chExt cx="1795182" cy="389623"/>
          </a:xfrm>
        </p:grpSpPr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0CE490DA-C773-458F-A6F2-3890B330765C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3D318C49-B219-414E-A561-9702BFA64F62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3" name="직사각형 152">
                <a:extLst>
                  <a:ext uri="{FF2B5EF4-FFF2-40B4-BE49-F238E27FC236}">
                    <a16:creationId xmlns:a16="http://schemas.microsoft.com/office/drawing/2014/main" id="{9E9F8762-A902-438A-9C5B-17C334BD8F7A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4" name="직사각형 153">
                <a:extLst>
                  <a:ext uri="{FF2B5EF4-FFF2-40B4-BE49-F238E27FC236}">
                    <a16:creationId xmlns:a16="http://schemas.microsoft.com/office/drawing/2014/main" id="{3197D280-CDA6-4085-9156-5214C6885F1E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51" name="직사각형 150">
              <a:extLst>
                <a:ext uri="{FF2B5EF4-FFF2-40B4-BE49-F238E27FC236}">
                  <a16:creationId xmlns:a16="http://schemas.microsoft.com/office/drawing/2014/main" id="{C0B45F87-6C0B-4892-89B3-A1FE55F59861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55" name="그룹 154">
            <a:extLst>
              <a:ext uri="{FF2B5EF4-FFF2-40B4-BE49-F238E27FC236}">
                <a16:creationId xmlns:a16="http://schemas.microsoft.com/office/drawing/2014/main" id="{DC43D1F0-BBF5-4DEC-832C-EC985501760B}"/>
              </a:ext>
            </a:extLst>
          </p:cNvPr>
          <p:cNvGrpSpPr/>
          <p:nvPr/>
        </p:nvGrpSpPr>
        <p:grpSpPr>
          <a:xfrm>
            <a:off x="7693652" y="2365726"/>
            <a:ext cx="317115" cy="317115"/>
            <a:chOff x="1519093" y="5661249"/>
            <a:chExt cx="504056" cy="504056"/>
          </a:xfrm>
        </p:grpSpPr>
        <p:sp>
          <p:nvSpPr>
            <p:cNvPr id="156" name="타원 155">
              <a:extLst>
                <a:ext uri="{FF2B5EF4-FFF2-40B4-BE49-F238E27FC236}">
                  <a16:creationId xmlns:a16="http://schemas.microsoft.com/office/drawing/2014/main" id="{E9661116-B6B9-4426-8E31-BC31D97713F5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7" name="이등변 삼각형 156">
              <a:extLst>
                <a:ext uri="{FF2B5EF4-FFF2-40B4-BE49-F238E27FC236}">
                  <a16:creationId xmlns:a16="http://schemas.microsoft.com/office/drawing/2014/main" id="{9A1A3C9F-8D09-449B-BC7F-66BF09AF4136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07C76605-F0E7-4A63-9AB1-F375D04F9470}"/>
              </a:ext>
            </a:extLst>
          </p:cNvPr>
          <p:cNvSpPr/>
          <p:nvPr/>
        </p:nvSpPr>
        <p:spPr>
          <a:xfrm>
            <a:off x="7894398" y="2908148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aphicFrame>
        <p:nvGraphicFramePr>
          <p:cNvPr id="138" name="표 10">
            <a:extLst>
              <a:ext uri="{FF2B5EF4-FFF2-40B4-BE49-F238E27FC236}">
                <a16:creationId xmlns:a16="http://schemas.microsoft.com/office/drawing/2014/main" id="{B4AB673A-747D-405C-A784-3D307F8A4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106734"/>
              </p:ext>
            </p:extLst>
          </p:nvPr>
        </p:nvGraphicFramePr>
        <p:xfrm>
          <a:off x="9276656" y="750765"/>
          <a:ext cx="2922885" cy="2514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057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미디어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영상 리스트는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확도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더보기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탭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3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썸네일 이미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분량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②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③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처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④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⑤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159" name="사각형: 둥근 모서리 158">
            <a:extLst>
              <a:ext uri="{FF2B5EF4-FFF2-40B4-BE49-F238E27FC236}">
                <a16:creationId xmlns:a16="http://schemas.microsoft.com/office/drawing/2014/main" id="{F5058DF7-3F70-4CF8-ACED-FE7F78A03BA9}"/>
              </a:ext>
            </a:extLst>
          </p:cNvPr>
          <p:cNvSpPr/>
          <p:nvPr/>
        </p:nvSpPr>
        <p:spPr>
          <a:xfrm>
            <a:off x="222018" y="154768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62" name="직선 연결선 161">
            <a:extLst>
              <a:ext uri="{FF2B5EF4-FFF2-40B4-BE49-F238E27FC236}">
                <a16:creationId xmlns:a16="http://schemas.microsoft.com/office/drawing/2014/main" id="{B2F2DB8D-D8BB-4449-B627-40443C3DBCD0}"/>
              </a:ext>
            </a:extLst>
          </p:cNvPr>
          <p:cNvCxnSpPr>
            <a:cxnSpLocks/>
          </p:cNvCxnSpPr>
          <p:nvPr/>
        </p:nvCxnSpPr>
        <p:spPr>
          <a:xfrm>
            <a:off x="320755" y="1492703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 162">
            <a:extLst>
              <a:ext uri="{FF2B5EF4-FFF2-40B4-BE49-F238E27FC236}">
                <a16:creationId xmlns:a16="http://schemas.microsoft.com/office/drawing/2014/main" id="{ECEA6D51-E239-43F7-9077-40FC7B0E167B}"/>
              </a:ext>
            </a:extLst>
          </p:cNvPr>
          <p:cNvCxnSpPr>
            <a:cxnSpLocks/>
          </p:cNvCxnSpPr>
          <p:nvPr/>
        </p:nvCxnSpPr>
        <p:spPr>
          <a:xfrm flipV="1">
            <a:off x="410755" y="1484784"/>
            <a:ext cx="0" cy="345638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직선 연결선 163">
            <a:extLst>
              <a:ext uri="{FF2B5EF4-FFF2-40B4-BE49-F238E27FC236}">
                <a16:creationId xmlns:a16="http://schemas.microsoft.com/office/drawing/2014/main" id="{623E064D-6664-45CB-B4FC-55B4BE22F760}"/>
              </a:ext>
            </a:extLst>
          </p:cNvPr>
          <p:cNvCxnSpPr>
            <a:cxnSpLocks/>
          </p:cNvCxnSpPr>
          <p:nvPr/>
        </p:nvCxnSpPr>
        <p:spPr>
          <a:xfrm>
            <a:off x="313812" y="4941168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8E0AAFA7-8F7B-40FB-BA0E-8E061C166071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09273419-C830-4A44-85BA-2B8B55016D9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66" name="그림 165">
              <a:extLst>
                <a:ext uri="{FF2B5EF4-FFF2-40B4-BE49-F238E27FC236}">
                  <a16:creationId xmlns:a16="http://schemas.microsoft.com/office/drawing/2014/main" id="{C6C1A484-CFF9-414E-9F2A-B27D820CDF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E2A0B46A-ACCD-4766-AB89-A5AE3359EB46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69" name="그림 168">
              <a:extLst>
                <a:ext uri="{FF2B5EF4-FFF2-40B4-BE49-F238E27FC236}">
                  <a16:creationId xmlns:a16="http://schemas.microsoft.com/office/drawing/2014/main" id="{58361647-809A-413F-BC79-6E31236492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25E80FC3-FFE1-4DCC-BC1F-46E8A999427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6864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680" y="5439324"/>
            <a:ext cx="1126800" cy="854677"/>
          </a:xfrm>
          <a:prstGeom prst="rect">
            <a:avLst/>
          </a:prstGeom>
        </p:spPr>
      </p:pic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604506"/>
              </p:ext>
            </p:extLst>
          </p:nvPr>
        </p:nvGraphicFramePr>
        <p:xfrm>
          <a:off x="335360" y="822058"/>
          <a:ext cx="11673125" cy="34847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4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23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55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전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브래드크럼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삭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887283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전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헤더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자인 현행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80859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106</a:t>
                      </a:r>
                    </a:p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020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아이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 찾기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7p),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재설정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3p) Title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222632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3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3 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결과 화면 디자인 수정 요청 시트 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85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323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3-R004</a:t>
                      </a:r>
                    </a:p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008-R0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공시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서별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프레임워크 디자인 현행화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38p, 143p, 165p, 172p,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76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445499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4-P015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화면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NB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90-106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730284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001- O006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∙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 코멘트 영역 기능 정의 구체화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02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652106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3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별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경영 현황 영역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이행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운영 밑의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활동을 하나로 변경</a:t>
                      </a:r>
                    </a:p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KPI∙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리지표 측정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니터링 시스템 구축 외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시스템 구축 및 운영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(83p)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665256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1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006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료실 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에서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 → 공표일로 </a:t>
                      </a:r>
                      <a:r>
                        <a:rPr lang="ko-KR" altLang="en-US" sz="800" b="0" kern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워딩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순서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테이블</a:t>
                      </a: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에 모두 반영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8963"/>
                  </a:ext>
                </a:extLst>
              </a:tr>
              <a:tr h="226316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1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V008</a:t>
                      </a:r>
                      <a:endParaRPr lang="ko-KR" altLang="en-US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800" b="0" kern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메일 전송 대기 팝업 추가 </a:t>
                      </a:r>
                      <a:r>
                        <a:rPr lang="en-US" altLang="ko-KR" sz="800" b="0" kern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37P)</a:t>
                      </a:r>
                      <a:endParaRPr lang="en-US" altLang="ko-KR" sz="800" b="0" kern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.4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824027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CE05AF6-C1BF-471B-B26C-92D92AA62851}"/>
              </a:ext>
            </a:extLst>
          </p:cNvPr>
          <p:cNvSpPr/>
          <p:nvPr/>
        </p:nvSpPr>
        <p:spPr>
          <a:xfrm>
            <a:off x="6600056" y="4329100"/>
            <a:ext cx="936104" cy="21602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9506168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7378079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컨텐츠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컨텐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웹사이트 게시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4397326-A104-4860-A6DA-FE6D8AD12230}"/>
              </a:ext>
            </a:extLst>
          </p:cNvPr>
          <p:cNvSpPr/>
          <p:nvPr/>
        </p:nvSpPr>
        <p:spPr>
          <a:xfrm>
            <a:off x="373310" y="3033912"/>
            <a:ext cx="1402210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 컨텐츠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DE84D0C9-0755-4486-AECC-689BC304EABF}"/>
              </a:ext>
            </a:extLst>
          </p:cNvPr>
          <p:cNvGrpSpPr/>
          <p:nvPr/>
        </p:nvGrpSpPr>
        <p:grpSpPr>
          <a:xfrm>
            <a:off x="493812" y="3392387"/>
            <a:ext cx="8381061" cy="782876"/>
            <a:chOff x="472558" y="3489210"/>
            <a:chExt cx="8381061" cy="782876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BD94E2F7-B2BE-4183-87E9-6EC6E35E2C89}"/>
                </a:ext>
              </a:extLst>
            </p:cNvPr>
            <p:cNvSpPr/>
            <p:nvPr/>
          </p:nvSpPr>
          <p:spPr>
            <a:xfrm>
              <a:off x="472558" y="3489210"/>
              <a:ext cx="775879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계획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EE4A4B91-EA72-4237-ABCE-9B1F5F26304C}"/>
                </a:ext>
              </a:extLst>
            </p:cNvPr>
            <p:cNvSpPr/>
            <p:nvPr/>
          </p:nvSpPr>
          <p:spPr>
            <a:xfrm>
              <a:off x="472558" y="3675504"/>
              <a:ext cx="2286144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경영가이드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과제 이행</a:t>
              </a:r>
            </a:p>
          </p:txBody>
        </p:sp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E808140E-36B5-4CB0-B3C5-2A7090459C86}"/>
                </a:ext>
              </a:extLst>
            </p:cNvPr>
            <p:cNvSpPr/>
            <p:nvPr/>
          </p:nvSpPr>
          <p:spPr>
            <a:xfrm>
              <a:off x="472558" y="3883000"/>
              <a:ext cx="8381061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측정 및 개선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가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목표관리제 및 온실가스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권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거래제 대응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보고 경계와 측정 범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의 설정 및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량 측정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1&amp;2), Scope 3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스크리닝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및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배출량 측정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scope3)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BAB1667-354D-46C1-9EE4-9D7820D1A2B7}"/>
              </a:ext>
            </a:extLst>
          </p:cNvPr>
          <p:cNvGrpSpPr/>
          <p:nvPr/>
        </p:nvGrpSpPr>
        <p:grpSpPr>
          <a:xfrm>
            <a:off x="493812" y="4339272"/>
            <a:ext cx="8381062" cy="645638"/>
            <a:chOff x="460273" y="4411823"/>
            <a:chExt cx="8381062" cy="645638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6CDD75BF-68EB-4FD9-AE86-5DD955374D7D}"/>
                </a:ext>
              </a:extLst>
            </p:cNvPr>
            <p:cNvSpPr/>
            <p:nvPr/>
          </p:nvSpPr>
          <p:spPr>
            <a:xfrm>
              <a:off x="460273" y="4411823"/>
              <a:ext cx="777600" cy="151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2FCC6BE9-6F7B-4016-AA53-225921FB55E9}"/>
                </a:ext>
              </a:extLst>
            </p:cNvPr>
            <p:cNvSpPr/>
            <p:nvPr/>
          </p:nvSpPr>
          <p:spPr>
            <a:xfrm>
              <a:off x="460274" y="4575524"/>
              <a:ext cx="2286145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nvironment(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 -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1F4830-E5C5-4E8A-B8D5-925DA75FBF02}"/>
                </a:ext>
              </a:extLst>
            </p:cNvPr>
            <p:cNvSpPr/>
            <p:nvPr/>
          </p:nvSpPr>
          <p:spPr>
            <a:xfrm>
              <a:off x="460274" y="4791625"/>
              <a:ext cx="8381061" cy="26583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>
                <a:lnSpc>
                  <a:spcPct val="120000"/>
                </a:lnSpc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잠정 합의안에 따르면 시범 기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23.10.01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5.12.31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는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U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로 수입되는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BAM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상 제품의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Greenhouse Gas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하 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GHG”)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자국에 대해 분기별 보고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 및 간접 배출 포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를 수행하며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2026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년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월부터는 수입자가 수입 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BAM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서 구매 후 해당 내역을 당국에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신고해야합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2B87FE11-3DCE-47E7-924B-F00A37406EFC}"/>
              </a:ext>
            </a:extLst>
          </p:cNvPr>
          <p:cNvGrpSpPr/>
          <p:nvPr/>
        </p:nvGrpSpPr>
        <p:grpSpPr>
          <a:xfrm>
            <a:off x="493812" y="5206537"/>
            <a:ext cx="8391630" cy="600627"/>
            <a:chOff x="483301" y="4226123"/>
            <a:chExt cx="8391630" cy="600627"/>
          </a:xfrm>
        </p:grpSpPr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B3C11F5D-56E6-47B7-AB93-6C312AD7B221}"/>
                </a:ext>
              </a:extLst>
            </p:cNvPr>
            <p:cNvSpPr/>
            <p:nvPr/>
          </p:nvSpPr>
          <p:spPr>
            <a:xfrm>
              <a:off x="491929" y="4226123"/>
              <a:ext cx="1057047" cy="151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864" rIns="0" rtlCol="0" anchor="ctr" anchorCtr="0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평가〮인증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87081164-A286-448A-8E3D-C9598A799E43}"/>
                </a:ext>
              </a:extLst>
            </p:cNvPr>
            <p:cNvSpPr/>
            <p:nvPr/>
          </p:nvSpPr>
          <p:spPr>
            <a:xfrm>
              <a:off x="483301" y="4406431"/>
              <a:ext cx="247837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ESG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 개요</a:t>
              </a:r>
            </a:p>
          </p:txBody>
        </p: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A8D29FA7-028F-4D43-9CF5-D7C233986BA4}"/>
                </a:ext>
              </a:extLst>
            </p:cNvPr>
            <p:cNvSpPr/>
            <p:nvPr/>
          </p:nvSpPr>
          <p:spPr>
            <a:xfrm>
              <a:off x="493870" y="4621809"/>
              <a:ext cx="8381061" cy="20494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l" latinLnBrk="0">
                <a:lnSpc>
                  <a:spcPct val="120000"/>
                </a:lnSpc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CDP 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업의 환경 지속가능성을 측정하여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배출 등급을 평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-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매년 수천개의 기업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도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지역을 지원하여 기후 변화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물 안보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및 산림에 대한 위험과 기회를 측정</a:t>
              </a:r>
            </a:p>
          </p:txBody>
        </p:sp>
      </p:grp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F7C29918-76C2-4DCA-87C9-07EFCD042DC0}"/>
              </a:ext>
            </a:extLst>
          </p:cNvPr>
          <p:cNvCxnSpPr>
            <a:cxnSpLocks/>
          </p:cNvCxnSpPr>
          <p:nvPr/>
        </p:nvCxnSpPr>
        <p:spPr>
          <a:xfrm>
            <a:off x="460873" y="3278837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연결선 139">
            <a:extLst>
              <a:ext uri="{FF2B5EF4-FFF2-40B4-BE49-F238E27FC236}">
                <a16:creationId xmlns:a16="http://schemas.microsoft.com/office/drawing/2014/main" id="{79DC8F4E-7971-4934-8364-8B57D7F0EA7D}"/>
              </a:ext>
            </a:extLst>
          </p:cNvPr>
          <p:cNvCxnSpPr>
            <a:cxnSpLocks/>
          </p:cNvCxnSpPr>
          <p:nvPr/>
        </p:nvCxnSpPr>
        <p:spPr>
          <a:xfrm>
            <a:off x="489567" y="4234373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연결선 140">
            <a:extLst>
              <a:ext uri="{FF2B5EF4-FFF2-40B4-BE49-F238E27FC236}">
                <a16:creationId xmlns:a16="http://schemas.microsoft.com/office/drawing/2014/main" id="{532A1990-4B86-42A5-87B4-33E4302136CF}"/>
              </a:ext>
            </a:extLst>
          </p:cNvPr>
          <p:cNvCxnSpPr>
            <a:cxnSpLocks/>
          </p:cNvCxnSpPr>
          <p:nvPr/>
        </p:nvCxnSpPr>
        <p:spPr>
          <a:xfrm>
            <a:off x="493813" y="5098469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FD150F7B-236A-49E7-8548-5563F963C4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202308"/>
              </p:ext>
            </p:extLst>
          </p:nvPr>
        </p:nvGraphicFramePr>
        <p:xfrm>
          <a:off x="3565883" y="6055152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4" name="직사각형 53">
            <a:extLst>
              <a:ext uri="{FF2B5EF4-FFF2-40B4-BE49-F238E27FC236}">
                <a16:creationId xmlns:a16="http://schemas.microsoft.com/office/drawing/2014/main" id="{D80B7F43-A981-4BE7-9D03-BC0F3058AC73}"/>
              </a:ext>
            </a:extLst>
          </p:cNvPr>
          <p:cNvSpPr/>
          <p:nvPr/>
        </p:nvSpPr>
        <p:spPr>
          <a:xfrm>
            <a:off x="2999656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8477D90C-8A08-4B30-8D24-97272853CA6E}"/>
              </a:ext>
            </a:extLst>
          </p:cNvPr>
          <p:cNvSpPr/>
          <p:nvPr/>
        </p:nvSpPr>
        <p:spPr>
          <a:xfrm flipV="1">
            <a:off x="6164701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E561A116-B3DA-4F24-8A18-4F271FBECC41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0620E6B1-0BC5-4E53-BF04-3AF93C834FDF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90DCCEA5-A45E-49DB-8310-EE0E2578F9D6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21FC83DB-B1DE-411D-A7DE-491667C3A8C4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E7B61350-DE0D-4383-8262-A9CD78041560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90" name="타원 89">
                <a:extLst>
                  <a:ext uri="{FF2B5EF4-FFF2-40B4-BE49-F238E27FC236}">
                    <a16:creationId xmlns:a16="http://schemas.microsoft.com/office/drawing/2014/main" id="{ADB5E903-FC48-44C5-AA43-27DBD9181EDF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D614B367-6729-4273-B00D-722BB91CC065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81" name="사각형: 둥근 모서리 80">
              <a:extLst>
                <a:ext uri="{FF2B5EF4-FFF2-40B4-BE49-F238E27FC236}">
                  <a16:creationId xmlns:a16="http://schemas.microsoft.com/office/drawing/2014/main" id="{39F56608-8EAA-465C-A8A5-0EC7D5D14BA4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AC2CF052-BC44-4669-B52B-A08258C66596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3" name="사각형: 둥근 모서리 82">
              <a:extLst>
                <a:ext uri="{FF2B5EF4-FFF2-40B4-BE49-F238E27FC236}">
                  <a16:creationId xmlns:a16="http://schemas.microsoft.com/office/drawing/2014/main" id="{B485E7BB-E7D0-4600-9271-1EE8AB00E30D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4" name="사각형: 둥근 모서리 83">
              <a:extLst>
                <a:ext uri="{FF2B5EF4-FFF2-40B4-BE49-F238E27FC236}">
                  <a16:creationId xmlns:a16="http://schemas.microsoft.com/office/drawing/2014/main" id="{8D84FFEE-CE71-4EF4-898F-ECDE67FF8598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99A793EA-57E7-444F-9744-ED84111D3C56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A239E9F3-708C-459C-BBBD-DBB9F61D3CBF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358F16A3-052F-4514-884D-3F8648524A88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5F82BF9C-C2D9-4632-9603-32ECC257919F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89" name="이등변 삼각형 88">
                <a:extLst>
                  <a:ext uri="{FF2B5EF4-FFF2-40B4-BE49-F238E27FC236}">
                    <a16:creationId xmlns:a16="http://schemas.microsoft.com/office/drawing/2014/main" id="{DD515466-3C37-4C71-80D5-C79A5964C9F3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523E197-01AE-445C-97B9-B65C1E6B3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357816"/>
              </p:ext>
            </p:extLst>
          </p:nvPr>
        </p:nvGraphicFramePr>
        <p:xfrm>
          <a:off x="9275307" y="765138"/>
          <a:ext cx="2915868" cy="21670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  <a:gridCol w="2530085">
                  <a:extLst>
                    <a:ext uri="{9D8B030D-6E8A-4147-A177-3AD203B41FA5}">
                      <a16:colId xmlns:a16="http://schemas.microsoft.com/office/drawing/2014/main" val="493310492"/>
                    </a:ext>
                  </a:extLst>
                </a:gridCol>
              </a:tblGrid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 컨텐츠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  <a:tr h="8333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렬기능 제공하지 않으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확도순 고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Lv1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ESG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〮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〮평가〮인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②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③ 검색어 키워드 볼드 처리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본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06683"/>
                  </a:ext>
                </a:extLst>
              </a:tr>
            </a:tbl>
          </a:graphicData>
        </a:graphic>
      </p:graphicFrame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1B5CF428-613D-422E-AC12-FF2E5BEEC189}"/>
              </a:ext>
            </a:extLst>
          </p:cNvPr>
          <p:cNvSpPr/>
          <p:nvPr/>
        </p:nvSpPr>
        <p:spPr>
          <a:xfrm>
            <a:off x="222018" y="30495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04763694-6263-48CD-8869-A79C11516DD9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B4C9928D-A99E-442D-8162-E675F83F3BAF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,234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7A907D59-D359-4CFD-B282-57F410839919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7" name="사각형: 둥근 모서리 46">
              <a:extLst>
                <a:ext uri="{FF2B5EF4-FFF2-40B4-BE49-F238E27FC236}">
                  <a16:creationId xmlns:a16="http://schemas.microsoft.com/office/drawing/2014/main" id="{643E85F0-6826-403C-8C76-7B036FDCAF66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24CBD47A-2AD7-4CB4-9985-AC5DA1F5BF53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0" name="사각형: 둥근 모서리 49">
              <a:extLst>
                <a:ext uri="{FF2B5EF4-FFF2-40B4-BE49-F238E27FC236}">
                  <a16:creationId xmlns:a16="http://schemas.microsoft.com/office/drawing/2014/main" id="{0BDB56BF-8C55-4CE5-8F4A-4C93CAA3EB1A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60" name="직선 연결선 59">
            <a:extLst>
              <a:ext uri="{FF2B5EF4-FFF2-40B4-BE49-F238E27FC236}">
                <a16:creationId xmlns:a16="http://schemas.microsoft.com/office/drawing/2014/main" id="{80E32298-3CF6-48B7-A126-6488CFDC69D9}"/>
              </a:ext>
            </a:extLst>
          </p:cNvPr>
          <p:cNvCxnSpPr>
            <a:cxnSpLocks/>
          </p:cNvCxnSpPr>
          <p:nvPr/>
        </p:nvCxnSpPr>
        <p:spPr>
          <a:xfrm>
            <a:off x="320755" y="2994575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F8A4ADA2-0519-47C0-9B8D-D8C64D8E4A8B}"/>
              </a:ext>
            </a:extLst>
          </p:cNvPr>
          <p:cNvCxnSpPr>
            <a:cxnSpLocks/>
          </p:cNvCxnSpPr>
          <p:nvPr/>
        </p:nvCxnSpPr>
        <p:spPr>
          <a:xfrm flipV="1">
            <a:off x="402083" y="2994575"/>
            <a:ext cx="0" cy="331474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>
            <a:extLst>
              <a:ext uri="{FF2B5EF4-FFF2-40B4-BE49-F238E27FC236}">
                <a16:creationId xmlns:a16="http://schemas.microsoft.com/office/drawing/2014/main" id="{D1707779-C4BB-4611-A458-B792A8307EC7}"/>
              </a:ext>
            </a:extLst>
          </p:cNvPr>
          <p:cNvCxnSpPr>
            <a:cxnSpLocks/>
          </p:cNvCxnSpPr>
          <p:nvPr/>
        </p:nvCxnSpPr>
        <p:spPr>
          <a:xfrm>
            <a:off x="313812" y="6309320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8468CB98-1CDE-41EF-A291-3E73BC89471D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89FC349F-0D3A-483C-938C-5A961F03685F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6" name="그림 65">
              <a:extLst>
                <a:ext uri="{FF2B5EF4-FFF2-40B4-BE49-F238E27FC236}">
                  <a16:creationId xmlns:a16="http://schemas.microsoft.com/office/drawing/2014/main" id="{DA75628D-E763-46B4-953E-3347CBB9F8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067A75D8-FF39-4756-A4D5-CC0A2BA4D7BD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69" name="그림 68">
              <a:extLst>
                <a:ext uri="{FF2B5EF4-FFF2-40B4-BE49-F238E27FC236}">
                  <a16:creationId xmlns:a16="http://schemas.microsoft.com/office/drawing/2014/main" id="{51BF2D3F-73F5-48D3-8679-24A1DDA5A0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0D1D4CB9-2D7C-4334-B70C-ADACFEBF6C93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53849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379982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컨텐츠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4397326-A104-4860-A6DA-FE6D8AD12230}"/>
              </a:ext>
            </a:extLst>
          </p:cNvPr>
          <p:cNvSpPr/>
          <p:nvPr/>
        </p:nvSpPr>
        <p:spPr>
          <a:xfrm>
            <a:off x="2930775" y="3042698"/>
            <a:ext cx="1419546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자료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3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F7C29918-76C2-4DCA-87C9-07EFCD042DC0}"/>
              </a:ext>
            </a:extLst>
          </p:cNvPr>
          <p:cNvCxnSpPr>
            <a:cxnSpLocks/>
          </p:cNvCxnSpPr>
          <p:nvPr/>
        </p:nvCxnSpPr>
        <p:spPr>
          <a:xfrm>
            <a:off x="2516214" y="3278837"/>
            <a:ext cx="635441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FD150F7B-236A-49E7-8548-5563F963C4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230390"/>
              </p:ext>
            </p:extLst>
          </p:nvPr>
        </p:nvGraphicFramePr>
        <p:xfrm>
          <a:off x="4577302" y="6055152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4" name="직사각형 53">
            <a:extLst>
              <a:ext uri="{FF2B5EF4-FFF2-40B4-BE49-F238E27FC236}">
                <a16:creationId xmlns:a16="http://schemas.microsoft.com/office/drawing/2014/main" id="{D80B7F43-A981-4BE7-9D03-BC0F3058AC73}"/>
              </a:ext>
            </a:extLst>
          </p:cNvPr>
          <p:cNvSpPr/>
          <p:nvPr/>
        </p:nvSpPr>
        <p:spPr>
          <a:xfrm>
            <a:off x="4011075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8477D90C-8A08-4B30-8D24-97272853CA6E}"/>
              </a:ext>
            </a:extLst>
          </p:cNvPr>
          <p:cNvSpPr/>
          <p:nvPr/>
        </p:nvSpPr>
        <p:spPr>
          <a:xfrm flipV="1">
            <a:off x="7176120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0F07F6FC-ED9C-455B-8371-D6461C01E047}"/>
              </a:ext>
            </a:extLst>
          </p:cNvPr>
          <p:cNvGrpSpPr/>
          <p:nvPr/>
        </p:nvGrpSpPr>
        <p:grpSpPr>
          <a:xfrm>
            <a:off x="2635311" y="3571525"/>
            <a:ext cx="6538294" cy="782876"/>
            <a:chOff x="472556" y="3512070"/>
            <a:chExt cx="6538294" cy="782876"/>
          </a:xfrm>
        </p:grpSpPr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CEB0E44D-91BA-4CD6-BD65-96EE55EB6DBD}"/>
                </a:ext>
              </a:extLst>
            </p:cNvPr>
            <p:cNvSpPr/>
            <p:nvPr/>
          </p:nvSpPr>
          <p:spPr>
            <a:xfrm>
              <a:off x="472556" y="3512070"/>
              <a:ext cx="83869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인사이트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A52B7C3F-05F1-4927-AADE-F13D7C0CCF14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Newsflash –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 시행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2AACC4F2-EE0B-47A6-9BB9-0ECAB6D7FA66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2D1AABBD-C1B8-491F-A9E8-5B8FE071D16C}"/>
              </a:ext>
            </a:extLst>
          </p:cNvPr>
          <p:cNvSpPr/>
          <p:nvPr/>
        </p:nvSpPr>
        <p:spPr>
          <a:xfrm>
            <a:off x="2637138" y="4496868"/>
            <a:ext cx="6141230" cy="23663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marR="0" lvl="0" algn="l" defTabSz="97717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배출 규제가 느슨한 국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非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규제가 엄격한 국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물품을 수출할 때 발생하는 가격 차이를 보전하기 위해 비용을 부과하는 일종의 무역 관세입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정 합의안에 따르면 시범 기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02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2025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1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2" name="직선 연결선 91">
            <a:extLst>
              <a:ext uri="{FF2B5EF4-FFF2-40B4-BE49-F238E27FC236}">
                <a16:creationId xmlns:a16="http://schemas.microsoft.com/office/drawing/2014/main" id="{429A0DFA-14CF-4C22-AB41-1A75F821A730}"/>
              </a:ext>
            </a:extLst>
          </p:cNvPr>
          <p:cNvCxnSpPr>
            <a:cxnSpLocks/>
          </p:cNvCxnSpPr>
          <p:nvPr/>
        </p:nvCxnSpPr>
        <p:spPr>
          <a:xfrm>
            <a:off x="2625153" y="4876493"/>
            <a:ext cx="606365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A1E7B39F-A359-4326-951A-5CE78E6C6F30}"/>
              </a:ext>
            </a:extLst>
          </p:cNvPr>
          <p:cNvSpPr/>
          <p:nvPr/>
        </p:nvSpPr>
        <p:spPr>
          <a:xfrm>
            <a:off x="4341505" y="4253103"/>
            <a:ext cx="165783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탄소국경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603D343E-04E4-428E-BE73-6CF42AE0ED14}"/>
              </a:ext>
            </a:extLst>
          </p:cNvPr>
          <p:cNvSpPr/>
          <p:nvPr/>
        </p:nvSpPr>
        <p:spPr>
          <a:xfrm>
            <a:off x="2670192" y="4253103"/>
            <a:ext cx="360929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C2FC8BD7-31E7-42D1-AEEA-BCFA12C76CF2}"/>
              </a:ext>
            </a:extLst>
          </p:cNvPr>
          <p:cNvSpPr/>
          <p:nvPr/>
        </p:nvSpPr>
        <p:spPr>
          <a:xfrm>
            <a:off x="3104646" y="4253103"/>
            <a:ext cx="369361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E71D879-798E-4838-AACB-298AAB3CE522}"/>
              </a:ext>
            </a:extLst>
          </p:cNvPr>
          <p:cNvSpPr/>
          <p:nvPr/>
        </p:nvSpPr>
        <p:spPr>
          <a:xfrm>
            <a:off x="3551067" y="4253103"/>
            <a:ext cx="711698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국경세</a:t>
            </a: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CCEF2D8D-7E8C-4164-8025-561B0754BC54}"/>
              </a:ext>
            </a:extLst>
          </p:cNvPr>
          <p:cNvSpPr/>
          <p:nvPr/>
        </p:nvSpPr>
        <p:spPr>
          <a:xfrm>
            <a:off x="2619364" y="4985788"/>
            <a:ext cx="854643" cy="15098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ctr"/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기준</a:t>
            </a:r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이드라인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EA22000D-30F3-4EC8-BD6C-70ADC529F4DB}"/>
              </a:ext>
            </a:extLst>
          </p:cNvPr>
          <p:cNvSpPr/>
          <p:nvPr/>
        </p:nvSpPr>
        <p:spPr>
          <a:xfrm>
            <a:off x="2619365" y="5187322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en-US" altLang="ko-KR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 (Carbon Disclosure Project)</a:t>
            </a:r>
            <a:endParaRPr lang="ko-KR" altLang="en-US" sz="9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C4E15E0C-323F-4C90-957F-3C67725D965B}"/>
              </a:ext>
            </a:extLst>
          </p:cNvPr>
          <p:cNvSpPr/>
          <p:nvPr/>
        </p:nvSpPr>
        <p:spPr>
          <a:xfrm>
            <a:off x="4055122" y="5690237"/>
            <a:ext cx="1657833" cy="16078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탄소국경세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 EU 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2389CC6D-EC57-48D7-BDF7-154693023F2B}"/>
              </a:ext>
            </a:extLst>
          </p:cNvPr>
          <p:cNvSpPr/>
          <p:nvPr/>
        </p:nvSpPr>
        <p:spPr>
          <a:xfrm>
            <a:off x="2672211" y="5690237"/>
            <a:ext cx="360929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9E843F40-104B-453D-9EC2-A6222F33057B}"/>
              </a:ext>
            </a:extLst>
          </p:cNvPr>
          <p:cNvSpPr/>
          <p:nvPr/>
        </p:nvSpPr>
        <p:spPr>
          <a:xfrm>
            <a:off x="3106665" y="5690237"/>
            <a:ext cx="367342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환경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B86E18A-430E-45D0-8062-216517AF4DCE}"/>
              </a:ext>
            </a:extLst>
          </p:cNvPr>
          <p:cNvSpPr/>
          <p:nvPr/>
        </p:nvSpPr>
        <p:spPr>
          <a:xfrm>
            <a:off x="3551068" y="5690237"/>
            <a:ext cx="432046" cy="1555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ko-KR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DP</a:t>
            </a:r>
            <a:endParaRPr lang="ko-KR" altLang="en-US" sz="9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B34019AB-A9CC-4797-B4FE-65B017A59B45}"/>
              </a:ext>
            </a:extLst>
          </p:cNvPr>
          <p:cNvSpPr/>
          <p:nvPr/>
        </p:nvSpPr>
        <p:spPr>
          <a:xfrm>
            <a:off x="2625153" y="3996706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2023-06-30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F5DB54E2-511F-4617-B26A-1AAC3ED9709C}"/>
              </a:ext>
            </a:extLst>
          </p:cNvPr>
          <p:cNvSpPr/>
          <p:nvPr/>
        </p:nvSpPr>
        <p:spPr>
          <a:xfrm>
            <a:off x="2619364" y="5410558"/>
            <a:ext cx="5530180" cy="19280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회계법인    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2023-06-30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22B2B488-6E41-4BDF-8488-6542AF4EEBAD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D555BA25-E0E7-4158-9249-219A5DE6097C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61" name="직선 연결선 60">
              <a:extLst>
                <a:ext uri="{FF2B5EF4-FFF2-40B4-BE49-F238E27FC236}">
                  <a16:creationId xmlns:a16="http://schemas.microsoft.com/office/drawing/2014/main" id="{7DB10724-DB18-430D-8801-919E6A785348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58A62F21-A7D9-4541-AABB-7AE9B507F7AE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F6CF6C04-CAE5-4593-8E8A-CDAF5ED63212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75" name="타원 74">
                <a:extLst>
                  <a:ext uri="{FF2B5EF4-FFF2-40B4-BE49-F238E27FC236}">
                    <a16:creationId xmlns:a16="http://schemas.microsoft.com/office/drawing/2014/main" id="{AA2230F2-7E62-4D32-ADB9-2E49D5798A69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직사각형 75">
                <a:extLst>
                  <a:ext uri="{FF2B5EF4-FFF2-40B4-BE49-F238E27FC236}">
                    <a16:creationId xmlns:a16="http://schemas.microsoft.com/office/drawing/2014/main" id="{FC6A7422-24E0-430E-B26F-52D26E3D08CB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64" name="사각형: 둥근 모서리 63">
              <a:extLst>
                <a:ext uri="{FF2B5EF4-FFF2-40B4-BE49-F238E27FC236}">
                  <a16:creationId xmlns:a16="http://schemas.microsoft.com/office/drawing/2014/main" id="{CE721294-1468-4335-9E19-E3983AA26142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F794B798-A45A-4336-B775-E69B13D9B6EB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E5B3910A-AC8C-41A0-8825-C569992BCD9F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CDA6CBD1-34B5-4078-B3EA-2E234794DA24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A6FD4342-E6B9-4734-B911-054441BC2C69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25D6FE23-E59D-4533-BE62-87E35F6E3F76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71" name="사각형: 둥근 모서리 70">
                <a:extLst>
                  <a:ext uri="{FF2B5EF4-FFF2-40B4-BE49-F238E27FC236}">
                    <a16:creationId xmlns:a16="http://schemas.microsoft.com/office/drawing/2014/main" id="{CD81437A-7849-4E46-A8B0-BCB38D6C2CF2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AFA18188-BF43-4B96-BA50-016C294FBFDF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73" name="이등변 삼각형 72">
                <a:extLst>
                  <a:ext uri="{FF2B5EF4-FFF2-40B4-BE49-F238E27FC236}">
                    <a16:creationId xmlns:a16="http://schemas.microsoft.com/office/drawing/2014/main" id="{BD7240D8-93E7-4806-978E-F9E998AC51E2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20EB4333-3D23-4BF9-AC95-E125F1F4B597}"/>
              </a:ext>
            </a:extLst>
          </p:cNvPr>
          <p:cNvGrpSpPr/>
          <p:nvPr/>
        </p:nvGrpSpPr>
        <p:grpSpPr>
          <a:xfrm>
            <a:off x="2425465" y="2940184"/>
            <a:ext cx="559062" cy="439813"/>
            <a:chOff x="390420" y="3754755"/>
            <a:chExt cx="452615" cy="356071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97211E25-76BF-45DD-9BDD-B3C93287DBFE}"/>
                </a:ext>
              </a:extLst>
            </p:cNvPr>
            <p:cNvSpPr/>
            <p:nvPr/>
          </p:nvSpPr>
          <p:spPr>
            <a:xfrm>
              <a:off x="449050" y="3780814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5A958139-0ED2-4C2C-8546-33CF8AE22523}"/>
                </a:ext>
              </a:extLst>
            </p:cNvPr>
            <p:cNvSpPr/>
            <p:nvPr/>
          </p:nvSpPr>
          <p:spPr>
            <a:xfrm>
              <a:off x="390420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닫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pic>
        <p:nvPicPr>
          <p:cNvPr id="83" name="그림 82">
            <a:extLst>
              <a:ext uri="{FF2B5EF4-FFF2-40B4-BE49-F238E27FC236}">
                <a16:creationId xmlns:a16="http://schemas.microsoft.com/office/drawing/2014/main" id="{38F7D2B1-874E-465B-B6EA-7D42BC28E6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9035" b="41272"/>
          <a:stretch/>
        </p:blipFill>
        <p:spPr>
          <a:xfrm>
            <a:off x="498778" y="2967104"/>
            <a:ext cx="2017435" cy="3451097"/>
          </a:xfrm>
          <a:prstGeom prst="rect">
            <a:avLst/>
          </a:prstGeom>
        </p:spPr>
      </p:pic>
      <p:graphicFrame>
        <p:nvGraphicFramePr>
          <p:cNvPr id="77" name="표 76">
            <a:extLst>
              <a:ext uri="{FF2B5EF4-FFF2-40B4-BE49-F238E27FC236}">
                <a16:creationId xmlns:a16="http://schemas.microsoft.com/office/drawing/2014/main" id="{8ADC2303-5C54-4432-9E86-A7968E080B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748032"/>
              </p:ext>
            </p:extLst>
          </p:nvPr>
        </p:nvGraphicFramePr>
        <p:xfrm>
          <a:off x="9275307" y="747926"/>
          <a:ext cx="2915868" cy="2468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868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</a:tblGrid>
              <a:tr h="2468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탭 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조회 필터 열었을 때 화면 구성안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</a:tbl>
          </a:graphicData>
        </a:graphic>
      </p:graphicFrame>
      <p:sp>
        <p:nvSpPr>
          <p:cNvPr id="81" name="직사각형 80">
            <a:extLst>
              <a:ext uri="{FF2B5EF4-FFF2-40B4-BE49-F238E27FC236}">
                <a16:creationId xmlns:a16="http://schemas.microsoft.com/office/drawing/2014/main" id="{6A809D29-842A-4443-AA3E-F730843C513A}"/>
              </a:ext>
            </a:extLst>
          </p:cNvPr>
          <p:cNvSpPr/>
          <p:nvPr/>
        </p:nvSpPr>
        <p:spPr>
          <a:xfrm>
            <a:off x="6010684" y="3062645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3CADD10A-3CCA-43B4-ADB9-2B53F724BBA4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CCCBED1A-AE91-48F2-A0FC-6D257BC3D9C8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,234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CF45F53F-8ABB-4DBD-A90A-DDC10272E953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2" name="사각형: 둥근 모서리 111">
              <a:extLst>
                <a:ext uri="{FF2B5EF4-FFF2-40B4-BE49-F238E27FC236}">
                  <a16:creationId xmlns:a16="http://schemas.microsoft.com/office/drawing/2014/main" id="{C4A24E85-6B9A-45D6-A18B-4FB577813A10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3" name="사각형: 둥근 모서리 112">
              <a:extLst>
                <a:ext uri="{FF2B5EF4-FFF2-40B4-BE49-F238E27FC236}">
                  <a16:creationId xmlns:a16="http://schemas.microsoft.com/office/drawing/2014/main" id="{4B7972E9-A45A-4F2D-96E9-E3C1E6935BB2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4" name="사각형: 둥근 모서리 113">
              <a:extLst>
                <a:ext uri="{FF2B5EF4-FFF2-40B4-BE49-F238E27FC236}">
                  <a16:creationId xmlns:a16="http://schemas.microsoft.com/office/drawing/2014/main" id="{12914411-F839-40CF-91D2-F8780B2E1027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D25093CA-147B-43EA-AD8E-F1B8B8BBE482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31046996-426E-4FE7-9529-796ED49F4F5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5" name="그림 84">
              <a:extLst>
                <a:ext uri="{FF2B5EF4-FFF2-40B4-BE49-F238E27FC236}">
                  <a16:creationId xmlns:a16="http://schemas.microsoft.com/office/drawing/2014/main" id="{856FD886-AAF7-4CDF-93A2-BA5B6C5706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A2EF6764-BD01-41B2-A806-95CFCD65C2B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6DFE0E41-7CA1-45AF-AB74-CBFB195D90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4E01FBBA-A127-4FAA-A01C-A837590D460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8" name="표 107">
            <a:extLst>
              <a:ext uri="{FF2B5EF4-FFF2-40B4-BE49-F238E27FC236}">
                <a16:creationId xmlns:a16="http://schemas.microsoft.com/office/drawing/2014/main" id="{02E13C4B-C6C7-4330-832D-E60ECEA69D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5103360"/>
              </p:ext>
            </p:extLst>
          </p:nvPr>
        </p:nvGraphicFramePr>
        <p:xfrm>
          <a:off x="9275307" y="747926"/>
          <a:ext cx="2915868" cy="45749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  <a:gridCol w="2530085">
                  <a:extLst>
                    <a:ext uri="{9D8B030D-6E8A-4147-A177-3AD203B41FA5}">
                      <a16:colId xmlns:a16="http://schemas.microsoft.com/office/drawing/2014/main" val="493310492"/>
                    </a:ext>
                  </a:extLst>
                </a:gridCol>
              </a:tblGrid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  <a:tr h="495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문서 컨텐츠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→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표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보고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②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③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처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④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⑤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⑦ 컨텐츠 본문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범위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검색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우에만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되는 정보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 키워드 볼드 처리된 본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23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조회 필터 열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힘 버튼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조회 필터 기능 제공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힘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066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 기능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438546"/>
                  </a:ext>
                </a:extLst>
              </a:tr>
            </a:tbl>
          </a:graphicData>
        </a:graphic>
      </p:graphicFrame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A9F1B62F-47FA-444B-A86F-ADCDEF343A9A}"/>
              </a:ext>
            </a:extLst>
          </p:cNvPr>
          <p:cNvSpPr/>
          <p:nvPr/>
        </p:nvSpPr>
        <p:spPr>
          <a:xfrm>
            <a:off x="222018" y="29953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17" name="직선 연결선 116">
            <a:extLst>
              <a:ext uri="{FF2B5EF4-FFF2-40B4-BE49-F238E27FC236}">
                <a16:creationId xmlns:a16="http://schemas.microsoft.com/office/drawing/2014/main" id="{F2C3FE56-DCF5-4E39-A32C-518E2CE2E59A}"/>
              </a:ext>
            </a:extLst>
          </p:cNvPr>
          <p:cNvCxnSpPr>
            <a:cxnSpLocks/>
          </p:cNvCxnSpPr>
          <p:nvPr/>
        </p:nvCxnSpPr>
        <p:spPr>
          <a:xfrm>
            <a:off x="320755" y="2908166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 117">
            <a:extLst>
              <a:ext uri="{FF2B5EF4-FFF2-40B4-BE49-F238E27FC236}">
                <a16:creationId xmlns:a16="http://schemas.microsoft.com/office/drawing/2014/main" id="{F809D43E-4EE6-4D51-ACE4-B2A57900C855}"/>
              </a:ext>
            </a:extLst>
          </p:cNvPr>
          <p:cNvCxnSpPr>
            <a:cxnSpLocks/>
          </p:cNvCxnSpPr>
          <p:nvPr/>
        </p:nvCxnSpPr>
        <p:spPr>
          <a:xfrm flipV="1">
            <a:off x="402083" y="2923069"/>
            <a:ext cx="0" cy="3458259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연결선 118">
            <a:extLst>
              <a:ext uri="{FF2B5EF4-FFF2-40B4-BE49-F238E27FC236}">
                <a16:creationId xmlns:a16="http://schemas.microsoft.com/office/drawing/2014/main" id="{0BB6E20F-AB5A-464F-A8ED-A9411DF62D08}"/>
              </a:ext>
            </a:extLst>
          </p:cNvPr>
          <p:cNvCxnSpPr>
            <a:cxnSpLocks/>
          </p:cNvCxnSpPr>
          <p:nvPr/>
        </p:nvCxnSpPr>
        <p:spPr>
          <a:xfrm>
            <a:off x="313812" y="6381328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27BE32E6-E98F-4544-B8CD-B34BEE0DFDA8}"/>
              </a:ext>
            </a:extLst>
          </p:cNvPr>
          <p:cNvSpPr/>
          <p:nvPr/>
        </p:nvSpPr>
        <p:spPr>
          <a:xfrm>
            <a:off x="6191803" y="304041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27DA314-17FF-4E1E-9BF4-F67AB88E431D}"/>
              </a:ext>
            </a:extLst>
          </p:cNvPr>
          <p:cNvSpPr/>
          <p:nvPr/>
        </p:nvSpPr>
        <p:spPr>
          <a:xfrm>
            <a:off x="2510776" y="2965248"/>
            <a:ext cx="415834" cy="462596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EE050EA4-8FD0-4636-A13D-872BFAE52DA7}"/>
              </a:ext>
            </a:extLst>
          </p:cNvPr>
          <p:cNvSpPr/>
          <p:nvPr/>
        </p:nvSpPr>
        <p:spPr>
          <a:xfrm>
            <a:off x="2425403" y="29129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250073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840334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컨텐츠 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4397326-A104-4860-A6DA-FE6D8AD12230}"/>
              </a:ext>
            </a:extLst>
          </p:cNvPr>
          <p:cNvSpPr/>
          <p:nvPr/>
        </p:nvSpPr>
        <p:spPr>
          <a:xfrm>
            <a:off x="373310" y="3033912"/>
            <a:ext cx="1042169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5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F7C29918-76C2-4DCA-87C9-07EFCD042DC0}"/>
              </a:ext>
            </a:extLst>
          </p:cNvPr>
          <p:cNvCxnSpPr>
            <a:cxnSpLocks/>
          </p:cNvCxnSpPr>
          <p:nvPr/>
        </p:nvCxnSpPr>
        <p:spPr>
          <a:xfrm>
            <a:off x="460873" y="3278837"/>
            <a:ext cx="84097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FD150F7B-236A-49E7-8548-5563F963C48C}"/>
              </a:ext>
            </a:extLst>
          </p:cNvPr>
          <p:cNvGraphicFramePr>
            <a:graphicFrameLocks noGrp="1"/>
          </p:cNvGraphicFramePr>
          <p:nvPr/>
        </p:nvGraphicFramePr>
        <p:xfrm>
          <a:off x="3565883" y="6055152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4" name="직사각형 53">
            <a:extLst>
              <a:ext uri="{FF2B5EF4-FFF2-40B4-BE49-F238E27FC236}">
                <a16:creationId xmlns:a16="http://schemas.microsoft.com/office/drawing/2014/main" id="{D80B7F43-A981-4BE7-9D03-BC0F3058AC73}"/>
              </a:ext>
            </a:extLst>
          </p:cNvPr>
          <p:cNvSpPr/>
          <p:nvPr/>
        </p:nvSpPr>
        <p:spPr>
          <a:xfrm>
            <a:off x="2999656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8477D90C-8A08-4B30-8D24-97272853CA6E}"/>
              </a:ext>
            </a:extLst>
          </p:cNvPr>
          <p:cNvSpPr/>
          <p:nvPr/>
        </p:nvSpPr>
        <p:spPr>
          <a:xfrm flipV="1">
            <a:off x="6164701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9E9A0B7D-CC72-4D2A-86F5-C68D7C4EA9BB}"/>
              </a:ext>
            </a:extLst>
          </p:cNvPr>
          <p:cNvGrpSpPr/>
          <p:nvPr/>
        </p:nvGrpSpPr>
        <p:grpSpPr>
          <a:xfrm>
            <a:off x="520047" y="3466213"/>
            <a:ext cx="6538292" cy="782876"/>
            <a:chOff x="472558" y="3512070"/>
            <a:chExt cx="6538292" cy="782876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C2E5643A-D85F-4764-AFF1-1F301FA4DBAC}"/>
                </a:ext>
              </a:extLst>
            </p:cNvPr>
            <p:cNvSpPr/>
            <p:nvPr/>
          </p:nvSpPr>
          <p:spPr>
            <a:xfrm>
              <a:off x="472558" y="3512070"/>
              <a:ext cx="48370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algn="ctr"/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5A1C3F65-7021-4057-A909-80344457A11B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한상의 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포험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애그테크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관심 급부상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 문제 해결이 과제</a:t>
              </a:r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933FD913-8DED-4E39-B949-DA0D5A4F7B7D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한상공회의소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장 최태원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는 산업통상자원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Y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한영과 공동으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8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 세종대로 대한상의회관에서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4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차 대한상의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포럼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을 개최했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번 행사는 정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업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학계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유관 기관의 전문가들이 참여하여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반 신사업 창출 전략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ESG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…</a:t>
              </a:r>
            </a:p>
          </p:txBody>
        </p:sp>
      </p:grpSp>
      <p:pic>
        <p:nvPicPr>
          <p:cNvPr id="61" name="그림 60">
            <a:extLst>
              <a:ext uri="{FF2B5EF4-FFF2-40B4-BE49-F238E27FC236}">
                <a16:creationId xmlns:a16="http://schemas.microsoft.com/office/drawing/2014/main" id="{F53E4A69-9AEA-4588-84D9-79EDDFE9DD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" t="35405" r="81276" b="40335"/>
          <a:stretch/>
        </p:blipFill>
        <p:spPr>
          <a:xfrm>
            <a:off x="7183126" y="3439160"/>
            <a:ext cx="1597490" cy="843074"/>
          </a:xfrm>
          <a:prstGeom prst="rect">
            <a:avLst/>
          </a:prstGeom>
        </p:spPr>
      </p:pic>
      <p:grpSp>
        <p:nvGrpSpPr>
          <p:cNvPr id="62" name="그룹 61">
            <a:extLst>
              <a:ext uri="{FF2B5EF4-FFF2-40B4-BE49-F238E27FC236}">
                <a16:creationId xmlns:a16="http://schemas.microsoft.com/office/drawing/2014/main" id="{52B8E3BD-46B4-4514-B26E-E63556D9B410}"/>
              </a:ext>
            </a:extLst>
          </p:cNvPr>
          <p:cNvGrpSpPr/>
          <p:nvPr/>
        </p:nvGrpSpPr>
        <p:grpSpPr>
          <a:xfrm>
            <a:off x="520047" y="4514967"/>
            <a:ext cx="6538292" cy="782876"/>
            <a:chOff x="472558" y="3512070"/>
            <a:chExt cx="6538292" cy="782876"/>
          </a:xfrm>
        </p:grpSpPr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1A7999ED-DC93-4612-B81A-43D4C11DD5C3}"/>
                </a:ext>
              </a:extLst>
            </p:cNvPr>
            <p:cNvSpPr/>
            <p:nvPr/>
          </p:nvSpPr>
          <p:spPr>
            <a:xfrm>
              <a:off x="472558" y="3512070"/>
              <a:ext cx="483705" cy="1509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7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8FE919BB-CDCF-4AFF-A120-6D917CE4BD00}"/>
                </a:ext>
              </a:extLst>
            </p:cNvPr>
            <p:cNvSpPr/>
            <p:nvPr/>
          </p:nvSpPr>
          <p:spPr>
            <a:xfrm>
              <a:off x="472558" y="3713604"/>
              <a:ext cx="5530180" cy="19280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[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워싱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95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탐사대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]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글로벌 음반 산업의 탄소중립 노력은</a:t>
              </a: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?</a:t>
              </a:r>
              <a:endPara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678C8382-CEBB-476B-BA1F-095BA6E0FD2B}"/>
                </a:ext>
              </a:extLst>
            </p:cNvPr>
            <p:cNvSpPr/>
            <p:nvPr/>
          </p:nvSpPr>
          <p:spPr>
            <a:xfrm>
              <a:off x="472558" y="3905860"/>
              <a:ext cx="6538292" cy="389086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54864" rIns="36000" rtlCol="0" anchor="ctr" anchorCtr="0"/>
            <a:lstStyle/>
            <a:p>
              <a:pPr marR="0" lvl="0" algn="l" defTabSz="977172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재단법인 기후변화센터와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은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올해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‘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그린워싱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탐사대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’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를 운영한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ESG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에 관한 모니터링을 하는 청년 기자단을 중심으로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들을 직접 멘토링하고 이들이 작성한 기사를 보도한다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.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세계적인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록밴드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콜드플레이는 지난해 탄소 배출을 줄이기 위해  </a:t>
              </a:r>
              <a:endPara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BA0327E6-A52A-48D5-B80C-03DA328BD957}"/>
              </a:ext>
            </a:extLst>
          </p:cNvPr>
          <p:cNvCxnSpPr>
            <a:cxnSpLocks/>
          </p:cNvCxnSpPr>
          <p:nvPr/>
        </p:nvCxnSpPr>
        <p:spPr>
          <a:xfrm>
            <a:off x="499280" y="4383834"/>
            <a:ext cx="829149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그림 66">
            <a:extLst>
              <a:ext uri="{FF2B5EF4-FFF2-40B4-BE49-F238E27FC236}">
                <a16:creationId xmlns:a16="http://schemas.microsoft.com/office/drawing/2014/main" id="{220FBDCD-3561-4ED9-BD3A-7BDD39EC9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t="69582" r="82070" b="6237"/>
          <a:stretch/>
        </p:blipFill>
        <p:spPr>
          <a:xfrm>
            <a:off x="7183126" y="4591596"/>
            <a:ext cx="1591170" cy="816021"/>
          </a:xfrm>
          <a:prstGeom prst="rect">
            <a:avLst/>
          </a:prstGeom>
        </p:spPr>
      </p:pic>
      <p:sp>
        <p:nvSpPr>
          <p:cNvPr id="68" name="직사각형 67">
            <a:extLst>
              <a:ext uri="{FF2B5EF4-FFF2-40B4-BE49-F238E27FC236}">
                <a16:creationId xmlns:a16="http://schemas.microsoft.com/office/drawing/2014/main" id="{12800F20-F7E5-4D9F-919B-149DC0FA2400}"/>
              </a:ext>
            </a:extLst>
          </p:cNvPr>
          <p:cNvSpPr/>
          <p:nvPr/>
        </p:nvSpPr>
        <p:spPr>
          <a:xfrm>
            <a:off x="6216961" y="3691433"/>
            <a:ext cx="727538" cy="1509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r"/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30</a:t>
            </a:r>
            <a:endParaRPr lang="ko-KR" altLang="en-US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7B72CBDD-451A-40DB-8F28-9430B2F87B29}"/>
              </a:ext>
            </a:extLst>
          </p:cNvPr>
          <p:cNvSpPr/>
          <p:nvPr/>
        </p:nvSpPr>
        <p:spPr>
          <a:xfrm>
            <a:off x="6216961" y="4725059"/>
            <a:ext cx="727538" cy="1509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algn="r"/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6-30</a:t>
            </a:r>
            <a:endParaRPr lang="ko-KR" altLang="en-US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B913C00F-21BF-4F1C-AC1A-DC11B1D8521E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3213FE3-625F-4D9C-B174-931D48722C80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94" name="직선 연결선 93">
              <a:extLst>
                <a:ext uri="{FF2B5EF4-FFF2-40B4-BE49-F238E27FC236}">
                  <a16:creationId xmlns:a16="http://schemas.microsoft.com/office/drawing/2014/main" id="{BA67F65F-3781-4D7B-8D45-2D047BD608D2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04C9C63-5B51-4684-995B-CCBE6E2604C6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EDADC283-E66D-41FD-9131-D40330D9207E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107" name="타원 106">
                <a:extLst>
                  <a:ext uri="{FF2B5EF4-FFF2-40B4-BE49-F238E27FC236}">
                    <a16:creationId xmlns:a16="http://schemas.microsoft.com/office/drawing/2014/main" id="{200AF25C-A31B-480E-B09D-6055B1A8DCBE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36EC2DE6-9B49-4C8E-B94A-03E320FD2751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97" name="사각형: 둥근 모서리 96">
              <a:extLst>
                <a:ext uri="{FF2B5EF4-FFF2-40B4-BE49-F238E27FC236}">
                  <a16:creationId xmlns:a16="http://schemas.microsoft.com/office/drawing/2014/main" id="{C565D4E8-FC3C-4E36-9419-BC8C7EF351B2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40A7A5C7-78B6-483C-A3D7-3A12288E56DD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0149C397-7D77-43A5-BD3B-91B06F8356DA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75398DD7-C378-42DC-BC61-679949CE9D9C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4085500E-2F8E-4EE4-9F2F-FE6A4CB8ACE7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5491EC9D-6090-47A8-B93A-6CCCAF695D90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104" name="사각형: 둥근 모서리 103">
                <a:extLst>
                  <a:ext uri="{FF2B5EF4-FFF2-40B4-BE49-F238E27FC236}">
                    <a16:creationId xmlns:a16="http://schemas.microsoft.com/office/drawing/2014/main" id="{F6D2760D-C81A-405C-90C1-13C836F2FC17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FC370C3A-9064-4C48-A63C-70258CE9E186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106" name="이등변 삼각형 105">
                <a:extLst>
                  <a:ext uri="{FF2B5EF4-FFF2-40B4-BE49-F238E27FC236}">
                    <a16:creationId xmlns:a16="http://schemas.microsoft.com/office/drawing/2014/main" id="{2D12B16A-B44D-4B8F-8A31-99A081136128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DAB8C43B-0476-4290-90DB-686096832AEE}"/>
              </a:ext>
            </a:extLst>
          </p:cNvPr>
          <p:cNvSpPr/>
          <p:nvPr/>
        </p:nvSpPr>
        <p:spPr>
          <a:xfrm>
            <a:off x="6062444" y="3078767"/>
            <a:ext cx="876571" cy="15350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모든 날짜  ▼</a:t>
            </a: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0DD8FD3E-67BB-47D6-A32D-CD9531EAFC4B}"/>
              </a:ext>
            </a:extLst>
          </p:cNvPr>
          <p:cNvSpPr/>
          <p:nvPr/>
        </p:nvSpPr>
        <p:spPr>
          <a:xfrm>
            <a:off x="6062444" y="3260384"/>
            <a:ext cx="876571" cy="11070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</a:pPr>
            <a:endParaRPr lang="en-US" altLang="ko-KR" sz="1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표 5">
            <a:extLst>
              <a:ext uri="{FF2B5EF4-FFF2-40B4-BE49-F238E27FC236}">
                <a16:creationId xmlns:a16="http://schemas.microsoft.com/office/drawing/2014/main" id="{D756C6C9-71ED-4EDF-96C0-035151BB9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996425"/>
              </p:ext>
            </p:extLst>
          </p:nvPr>
        </p:nvGraphicFramePr>
        <p:xfrm>
          <a:off x="6063819" y="3261411"/>
          <a:ext cx="875196" cy="1088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5196">
                  <a:extLst>
                    <a:ext uri="{9D8B030D-6E8A-4147-A177-3AD203B41FA5}">
                      <a16:colId xmlns:a16="http://schemas.microsoft.com/office/drawing/2014/main" val="1750667922"/>
                    </a:ext>
                  </a:extLst>
                </a:gridCol>
              </a:tblGrid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모든 날짜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428689"/>
                  </a:ext>
                </a:extLst>
              </a:tr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최근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92504"/>
                  </a:ext>
                </a:extLst>
              </a:tr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최근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일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5579344"/>
                  </a:ext>
                </a:extLst>
              </a:tr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최근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4979244"/>
                  </a:ext>
                </a:extLst>
              </a:tr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최근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083705"/>
                  </a:ext>
                </a:extLst>
              </a:tr>
              <a:tr h="18141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직접 설정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069723"/>
                  </a:ext>
                </a:extLst>
              </a:tr>
            </a:tbl>
          </a:graphicData>
        </a:graphic>
      </p:graphicFrame>
      <p:sp>
        <p:nvSpPr>
          <p:cNvPr id="76" name="직사각형 75">
            <a:extLst>
              <a:ext uri="{FF2B5EF4-FFF2-40B4-BE49-F238E27FC236}">
                <a16:creationId xmlns:a16="http://schemas.microsoft.com/office/drawing/2014/main" id="{1C93EA74-B563-4D50-96C0-5A481C68A72F}"/>
              </a:ext>
            </a:extLst>
          </p:cNvPr>
          <p:cNvSpPr/>
          <p:nvPr/>
        </p:nvSpPr>
        <p:spPr>
          <a:xfrm>
            <a:off x="5986286" y="3035317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35FC8273-687C-4DDD-B912-B3F02CB46199}"/>
              </a:ext>
            </a:extLst>
          </p:cNvPr>
          <p:cNvSpPr/>
          <p:nvPr/>
        </p:nvSpPr>
        <p:spPr>
          <a:xfrm>
            <a:off x="222018" y="29953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79" name="직선 연결선 78">
            <a:extLst>
              <a:ext uri="{FF2B5EF4-FFF2-40B4-BE49-F238E27FC236}">
                <a16:creationId xmlns:a16="http://schemas.microsoft.com/office/drawing/2014/main" id="{1C04A911-07B7-4F3E-8AD0-78556932404A}"/>
              </a:ext>
            </a:extLst>
          </p:cNvPr>
          <p:cNvCxnSpPr>
            <a:cxnSpLocks/>
          </p:cNvCxnSpPr>
          <p:nvPr/>
        </p:nvCxnSpPr>
        <p:spPr>
          <a:xfrm flipV="1">
            <a:off x="402083" y="2923069"/>
            <a:ext cx="0" cy="338625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연결선 79">
            <a:extLst>
              <a:ext uri="{FF2B5EF4-FFF2-40B4-BE49-F238E27FC236}">
                <a16:creationId xmlns:a16="http://schemas.microsoft.com/office/drawing/2014/main" id="{5CA8F6A4-BEBC-4F54-92B8-124CEEF85D31}"/>
              </a:ext>
            </a:extLst>
          </p:cNvPr>
          <p:cNvCxnSpPr>
            <a:cxnSpLocks/>
          </p:cNvCxnSpPr>
          <p:nvPr/>
        </p:nvCxnSpPr>
        <p:spPr>
          <a:xfrm>
            <a:off x="313812" y="6309320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9" name="표 88">
            <a:extLst>
              <a:ext uri="{FF2B5EF4-FFF2-40B4-BE49-F238E27FC236}">
                <a16:creationId xmlns:a16="http://schemas.microsoft.com/office/drawing/2014/main" id="{EA345C49-E534-42A8-8699-50B61DEEB4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100598"/>
              </p:ext>
            </p:extLst>
          </p:nvPr>
        </p:nvGraphicFramePr>
        <p:xfrm>
          <a:off x="9275307" y="747926"/>
          <a:ext cx="2915868" cy="35843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  <a:gridCol w="2530085">
                  <a:extLst>
                    <a:ext uri="{9D8B030D-6E8A-4147-A177-3AD203B41FA5}">
                      <a16:colId xmlns:a16="http://schemas.microsoft.com/office/drawing/2014/main" val="493310492"/>
                    </a:ext>
                  </a:extLst>
                </a:gridCol>
              </a:tblGrid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뉴스 컨텐츠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픈 시점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고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 뉴스제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③ 뉴스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④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표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⑤ 뉴스 본문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23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모든날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 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 설정 선택 시 캘린더 출력되어 상세 기간 설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066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 기능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438546"/>
                  </a:ext>
                </a:extLst>
              </a:tr>
            </a:tbl>
          </a:graphicData>
        </a:graphic>
      </p:graphicFrame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98DC032A-443E-4716-B081-CB55E9442E1D}"/>
              </a:ext>
            </a:extLst>
          </p:cNvPr>
          <p:cNvSpPr/>
          <p:nvPr/>
        </p:nvSpPr>
        <p:spPr>
          <a:xfrm>
            <a:off x="5886131" y="30050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4B15650E-1F51-4A32-A3FE-6B4C62F878E5}"/>
              </a:ext>
            </a:extLst>
          </p:cNvPr>
          <p:cNvSpPr/>
          <p:nvPr/>
        </p:nvSpPr>
        <p:spPr>
          <a:xfrm>
            <a:off x="6985858" y="30050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6FB2A104-D024-4A19-BBCD-1A2F78B0C85B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6EB23FB7-2461-48E6-B252-D2DAFA2EBCE2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,234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3" name="사각형: 둥근 모서리 112">
              <a:extLst>
                <a:ext uri="{FF2B5EF4-FFF2-40B4-BE49-F238E27FC236}">
                  <a16:creationId xmlns:a16="http://schemas.microsoft.com/office/drawing/2014/main" id="{F55CB1AC-AC2E-43E6-9D97-90EA0510F836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4" name="사각형: 둥근 모서리 113">
              <a:extLst>
                <a:ext uri="{FF2B5EF4-FFF2-40B4-BE49-F238E27FC236}">
                  <a16:creationId xmlns:a16="http://schemas.microsoft.com/office/drawing/2014/main" id="{1C847C09-0D26-4AC1-B6CB-008CD55B912B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사각형: 둥근 모서리 114">
              <a:extLst>
                <a:ext uri="{FF2B5EF4-FFF2-40B4-BE49-F238E27FC236}">
                  <a16:creationId xmlns:a16="http://schemas.microsoft.com/office/drawing/2014/main" id="{DEEF047F-66E0-4847-84F7-6EAA3C45CEF6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사각형: 둥근 모서리 115">
              <a:extLst>
                <a:ext uri="{FF2B5EF4-FFF2-40B4-BE49-F238E27FC236}">
                  <a16:creationId xmlns:a16="http://schemas.microsoft.com/office/drawing/2014/main" id="{719E4B0F-99B3-4CC9-970B-A44F6DEE5F6F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83" name="직선 연결선 82">
            <a:extLst>
              <a:ext uri="{FF2B5EF4-FFF2-40B4-BE49-F238E27FC236}">
                <a16:creationId xmlns:a16="http://schemas.microsoft.com/office/drawing/2014/main" id="{F5C5F443-BC9C-455C-B7E5-4587BA9F5E47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6DD10E50-3F9C-45C1-AAF8-580E993AE821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5" name="그림 84">
              <a:extLst>
                <a:ext uri="{FF2B5EF4-FFF2-40B4-BE49-F238E27FC236}">
                  <a16:creationId xmlns:a16="http://schemas.microsoft.com/office/drawing/2014/main" id="{C12BCB79-1DE3-4BC0-A730-1EC23E7C96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0D303EB2-A32C-4269-95CD-82DE36986DCD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8" name="그림 87">
              <a:extLst>
                <a:ext uri="{FF2B5EF4-FFF2-40B4-BE49-F238E27FC236}">
                  <a16:creationId xmlns:a16="http://schemas.microsoft.com/office/drawing/2014/main" id="{39C28CA8-1941-483B-85C8-52A9C512B8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25FCC20C-D1B4-42BC-A3C0-D339204293E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72" name="직선 연결선 71">
            <a:extLst>
              <a:ext uri="{FF2B5EF4-FFF2-40B4-BE49-F238E27FC236}">
                <a16:creationId xmlns:a16="http://schemas.microsoft.com/office/drawing/2014/main" id="{209C4224-00CA-42BF-9D73-0FE64789F1DC}"/>
              </a:ext>
            </a:extLst>
          </p:cNvPr>
          <p:cNvCxnSpPr>
            <a:cxnSpLocks/>
          </p:cNvCxnSpPr>
          <p:nvPr/>
        </p:nvCxnSpPr>
        <p:spPr>
          <a:xfrm>
            <a:off x="320755" y="2924944"/>
            <a:ext cx="18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053768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262520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컨텐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를 보여주는 결과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4397326-A104-4860-A6DA-FE6D8AD12230}"/>
              </a:ext>
            </a:extLst>
          </p:cNvPr>
          <p:cNvSpPr/>
          <p:nvPr/>
        </p:nvSpPr>
        <p:spPr>
          <a:xfrm>
            <a:off x="2884804" y="3092635"/>
            <a:ext cx="1419546" cy="192806"/>
          </a:xfrm>
          <a:prstGeom prst="roundRect">
            <a:avLst>
              <a:gd name="adj" fmla="val 28132"/>
            </a:avLst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defTabSz="742950" latinLnBrk="1"/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디어영상 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F7C29918-76C2-4DCA-87C9-07EFCD042DC0}"/>
              </a:ext>
            </a:extLst>
          </p:cNvPr>
          <p:cNvCxnSpPr>
            <a:cxnSpLocks/>
          </p:cNvCxnSpPr>
          <p:nvPr/>
        </p:nvCxnSpPr>
        <p:spPr>
          <a:xfrm>
            <a:off x="2506159" y="3337560"/>
            <a:ext cx="636446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21">
            <a:extLst>
              <a:ext uri="{FF2B5EF4-FFF2-40B4-BE49-F238E27FC236}">
                <a16:creationId xmlns:a16="http://schemas.microsoft.com/office/drawing/2014/main" id="{FD150F7B-236A-49E7-8548-5563F963C48C}"/>
              </a:ext>
            </a:extLst>
          </p:cNvPr>
          <p:cNvGraphicFramePr>
            <a:graphicFrameLocks noGrp="1"/>
          </p:cNvGraphicFramePr>
          <p:nvPr/>
        </p:nvGraphicFramePr>
        <p:xfrm>
          <a:off x="3565883" y="6055152"/>
          <a:ext cx="2592290" cy="2095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4708212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4169461333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50271350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854905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063741804"/>
                    </a:ext>
                  </a:extLst>
                </a:gridCol>
              </a:tblGrid>
              <a:tr h="209548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54" name="직사각형 53">
            <a:extLst>
              <a:ext uri="{FF2B5EF4-FFF2-40B4-BE49-F238E27FC236}">
                <a16:creationId xmlns:a16="http://schemas.microsoft.com/office/drawing/2014/main" id="{D80B7F43-A981-4BE7-9D03-BC0F3058AC73}"/>
              </a:ext>
            </a:extLst>
          </p:cNvPr>
          <p:cNvSpPr/>
          <p:nvPr/>
        </p:nvSpPr>
        <p:spPr>
          <a:xfrm>
            <a:off x="2999656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8477D90C-8A08-4B30-8D24-97272853CA6E}"/>
              </a:ext>
            </a:extLst>
          </p:cNvPr>
          <p:cNvSpPr/>
          <p:nvPr/>
        </p:nvSpPr>
        <p:spPr>
          <a:xfrm flipV="1">
            <a:off x="6164701" y="6069578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0F71A845-8641-4CAA-BDCB-6FB7ACDE622E}"/>
              </a:ext>
            </a:extLst>
          </p:cNvPr>
          <p:cNvGrpSpPr/>
          <p:nvPr/>
        </p:nvGrpSpPr>
        <p:grpSpPr>
          <a:xfrm>
            <a:off x="2525105" y="4744588"/>
            <a:ext cx="2019650" cy="562421"/>
            <a:chOff x="766908" y="5312341"/>
            <a:chExt cx="2019650" cy="562421"/>
          </a:xfrm>
        </p:grpSpPr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82F2ECD2-7118-45A3-B85A-D297C1CB950F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D3F82F7A-013D-4BD7-95A7-2CC1E8F98A3A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6FD36489-F24D-4330-B58C-C275F77F96B6}"/>
              </a:ext>
            </a:extLst>
          </p:cNvPr>
          <p:cNvGrpSpPr/>
          <p:nvPr/>
        </p:nvGrpSpPr>
        <p:grpSpPr>
          <a:xfrm>
            <a:off x="2607789" y="3476554"/>
            <a:ext cx="1944000" cy="1189703"/>
            <a:chOff x="3925318" y="3675504"/>
            <a:chExt cx="1124954" cy="765997"/>
          </a:xfrm>
        </p:grpSpPr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3615D929-2A8F-4A5B-A08F-323B61E251B7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BB2E2EFD-2563-4698-A1D6-A06C81BB2CC8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직선 연결선 81">
              <a:extLst>
                <a:ext uri="{FF2B5EF4-FFF2-40B4-BE49-F238E27FC236}">
                  <a16:creationId xmlns:a16="http://schemas.microsoft.com/office/drawing/2014/main" id="{79FACB4D-6259-4AF0-B030-093D865502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9D9F1472-51BF-415A-9A61-8190E2E426A3}"/>
              </a:ext>
            </a:extLst>
          </p:cNvPr>
          <p:cNvGrpSpPr/>
          <p:nvPr/>
        </p:nvGrpSpPr>
        <p:grpSpPr>
          <a:xfrm>
            <a:off x="2593324" y="5406416"/>
            <a:ext cx="1795182" cy="389623"/>
            <a:chOff x="2640783" y="6163907"/>
            <a:chExt cx="1795182" cy="389623"/>
          </a:xfrm>
        </p:grpSpPr>
        <p:grpSp>
          <p:nvGrpSpPr>
            <p:cNvPr id="84" name="그룹 83">
              <a:extLst>
                <a:ext uri="{FF2B5EF4-FFF2-40B4-BE49-F238E27FC236}">
                  <a16:creationId xmlns:a16="http://schemas.microsoft.com/office/drawing/2014/main" id="{A0133AB5-7B4E-43DE-A097-8A0DB5448743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B534F932-CB38-4385-8001-25D6ACC19DF1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1EF2201A-F5BA-4C2C-AB75-2DD839841620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C6F53DBB-D018-40E8-8AFF-59324960EC2E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00569F28-B56F-4085-939C-A76641451824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4" name="그룹 113">
            <a:extLst>
              <a:ext uri="{FF2B5EF4-FFF2-40B4-BE49-F238E27FC236}">
                <a16:creationId xmlns:a16="http://schemas.microsoft.com/office/drawing/2014/main" id="{2DDD12F0-42D5-4EF7-A0E4-663F30B7A006}"/>
              </a:ext>
            </a:extLst>
          </p:cNvPr>
          <p:cNvGrpSpPr/>
          <p:nvPr/>
        </p:nvGrpSpPr>
        <p:grpSpPr>
          <a:xfrm>
            <a:off x="3442000" y="3912620"/>
            <a:ext cx="317115" cy="317115"/>
            <a:chOff x="1519093" y="5661249"/>
            <a:chExt cx="504056" cy="504056"/>
          </a:xfrm>
        </p:grpSpPr>
        <p:sp>
          <p:nvSpPr>
            <p:cNvPr id="119" name="타원 118">
              <a:extLst>
                <a:ext uri="{FF2B5EF4-FFF2-40B4-BE49-F238E27FC236}">
                  <a16:creationId xmlns:a16="http://schemas.microsoft.com/office/drawing/2014/main" id="{3735ADCE-D96F-41AF-A6CB-DA77DD276BF3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20" name="이등변 삼각형 119">
              <a:extLst>
                <a:ext uri="{FF2B5EF4-FFF2-40B4-BE49-F238E27FC236}">
                  <a16:creationId xmlns:a16="http://schemas.microsoft.com/office/drawing/2014/main" id="{2277AFB1-D04C-427A-AE8E-190F7272BF26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4D33EF41-E035-4F39-AFE5-0CCE2838A846}"/>
              </a:ext>
            </a:extLst>
          </p:cNvPr>
          <p:cNvSpPr/>
          <p:nvPr/>
        </p:nvSpPr>
        <p:spPr>
          <a:xfrm>
            <a:off x="3642746" y="4455042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DF701C65-3B83-476E-BAB1-A3EBC13E16D7}"/>
              </a:ext>
            </a:extLst>
          </p:cNvPr>
          <p:cNvGrpSpPr/>
          <p:nvPr/>
        </p:nvGrpSpPr>
        <p:grpSpPr>
          <a:xfrm>
            <a:off x="4650817" y="4744588"/>
            <a:ext cx="2019650" cy="562421"/>
            <a:chOff x="766908" y="5312341"/>
            <a:chExt cx="2019650" cy="562421"/>
          </a:xfrm>
        </p:grpSpPr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C4C25C37-8F47-48CF-8AE0-BC17F839577E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823166D5-4649-4D8E-97BE-D9E52F4D32E7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D031C4EA-2399-4ACB-ABBD-BA00DD58108F}"/>
              </a:ext>
            </a:extLst>
          </p:cNvPr>
          <p:cNvGrpSpPr/>
          <p:nvPr/>
        </p:nvGrpSpPr>
        <p:grpSpPr>
          <a:xfrm>
            <a:off x="4733501" y="3476554"/>
            <a:ext cx="1944000" cy="1189703"/>
            <a:chOff x="3925318" y="3675504"/>
            <a:chExt cx="1124954" cy="765997"/>
          </a:xfrm>
        </p:grpSpPr>
        <p:sp>
          <p:nvSpPr>
            <p:cNvPr id="127" name="사각형: 둥근 모서리 126">
              <a:extLst>
                <a:ext uri="{FF2B5EF4-FFF2-40B4-BE49-F238E27FC236}">
                  <a16:creationId xmlns:a16="http://schemas.microsoft.com/office/drawing/2014/main" id="{BFAC1251-7242-4BDF-8206-D59C8E498D91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28" name="직선 연결선 127">
              <a:extLst>
                <a:ext uri="{FF2B5EF4-FFF2-40B4-BE49-F238E27FC236}">
                  <a16:creationId xmlns:a16="http://schemas.microsoft.com/office/drawing/2014/main" id="{0DE7360F-75B9-4776-ABDA-6452C020FAF7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직선 연결선 128">
              <a:extLst>
                <a:ext uri="{FF2B5EF4-FFF2-40B4-BE49-F238E27FC236}">
                  <a16:creationId xmlns:a16="http://schemas.microsoft.com/office/drawing/2014/main" id="{0CB61FAE-DC7B-4FDE-BDC7-9100A3695DF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E3614690-9D82-4EB0-8C12-B4E2D29D5641}"/>
              </a:ext>
            </a:extLst>
          </p:cNvPr>
          <p:cNvGrpSpPr/>
          <p:nvPr/>
        </p:nvGrpSpPr>
        <p:grpSpPr>
          <a:xfrm>
            <a:off x="4719036" y="5406416"/>
            <a:ext cx="1795182" cy="389623"/>
            <a:chOff x="2640783" y="6163907"/>
            <a:chExt cx="1795182" cy="389623"/>
          </a:xfrm>
        </p:grpSpPr>
        <p:grpSp>
          <p:nvGrpSpPr>
            <p:cNvPr id="131" name="그룹 130">
              <a:extLst>
                <a:ext uri="{FF2B5EF4-FFF2-40B4-BE49-F238E27FC236}">
                  <a16:creationId xmlns:a16="http://schemas.microsoft.com/office/drawing/2014/main" id="{560E2364-1245-4C40-BD13-52B3C6C8ADCE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96DA630B-7A38-4C08-9FDF-28865551C44C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99187DB2-09A4-44D5-AE0E-D7E1A3287234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A7121863-8F10-4CBF-BEE9-723A02305D44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2D1DAC0A-C155-46C8-A5B7-C09E48FEF445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36" name="그룹 135">
            <a:extLst>
              <a:ext uri="{FF2B5EF4-FFF2-40B4-BE49-F238E27FC236}">
                <a16:creationId xmlns:a16="http://schemas.microsoft.com/office/drawing/2014/main" id="{AD924326-5511-4984-A51C-8C1C5C74EE0E}"/>
              </a:ext>
            </a:extLst>
          </p:cNvPr>
          <p:cNvGrpSpPr/>
          <p:nvPr/>
        </p:nvGrpSpPr>
        <p:grpSpPr>
          <a:xfrm>
            <a:off x="5567712" y="3912620"/>
            <a:ext cx="317115" cy="317115"/>
            <a:chOff x="1519093" y="5661249"/>
            <a:chExt cx="504056" cy="504056"/>
          </a:xfrm>
        </p:grpSpPr>
        <p:sp>
          <p:nvSpPr>
            <p:cNvPr id="137" name="타원 136">
              <a:extLst>
                <a:ext uri="{FF2B5EF4-FFF2-40B4-BE49-F238E27FC236}">
                  <a16:creationId xmlns:a16="http://schemas.microsoft.com/office/drawing/2014/main" id="{16691763-D351-4A87-8768-364170C410B4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39" name="이등변 삼각형 138">
              <a:extLst>
                <a:ext uri="{FF2B5EF4-FFF2-40B4-BE49-F238E27FC236}">
                  <a16:creationId xmlns:a16="http://schemas.microsoft.com/office/drawing/2014/main" id="{BC0EA3C1-04F6-451A-8A10-C5AFD833267E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0F258293-B507-4055-A41E-A4EE429CE286}"/>
              </a:ext>
            </a:extLst>
          </p:cNvPr>
          <p:cNvSpPr/>
          <p:nvPr/>
        </p:nvSpPr>
        <p:spPr>
          <a:xfrm>
            <a:off x="5768458" y="4455042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4AAAB452-7338-438D-8F08-D4882553442C}"/>
              </a:ext>
            </a:extLst>
          </p:cNvPr>
          <p:cNvGrpSpPr/>
          <p:nvPr/>
        </p:nvGrpSpPr>
        <p:grpSpPr>
          <a:xfrm>
            <a:off x="6776757" y="4753813"/>
            <a:ext cx="2019650" cy="562421"/>
            <a:chOff x="766908" y="5312341"/>
            <a:chExt cx="2019650" cy="562421"/>
          </a:xfrm>
        </p:grpSpPr>
        <p:sp>
          <p:nvSpPr>
            <p:cNvPr id="142" name="직사각형 141">
              <a:extLst>
                <a:ext uri="{FF2B5EF4-FFF2-40B4-BE49-F238E27FC236}">
                  <a16:creationId xmlns:a16="http://schemas.microsoft.com/office/drawing/2014/main" id="{F5CC60D8-7155-4952-AF4D-F3852513F3BC}"/>
                </a:ext>
              </a:extLst>
            </p:cNvPr>
            <p:cNvSpPr/>
            <p:nvPr/>
          </p:nvSpPr>
          <p:spPr>
            <a:xfrm>
              <a:off x="766908" y="5312341"/>
              <a:ext cx="2019650" cy="20799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20000"/>
                </a:lnSpc>
              </a:pPr>
              <a:r>
                <a:rPr lang="en-US" altLang="ko-KR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ESG 2.0 </a:t>
              </a:r>
              <a:r>
                <a:rPr lang="ko-KR" altLang="en-US" sz="9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 관리와 공시 고도화</a:t>
              </a:r>
            </a:p>
          </p:txBody>
        </p:sp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412CDFD4-BA29-42EC-887B-6B8308B57EB6}"/>
                </a:ext>
              </a:extLst>
            </p:cNvPr>
            <p:cNvSpPr/>
            <p:nvPr/>
          </p:nvSpPr>
          <p:spPr>
            <a:xfrm>
              <a:off x="766909" y="5662453"/>
              <a:ext cx="1944716" cy="212309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50000"/>
                </a:lnSpc>
              </a:pPr>
              <a:r>
                <a:rPr lang="en-US" altLang="ko-KR" sz="9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023.06.30</a:t>
              </a:r>
            </a:p>
          </p:txBody>
        </p: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58BEE53F-38D4-46A4-B076-AD3ECCD606DF}"/>
              </a:ext>
            </a:extLst>
          </p:cNvPr>
          <p:cNvGrpSpPr/>
          <p:nvPr/>
        </p:nvGrpSpPr>
        <p:grpSpPr>
          <a:xfrm>
            <a:off x="6859441" y="3485779"/>
            <a:ext cx="1944000" cy="1189703"/>
            <a:chOff x="3925318" y="3675504"/>
            <a:chExt cx="1124954" cy="765997"/>
          </a:xfrm>
        </p:grpSpPr>
        <p:sp>
          <p:nvSpPr>
            <p:cNvPr id="145" name="사각형: 둥근 모서리 144">
              <a:extLst>
                <a:ext uri="{FF2B5EF4-FFF2-40B4-BE49-F238E27FC236}">
                  <a16:creationId xmlns:a16="http://schemas.microsoft.com/office/drawing/2014/main" id="{4007B8E1-CF81-4FE1-B672-4B29FABE3C6A}"/>
                </a:ext>
              </a:extLst>
            </p:cNvPr>
            <p:cNvSpPr/>
            <p:nvPr/>
          </p:nvSpPr>
          <p:spPr>
            <a:xfrm>
              <a:off x="3925318" y="3675504"/>
              <a:ext cx="1124954" cy="765997"/>
            </a:xfrm>
            <a:prstGeom prst="roundRect">
              <a:avLst>
                <a:gd name="adj" fmla="val 7151"/>
              </a:avLst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cxnSp>
          <p:nvCxnSpPr>
            <p:cNvPr id="146" name="직선 연결선 145">
              <a:extLst>
                <a:ext uri="{FF2B5EF4-FFF2-40B4-BE49-F238E27FC236}">
                  <a16:creationId xmlns:a16="http://schemas.microsoft.com/office/drawing/2014/main" id="{03B41BCB-F55D-4365-97BD-228FE35532A9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68" y="3699306"/>
              <a:ext cx="1110566" cy="71984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직선 연결선 146">
              <a:extLst>
                <a:ext uri="{FF2B5EF4-FFF2-40B4-BE49-F238E27FC236}">
                  <a16:creationId xmlns:a16="http://schemas.microsoft.com/office/drawing/2014/main" id="{17E61AD2-9BEB-4345-807E-F30093042D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35668" y="3693713"/>
              <a:ext cx="1110565" cy="73035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33D4607C-37BF-45F9-BC22-411DF817938F}"/>
              </a:ext>
            </a:extLst>
          </p:cNvPr>
          <p:cNvGrpSpPr/>
          <p:nvPr/>
        </p:nvGrpSpPr>
        <p:grpSpPr>
          <a:xfrm>
            <a:off x="6844976" y="5415641"/>
            <a:ext cx="1795182" cy="389623"/>
            <a:chOff x="2640783" y="6163907"/>
            <a:chExt cx="1795182" cy="389623"/>
          </a:xfrm>
        </p:grpSpPr>
        <p:grpSp>
          <p:nvGrpSpPr>
            <p:cNvPr id="149" name="그룹 148">
              <a:extLst>
                <a:ext uri="{FF2B5EF4-FFF2-40B4-BE49-F238E27FC236}">
                  <a16:creationId xmlns:a16="http://schemas.microsoft.com/office/drawing/2014/main" id="{DE7F78B6-9CA0-4DA2-BE8B-824A8D59A4C1}"/>
                </a:ext>
              </a:extLst>
            </p:cNvPr>
            <p:cNvGrpSpPr/>
            <p:nvPr/>
          </p:nvGrpSpPr>
          <p:grpSpPr>
            <a:xfrm>
              <a:off x="2672310" y="6163907"/>
              <a:ext cx="1274034" cy="155552"/>
              <a:chOff x="3287688" y="7159620"/>
              <a:chExt cx="1069338" cy="218101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83A01D9E-F520-4BFF-961C-8BF3715A377B}"/>
                  </a:ext>
                </a:extLst>
              </p:cNvPr>
              <p:cNvSpPr/>
              <p:nvPr/>
            </p:nvSpPr>
            <p:spPr>
              <a:xfrm>
                <a:off x="3287688" y="7159620"/>
                <a:ext cx="245101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공시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9A369868-9E52-4350-94CD-5AF5CF419329}"/>
                  </a:ext>
                </a:extLst>
              </p:cNvPr>
              <p:cNvSpPr/>
              <p:nvPr/>
            </p:nvSpPr>
            <p:spPr>
              <a:xfrm>
                <a:off x="3582719" y="7159620"/>
                <a:ext cx="490804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ESG</a:t>
                </a:r>
                <a:r>
                  <a:rPr lang="ko-KR" altLang="en-US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반</a:t>
                </a:r>
              </a:p>
            </p:txBody>
          </p:sp>
          <p:sp>
            <p:nvSpPr>
              <p:cNvPr id="153" name="직사각형 152">
                <a:extLst>
                  <a:ext uri="{FF2B5EF4-FFF2-40B4-BE49-F238E27FC236}">
                    <a16:creationId xmlns:a16="http://schemas.microsoft.com/office/drawing/2014/main" id="{126B481B-F3E6-4B4F-B13D-65099FA5453D}"/>
                  </a:ext>
                </a:extLst>
              </p:cNvPr>
              <p:cNvSpPr/>
              <p:nvPr/>
            </p:nvSpPr>
            <p:spPr>
              <a:xfrm>
                <a:off x="4106199" y="7159620"/>
                <a:ext cx="250827" cy="2181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 anchorCtr="0"/>
              <a:lstStyle/>
              <a:p>
                <a:pPr algn="ctr"/>
                <a:r>
                  <a:rPr lang="en-US" altLang="ko-KR" sz="900" spc="-5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GRI</a:t>
                </a:r>
                <a:endPara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4FB3D731-9F9E-4628-8EB6-C289663671B9}"/>
                </a:ext>
              </a:extLst>
            </p:cNvPr>
            <p:cNvSpPr/>
            <p:nvPr/>
          </p:nvSpPr>
          <p:spPr>
            <a:xfrm>
              <a:off x="2640783" y="6397978"/>
              <a:ext cx="1795182" cy="155552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GRI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</a:t>
              </a:r>
              <a:r>
                <a:rPr lang="ko-KR" altLang="en-US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지속가능경영 </a:t>
              </a:r>
              <a:r>
                <a:rPr lang="en-US" altLang="ko-KR" sz="900" spc="-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# EU</a:t>
              </a:r>
              <a:endParaRPr lang="ko-KR" altLang="en-US" sz="90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54" name="그룹 153">
            <a:extLst>
              <a:ext uri="{FF2B5EF4-FFF2-40B4-BE49-F238E27FC236}">
                <a16:creationId xmlns:a16="http://schemas.microsoft.com/office/drawing/2014/main" id="{D1D0C854-D0E8-420D-A1D8-846772671CBF}"/>
              </a:ext>
            </a:extLst>
          </p:cNvPr>
          <p:cNvGrpSpPr/>
          <p:nvPr/>
        </p:nvGrpSpPr>
        <p:grpSpPr>
          <a:xfrm>
            <a:off x="7693652" y="3921845"/>
            <a:ext cx="317115" cy="317115"/>
            <a:chOff x="1519093" y="5661249"/>
            <a:chExt cx="504056" cy="504056"/>
          </a:xfrm>
        </p:grpSpPr>
        <p:sp>
          <p:nvSpPr>
            <p:cNvPr id="155" name="타원 154">
              <a:extLst>
                <a:ext uri="{FF2B5EF4-FFF2-40B4-BE49-F238E27FC236}">
                  <a16:creationId xmlns:a16="http://schemas.microsoft.com/office/drawing/2014/main" id="{0CEA7D8D-B078-41A9-8940-71C00B85DD52}"/>
                </a:ext>
              </a:extLst>
            </p:cNvPr>
            <p:cNvSpPr/>
            <p:nvPr/>
          </p:nvSpPr>
          <p:spPr>
            <a:xfrm>
              <a:off x="1519093" y="5661249"/>
              <a:ext cx="504056" cy="504056"/>
            </a:xfrm>
            <a:prstGeom prst="ellipse">
              <a:avLst/>
            </a:prstGeom>
            <a:solidFill>
              <a:srgbClr val="40404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56" name="이등변 삼각형 155">
              <a:extLst>
                <a:ext uri="{FF2B5EF4-FFF2-40B4-BE49-F238E27FC236}">
                  <a16:creationId xmlns:a16="http://schemas.microsoft.com/office/drawing/2014/main" id="{D9572644-863D-471B-BCF0-539E6A41B237}"/>
                </a:ext>
              </a:extLst>
            </p:cNvPr>
            <p:cNvSpPr/>
            <p:nvPr/>
          </p:nvSpPr>
          <p:spPr>
            <a:xfrm rot="5400000">
              <a:off x="1678539" y="5818302"/>
              <a:ext cx="231566" cy="189950"/>
            </a:xfrm>
            <a:prstGeom prst="triangle">
              <a:avLst/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DEC3B75-6E2C-453C-B5D2-E9067B6BB376}"/>
              </a:ext>
            </a:extLst>
          </p:cNvPr>
          <p:cNvSpPr/>
          <p:nvPr/>
        </p:nvSpPr>
        <p:spPr>
          <a:xfrm>
            <a:off x="7894398" y="4464267"/>
            <a:ext cx="829148" cy="14812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H : MM : SS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76C59746-8F7D-4960-B01D-5FECCFA2B4B4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162" name="직사각형 161">
              <a:extLst>
                <a:ext uri="{FF2B5EF4-FFF2-40B4-BE49-F238E27FC236}">
                  <a16:creationId xmlns:a16="http://schemas.microsoft.com/office/drawing/2014/main" id="{AE5B386B-5069-483A-B41A-B82E149716E9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163" name="직선 연결선 162">
              <a:extLst>
                <a:ext uri="{FF2B5EF4-FFF2-40B4-BE49-F238E27FC236}">
                  <a16:creationId xmlns:a16="http://schemas.microsoft.com/office/drawing/2014/main" id="{5DF6D30C-268E-4A29-89D6-D020EFB8F142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직사각형 163">
              <a:extLst>
                <a:ext uri="{FF2B5EF4-FFF2-40B4-BE49-F238E27FC236}">
                  <a16:creationId xmlns:a16="http://schemas.microsoft.com/office/drawing/2014/main" id="{01401DBD-DEBF-4679-BBCF-EDB5394FDD6A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165" name="그룹 164">
              <a:extLst>
                <a:ext uri="{FF2B5EF4-FFF2-40B4-BE49-F238E27FC236}">
                  <a16:creationId xmlns:a16="http://schemas.microsoft.com/office/drawing/2014/main" id="{15480155-BF2F-4B5F-A8C8-CB714DEEB242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175" name="타원 174">
                <a:extLst>
                  <a:ext uri="{FF2B5EF4-FFF2-40B4-BE49-F238E27FC236}">
                    <a16:creationId xmlns:a16="http://schemas.microsoft.com/office/drawing/2014/main" id="{04E05391-40A1-4D4C-94CB-11589BEC2097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0EB6B221-1BB6-4FFE-A927-14BBBF36F620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6" name="사각형: 둥근 모서리 165">
              <a:extLst>
                <a:ext uri="{FF2B5EF4-FFF2-40B4-BE49-F238E27FC236}">
                  <a16:creationId xmlns:a16="http://schemas.microsoft.com/office/drawing/2014/main" id="{D0B25047-D214-47DB-BB05-1E2D04823056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167" name="사각형: 둥근 모서리 166">
              <a:extLst>
                <a:ext uri="{FF2B5EF4-FFF2-40B4-BE49-F238E27FC236}">
                  <a16:creationId xmlns:a16="http://schemas.microsoft.com/office/drawing/2014/main" id="{C6B784EA-3A46-4065-9FA4-068FFF5F1132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사각형: 둥근 모서리 167">
              <a:extLst>
                <a:ext uri="{FF2B5EF4-FFF2-40B4-BE49-F238E27FC236}">
                  <a16:creationId xmlns:a16="http://schemas.microsoft.com/office/drawing/2014/main" id="{54D8C55D-AD73-4A27-A1DA-19FAE4265E62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9" name="사각형: 둥근 모서리 168">
              <a:extLst>
                <a:ext uri="{FF2B5EF4-FFF2-40B4-BE49-F238E27FC236}">
                  <a16:creationId xmlns:a16="http://schemas.microsoft.com/office/drawing/2014/main" id="{D6AF1E05-1991-46EC-8D7D-34E222AA9AD8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0" name="사각형: 둥근 모서리 169">
              <a:extLst>
                <a:ext uri="{FF2B5EF4-FFF2-40B4-BE49-F238E27FC236}">
                  <a16:creationId xmlns:a16="http://schemas.microsoft.com/office/drawing/2014/main" id="{E0A1147A-8960-468B-AD28-878465B066C6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171" name="그룹 170">
              <a:extLst>
                <a:ext uri="{FF2B5EF4-FFF2-40B4-BE49-F238E27FC236}">
                  <a16:creationId xmlns:a16="http://schemas.microsoft.com/office/drawing/2014/main" id="{FA7CF920-0E4F-42C9-9971-29896A3190C2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172" name="사각형: 둥근 모서리 171">
                <a:extLst>
                  <a:ext uri="{FF2B5EF4-FFF2-40B4-BE49-F238E27FC236}">
                    <a16:creationId xmlns:a16="http://schemas.microsoft.com/office/drawing/2014/main" id="{C1B8C1C5-65FF-4B1C-967C-DF9D602D5F75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B88C08CB-238D-46B5-9518-DC337826E152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174" name="이등변 삼각형 173">
                <a:extLst>
                  <a:ext uri="{FF2B5EF4-FFF2-40B4-BE49-F238E27FC236}">
                    <a16:creationId xmlns:a16="http://schemas.microsoft.com/office/drawing/2014/main" id="{FD5C997F-0B1C-4855-8437-52FB2D3CA1FE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grpSp>
        <p:nvGrpSpPr>
          <p:cNvPr id="177" name="그룹 176">
            <a:extLst>
              <a:ext uri="{FF2B5EF4-FFF2-40B4-BE49-F238E27FC236}">
                <a16:creationId xmlns:a16="http://schemas.microsoft.com/office/drawing/2014/main" id="{B34E3F8F-28F4-4F26-866A-D3B49C2442CB}"/>
              </a:ext>
            </a:extLst>
          </p:cNvPr>
          <p:cNvGrpSpPr/>
          <p:nvPr/>
        </p:nvGrpSpPr>
        <p:grpSpPr>
          <a:xfrm>
            <a:off x="2415125" y="2923069"/>
            <a:ext cx="559062" cy="439813"/>
            <a:chOff x="383628" y="3754755"/>
            <a:chExt cx="452615" cy="356071"/>
          </a:xfrm>
        </p:grpSpPr>
        <p:sp>
          <p:nvSpPr>
            <p:cNvPr id="178" name="직사각형 177">
              <a:extLst>
                <a:ext uri="{FF2B5EF4-FFF2-40B4-BE49-F238E27FC236}">
                  <a16:creationId xmlns:a16="http://schemas.microsoft.com/office/drawing/2014/main" id="{11987821-74B0-4398-B1F8-7B07E6E8CBF2}"/>
                </a:ext>
              </a:extLst>
            </p:cNvPr>
            <p:cNvSpPr/>
            <p:nvPr/>
          </p:nvSpPr>
          <p:spPr>
            <a:xfrm>
              <a:off x="449050" y="3780814"/>
              <a:ext cx="334114" cy="3071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79" name="직사각형 178">
              <a:extLst>
                <a:ext uri="{FF2B5EF4-FFF2-40B4-BE49-F238E27FC236}">
                  <a16:creationId xmlns:a16="http://schemas.microsoft.com/office/drawing/2014/main" id="{A0D52559-DE63-4936-8B2A-41A55415FB75}"/>
                </a:ext>
              </a:extLst>
            </p:cNvPr>
            <p:cNvSpPr/>
            <p:nvPr/>
          </p:nvSpPr>
          <p:spPr>
            <a:xfrm>
              <a:off x="383628" y="3754755"/>
              <a:ext cx="452615" cy="356071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상세조회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  <a:p>
              <a:pPr algn="ctr">
                <a:lnSpc>
                  <a:spcPct val="130000"/>
                </a:lnSpc>
              </a:pPr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/>
                </a:rPr>
                <a:t>닫기</a:t>
              </a:r>
              <a:endPara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/>
              </a:endParaRPr>
            </a:p>
          </p:txBody>
        </p:sp>
      </p:grpSp>
      <p:pic>
        <p:nvPicPr>
          <p:cNvPr id="116" name="그림 115">
            <a:extLst>
              <a:ext uri="{FF2B5EF4-FFF2-40B4-BE49-F238E27FC236}">
                <a16:creationId xmlns:a16="http://schemas.microsoft.com/office/drawing/2014/main" id="{AA833F2D-6162-4C07-B578-CEED472B9F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9156" b="51967"/>
          <a:stretch/>
        </p:blipFill>
        <p:spPr>
          <a:xfrm>
            <a:off x="498788" y="2951586"/>
            <a:ext cx="2000391" cy="3451938"/>
          </a:xfrm>
          <a:prstGeom prst="rect">
            <a:avLst/>
          </a:prstGeom>
        </p:spPr>
      </p:pic>
      <p:grpSp>
        <p:nvGrpSpPr>
          <p:cNvPr id="96" name="그룹 95">
            <a:extLst>
              <a:ext uri="{FF2B5EF4-FFF2-40B4-BE49-F238E27FC236}">
                <a16:creationId xmlns:a16="http://schemas.microsoft.com/office/drawing/2014/main" id="{96579DEA-18F4-4ADA-951A-967CA7D38643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97" name="사각형: 둥근 모서리 96">
              <a:extLst>
                <a:ext uri="{FF2B5EF4-FFF2-40B4-BE49-F238E27FC236}">
                  <a16:creationId xmlns:a16="http://schemas.microsoft.com/office/drawing/2014/main" id="{125AFDE4-115B-42A7-B30E-3832A5F36367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,234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053E61AB-F7F3-42AB-93A3-96F2D6C75C9A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D8364DA7-7392-4839-8C51-631C8652BC19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7B4938FA-7CA7-4C8F-A387-738D09881286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C668065E-5001-43EF-AAEC-F5233A400304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EABC1AEB-0613-43C9-85C0-BA3087E6C37C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67316011-0B9E-491C-A6AD-8AA96B6504F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84A8400C-7425-42C9-81D4-52826B3345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75FEB7CA-F948-4CAF-A6B9-233F11CEFE65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3" name="그림 112">
              <a:extLst>
                <a:ext uri="{FF2B5EF4-FFF2-40B4-BE49-F238E27FC236}">
                  <a16:creationId xmlns:a16="http://schemas.microsoft.com/office/drawing/2014/main" id="{962455F5-71A7-4C89-9553-95DF9F7500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7DCCA6D8-3F9E-4386-93C2-97C9E079644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8" name="표 107">
            <a:extLst>
              <a:ext uri="{FF2B5EF4-FFF2-40B4-BE49-F238E27FC236}">
                <a16:creationId xmlns:a16="http://schemas.microsoft.com/office/drawing/2014/main" id="{2B677100-8FB8-4CD7-9A80-5F2C3D95A2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34915"/>
              </p:ext>
            </p:extLst>
          </p:nvPr>
        </p:nvGraphicFramePr>
        <p:xfrm>
          <a:off x="9275307" y="747926"/>
          <a:ext cx="2915868" cy="32795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  <a:gridCol w="2530085">
                  <a:extLst>
                    <a:ext uri="{9D8B030D-6E8A-4147-A177-3AD203B41FA5}">
                      <a16:colId xmlns:a16="http://schemas.microsoft.com/office/drawing/2014/main" val="493310492"/>
                    </a:ext>
                  </a:extLst>
                </a:gridCol>
              </a:tblGrid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영상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에 따른 영상 컨텐츠 총 건수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페이지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씩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네이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23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출력 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썸네일 이미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분량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②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컨텐츠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③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처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④ 발간일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⑤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키워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066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조회 필터 열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힘 버튼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조회 필터 기능 제공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힘 상태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74843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 기능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확도순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438546"/>
                  </a:ext>
                </a:extLst>
              </a:tr>
            </a:tbl>
          </a:graphicData>
        </a:graphic>
      </p:graphicFrame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F91DF5CC-F748-49BE-BC07-46DFFA24E76C}"/>
              </a:ext>
            </a:extLst>
          </p:cNvPr>
          <p:cNvSpPr/>
          <p:nvPr/>
        </p:nvSpPr>
        <p:spPr>
          <a:xfrm>
            <a:off x="2961584" y="29525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A5D4D5AE-5791-4CDB-8062-4B0F180ED8D9}"/>
              </a:ext>
            </a:extLst>
          </p:cNvPr>
          <p:cNvSpPr/>
          <p:nvPr/>
        </p:nvSpPr>
        <p:spPr>
          <a:xfrm>
            <a:off x="2497382" y="2947831"/>
            <a:ext cx="415834" cy="462596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800" dirty="0">
                <a:solidFill>
                  <a:srgbClr val="FF0000"/>
                </a:solidFill>
                <a:latin typeface="+mn-ea"/>
                <a:cs typeface="Segoe UI" panose="020B0502040204020203" pitchFamily="34" charset="0"/>
              </a:rPr>
              <a:t>제거</a:t>
            </a:r>
          </a:p>
        </p:txBody>
      </p: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DC79ADEA-8C40-46C5-AD81-B64512F96662}"/>
              </a:ext>
            </a:extLst>
          </p:cNvPr>
          <p:cNvSpPr/>
          <p:nvPr/>
        </p:nvSpPr>
        <p:spPr>
          <a:xfrm>
            <a:off x="6010684" y="3079423"/>
            <a:ext cx="2890189" cy="17765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발간일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신순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순 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확도순</a:t>
            </a: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295B70F5-D8AC-4442-A943-CAD1A1005EF2}"/>
              </a:ext>
            </a:extLst>
          </p:cNvPr>
          <p:cNvSpPr/>
          <p:nvPr/>
        </p:nvSpPr>
        <p:spPr>
          <a:xfrm>
            <a:off x="6223067" y="30907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D0A96F4-0A68-4A91-8037-54A1ED782232}"/>
              </a:ext>
            </a:extLst>
          </p:cNvPr>
          <p:cNvSpPr/>
          <p:nvPr/>
        </p:nvSpPr>
        <p:spPr>
          <a:xfrm>
            <a:off x="2544432" y="3410427"/>
            <a:ext cx="2082876" cy="2505899"/>
          </a:xfrm>
          <a:prstGeom prst="rect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38" name="사각형: 둥근 모서리 137">
            <a:extLst>
              <a:ext uri="{FF2B5EF4-FFF2-40B4-BE49-F238E27FC236}">
                <a16:creationId xmlns:a16="http://schemas.microsoft.com/office/drawing/2014/main" id="{377144AD-72D4-47D2-BE74-2EE3AC0AADFE}"/>
              </a:ext>
            </a:extLst>
          </p:cNvPr>
          <p:cNvSpPr/>
          <p:nvPr/>
        </p:nvSpPr>
        <p:spPr>
          <a:xfrm>
            <a:off x="2518166" y="33745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3DF68410-5D7A-4A98-82A2-54DA6DA3F957}"/>
              </a:ext>
            </a:extLst>
          </p:cNvPr>
          <p:cNvSpPr/>
          <p:nvPr/>
        </p:nvSpPr>
        <p:spPr>
          <a:xfrm>
            <a:off x="9273919" y="-16431"/>
            <a:ext cx="2915306" cy="527501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디스크립션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위치 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379128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840700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없음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합검색결과가 없을 경우 출력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76C59746-8F7D-4960-B01D-5FECCFA2B4B4}"/>
              </a:ext>
            </a:extLst>
          </p:cNvPr>
          <p:cNvGrpSpPr/>
          <p:nvPr/>
        </p:nvGrpSpPr>
        <p:grpSpPr>
          <a:xfrm>
            <a:off x="441010" y="1478166"/>
            <a:ext cx="3879337" cy="592510"/>
            <a:chOff x="441010" y="1478166"/>
            <a:chExt cx="3879337" cy="592510"/>
          </a:xfrm>
        </p:grpSpPr>
        <p:cxnSp>
          <p:nvCxnSpPr>
            <p:cNvPr id="163" name="직선 연결선 162">
              <a:extLst>
                <a:ext uri="{FF2B5EF4-FFF2-40B4-BE49-F238E27FC236}">
                  <a16:creationId xmlns:a16="http://schemas.microsoft.com/office/drawing/2014/main" id="{5DF6D30C-268E-4A29-89D6-D020EFB8F142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직사각형 163">
              <a:extLst>
                <a:ext uri="{FF2B5EF4-FFF2-40B4-BE49-F238E27FC236}">
                  <a16:creationId xmlns:a16="http://schemas.microsoft.com/office/drawing/2014/main" id="{01401DBD-DEBF-4679-BBCF-EDB5394FDD6A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165" name="그룹 164">
              <a:extLst>
                <a:ext uri="{FF2B5EF4-FFF2-40B4-BE49-F238E27FC236}">
                  <a16:creationId xmlns:a16="http://schemas.microsoft.com/office/drawing/2014/main" id="{15480155-BF2F-4B5F-A8C8-CB714DEEB242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175" name="타원 174">
                <a:extLst>
                  <a:ext uri="{FF2B5EF4-FFF2-40B4-BE49-F238E27FC236}">
                    <a16:creationId xmlns:a16="http://schemas.microsoft.com/office/drawing/2014/main" id="{04E05391-40A1-4D4C-94CB-11589BEC2097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0EB6B221-1BB6-4FFE-A927-14BBBF36F620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71" name="그룹 170">
              <a:extLst>
                <a:ext uri="{FF2B5EF4-FFF2-40B4-BE49-F238E27FC236}">
                  <a16:creationId xmlns:a16="http://schemas.microsoft.com/office/drawing/2014/main" id="{FA7CF920-0E4F-42C9-9971-29896A3190C2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172" name="사각형: 둥근 모서리 171">
                <a:extLst>
                  <a:ext uri="{FF2B5EF4-FFF2-40B4-BE49-F238E27FC236}">
                    <a16:creationId xmlns:a16="http://schemas.microsoft.com/office/drawing/2014/main" id="{C1B8C1C5-65FF-4B1C-967C-DF9D602D5F75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B88C08CB-238D-46B5-9518-DC337826E152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174" name="이등변 삼각형 173">
                <a:extLst>
                  <a:ext uri="{FF2B5EF4-FFF2-40B4-BE49-F238E27FC236}">
                    <a16:creationId xmlns:a16="http://schemas.microsoft.com/office/drawing/2014/main" id="{FD5C997F-0B1C-4855-8437-52FB2D3CA1FE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grpSp>
        <p:nvGrpSpPr>
          <p:cNvPr id="96" name="그룹 95">
            <a:extLst>
              <a:ext uri="{FF2B5EF4-FFF2-40B4-BE49-F238E27FC236}">
                <a16:creationId xmlns:a16="http://schemas.microsoft.com/office/drawing/2014/main" id="{96579DEA-18F4-4ADA-951A-967CA7D38643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97" name="사각형: 둥근 모서리 96">
              <a:extLst>
                <a:ext uri="{FF2B5EF4-FFF2-40B4-BE49-F238E27FC236}">
                  <a16:creationId xmlns:a16="http://schemas.microsoft.com/office/drawing/2014/main" id="{125AFDE4-115B-42A7-B30E-3832A5F36367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053E61AB-F7F3-42AB-93A3-96F2D6C75C9A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D8364DA7-7392-4839-8C51-631C8652BC19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7B4938FA-7CA7-4C8F-A387-738D09881286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C668065E-5001-43EF-AAEC-F5233A400304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</a:p>
          </p:txBody>
        </p:sp>
      </p:grp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EABC1AEB-0613-43C9-85C0-BA3087E6C37C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67316011-0B9E-491C-A6AD-8AA96B6504F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84A8400C-7425-42C9-81D4-52826B3345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75FEB7CA-F948-4CAF-A6B9-233F11CEFE65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3" name="그림 112">
              <a:extLst>
                <a:ext uri="{FF2B5EF4-FFF2-40B4-BE49-F238E27FC236}">
                  <a16:creationId xmlns:a16="http://schemas.microsoft.com/office/drawing/2014/main" id="{962455F5-71A7-4C89-9553-95DF9F7500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7DCCA6D8-3F9E-4386-93C2-97C9E079644D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8861E218-4630-4E6E-A90F-B9B92A4EB0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6025" y="3837775"/>
            <a:ext cx="679594" cy="67959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4CE53F0A-C112-4C84-BC94-59893CEE527E}"/>
              </a:ext>
            </a:extLst>
          </p:cNvPr>
          <p:cNvSpPr/>
          <p:nvPr/>
        </p:nvSpPr>
        <p:spPr>
          <a:xfrm>
            <a:off x="2056000" y="4689605"/>
            <a:ext cx="5261299" cy="66056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>
              <a:lnSpc>
                <a:spcPct val="12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결과가 없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2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어를 다시 확인해주세요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2C419FB-CD26-4ED0-867B-5A1482187E5E}"/>
              </a:ext>
            </a:extLst>
          </p:cNvPr>
          <p:cNvSpPr/>
          <p:nvPr/>
        </p:nvSpPr>
        <p:spPr>
          <a:xfrm>
            <a:off x="9083803" y="12071"/>
            <a:ext cx="3108197" cy="9445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strike="sngStrike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화면 추가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16250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346415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결과 없음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선택 했을 때 결과가 없을 경우 출력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22B2B488-6E41-4BDF-8488-6542AF4EEBAD}"/>
              </a:ext>
            </a:extLst>
          </p:cNvPr>
          <p:cNvGrpSpPr/>
          <p:nvPr/>
        </p:nvGrpSpPr>
        <p:grpSpPr>
          <a:xfrm>
            <a:off x="422773" y="1478166"/>
            <a:ext cx="4474880" cy="899843"/>
            <a:chOff x="422773" y="1478166"/>
            <a:chExt cx="4474880" cy="899843"/>
          </a:xfrm>
        </p:grpSpPr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D555BA25-E0E7-4158-9249-219A5DE6097C}"/>
                </a:ext>
              </a:extLst>
            </p:cNvPr>
            <p:cNvSpPr/>
            <p:nvPr/>
          </p:nvSpPr>
          <p:spPr>
            <a:xfrm>
              <a:off x="422773" y="2132826"/>
              <a:ext cx="758120" cy="230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관 검색어 </a:t>
              </a:r>
            </a:p>
          </p:txBody>
        </p:sp>
        <p:cxnSp>
          <p:nvCxnSpPr>
            <p:cNvPr id="61" name="직선 연결선 60">
              <a:extLst>
                <a:ext uri="{FF2B5EF4-FFF2-40B4-BE49-F238E27FC236}">
                  <a16:creationId xmlns:a16="http://schemas.microsoft.com/office/drawing/2014/main" id="{7DB10724-DB18-430D-8801-919E6A785348}"/>
                </a:ext>
              </a:extLst>
            </p:cNvPr>
            <p:cNvCxnSpPr>
              <a:cxnSpLocks/>
            </p:cNvCxnSpPr>
            <p:nvPr/>
          </p:nvCxnSpPr>
          <p:spPr>
            <a:xfrm>
              <a:off x="513284" y="2070676"/>
              <a:ext cx="3807063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58A62F21-A7D9-4541-AABB-7AE9B507F7AE}"/>
                </a:ext>
              </a:extLst>
            </p:cNvPr>
            <p:cNvSpPr/>
            <p:nvPr/>
          </p:nvSpPr>
          <p:spPr>
            <a:xfrm>
              <a:off x="441010" y="1709718"/>
              <a:ext cx="2911560" cy="265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2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실가스</a:t>
              </a:r>
            </a:p>
          </p:txBody>
        </p:sp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F6CF6C04-CAE5-4593-8E8A-CDAF5ED63212}"/>
                </a:ext>
              </a:extLst>
            </p:cNvPr>
            <p:cNvGrpSpPr/>
            <p:nvPr/>
          </p:nvGrpSpPr>
          <p:grpSpPr>
            <a:xfrm>
              <a:off x="4003622" y="1781112"/>
              <a:ext cx="316725" cy="194443"/>
              <a:chOff x="5288280" y="1965352"/>
              <a:chExt cx="316725" cy="194443"/>
            </a:xfrm>
          </p:grpSpPr>
          <p:sp>
            <p:nvSpPr>
              <p:cNvPr id="75" name="타원 74">
                <a:extLst>
                  <a:ext uri="{FF2B5EF4-FFF2-40B4-BE49-F238E27FC236}">
                    <a16:creationId xmlns:a16="http://schemas.microsoft.com/office/drawing/2014/main" id="{AA2230F2-7E62-4D32-ADB9-2E49D5798A69}"/>
                  </a:ext>
                </a:extLst>
              </p:cNvPr>
              <p:cNvSpPr/>
              <p:nvPr/>
            </p:nvSpPr>
            <p:spPr>
              <a:xfrm>
                <a:off x="5375921" y="2011954"/>
                <a:ext cx="147841" cy="147841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직사각형 75">
                <a:extLst>
                  <a:ext uri="{FF2B5EF4-FFF2-40B4-BE49-F238E27FC236}">
                    <a16:creationId xmlns:a16="http://schemas.microsoft.com/office/drawing/2014/main" id="{FC6A7422-24E0-430E-B26F-52D26E3D08CB}"/>
                  </a:ext>
                </a:extLst>
              </p:cNvPr>
              <p:cNvSpPr/>
              <p:nvPr/>
            </p:nvSpPr>
            <p:spPr>
              <a:xfrm>
                <a:off x="5288280" y="1965352"/>
                <a:ext cx="316725" cy="147841"/>
              </a:xfrm>
              <a:prstGeom prst="rect">
                <a:avLst/>
              </a:prstGeom>
              <a:noFill/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r>
                  <a:rPr lang="en-US" altLang="ko-KR" sz="800" b="1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X</a:t>
                </a: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64" name="사각형: 둥근 모서리 63">
              <a:extLst>
                <a:ext uri="{FF2B5EF4-FFF2-40B4-BE49-F238E27FC236}">
                  <a16:creationId xmlns:a16="http://schemas.microsoft.com/office/drawing/2014/main" id="{CE721294-1468-4335-9E19-E3983AA26142}"/>
                </a:ext>
              </a:extLst>
            </p:cNvPr>
            <p:cNvSpPr/>
            <p:nvPr/>
          </p:nvSpPr>
          <p:spPr>
            <a:xfrm>
              <a:off x="1152889" y="2185203"/>
              <a:ext cx="743901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탄소국경세</a:t>
              </a:r>
            </a:p>
          </p:txBody>
        </p: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F794B798-A45A-4336-B775-E69B13D9B6EB}"/>
                </a:ext>
              </a:extLst>
            </p:cNvPr>
            <p:cNvSpPr/>
            <p:nvPr/>
          </p:nvSpPr>
          <p:spPr>
            <a:xfrm>
              <a:off x="1984431" y="2185203"/>
              <a:ext cx="521728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넷제로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6" name="사각형: 둥근 모서리 65">
              <a:extLst>
                <a:ext uri="{FF2B5EF4-FFF2-40B4-BE49-F238E27FC236}">
                  <a16:creationId xmlns:a16="http://schemas.microsoft.com/office/drawing/2014/main" id="{E5B3910A-AC8C-41A0-8825-C569992BCD9F}"/>
                </a:ext>
              </a:extLst>
            </p:cNvPr>
            <p:cNvSpPr/>
            <p:nvPr/>
          </p:nvSpPr>
          <p:spPr>
            <a:xfrm>
              <a:off x="2593800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후리스크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CDA6CBD1-34B5-4078-B3EA-2E234794DA24}"/>
                </a:ext>
              </a:extLst>
            </p:cNvPr>
            <p:cNvSpPr/>
            <p:nvPr/>
          </p:nvSpPr>
          <p:spPr>
            <a:xfrm>
              <a:off x="3439561" y="2185203"/>
              <a:ext cx="612333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TCFD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8" name="사각형: 둥근 모서리 67">
              <a:extLst>
                <a:ext uri="{FF2B5EF4-FFF2-40B4-BE49-F238E27FC236}">
                  <a16:creationId xmlns:a16="http://schemas.microsoft.com/office/drawing/2014/main" id="{A6FD4342-E6B9-4734-B911-054441BC2C69}"/>
                </a:ext>
              </a:extLst>
            </p:cNvPr>
            <p:cNvSpPr/>
            <p:nvPr/>
          </p:nvSpPr>
          <p:spPr>
            <a:xfrm>
              <a:off x="4139533" y="2185203"/>
              <a:ext cx="758120" cy="192806"/>
            </a:xfrm>
            <a:prstGeom prst="roundRect">
              <a:avLst>
                <a:gd name="adj" fmla="val 28132"/>
              </a:avLst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COPE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25D6FE23-E59D-4533-BE62-87E35F6E3F76}"/>
                </a:ext>
              </a:extLst>
            </p:cNvPr>
            <p:cNvGrpSpPr/>
            <p:nvPr/>
          </p:nvGrpSpPr>
          <p:grpSpPr>
            <a:xfrm>
              <a:off x="460873" y="1478166"/>
              <a:ext cx="736032" cy="213874"/>
              <a:chOff x="7152858" y="1880698"/>
              <a:chExt cx="736032" cy="213874"/>
            </a:xfrm>
          </p:grpSpPr>
          <p:sp>
            <p:nvSpPr>
              <p:cNvPr id="71" name="사각형: 둥근 모서리 70">
                <a:extLst>
                  <a:ext uri="{FF2B5EF4-FFF2-40B4-BE49-F238E27FC236}">
                    <a16:creationId xmlns:a16="http://schemas.microsoft.com/office/drawing/2014/main" id="{CD81437A-7849-4E46-A8B0-BCB38D6C2CF2}"/>
                  </a:ext>
                </a:extLst>
              </p:cNvPr>
              <p:cNvSpPr/>
              <p:nvPr/>
            </p:nvSpPr>
            <p:spPr>
              <a:xfrm>
                <a:off x="7176120" y="1880698"/>
                <a:ext cx="648072" cy="21387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AFA18188-BF43-4B96-BA50-016C294FBFDF}"/>
                  </a:ext>
                </a:extLst>
              </p:cNvPr>
              <p:cNvSpPr/>
              <p:nvPr/>
            </p:nvSpPr>
            <p:spPr>
              <a:xfrm>
                <a:off x="7152858" y="1883553"/>
                <a:ext cx="736032" cy="1973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통합검색</a:t>
                </a:r>
              </a:p>
            </p:txBody>
          </p:sp>
          <p:sp>
            <p:nvSpPr>
              <p:cNvPr id="73" name="이등변 삼각형 72">
                <a:extLst>
                  <a:ext uri="{FF2B5EF4-FFF2-40B4-BE49-F238E27FC236}">
                    <a16:creationId xmlns:a16="http://schemas.microsoft.com/office/drawing/2014/main" id="{BD7240D8-93E7-4806-978E-F9E998AC51E2}"/>
                  </a:ext>
                </a:extLst>
              </p:cNvPr>
              <p:cNvSpPr/>
              <p:nvPr/>
            </p:nvSpPr>
            <p:spPr>
              <a:xfrm flipV="1">
                <a:off x="7698441" y="1961619"/>
                <a:ext cx="45719" cy="4571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/>
              </a:p>
            </p:txBody>
          </p:sp>
        </p:grpSp>
      </p:grp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3CADD10A-3CCA-43B4-ADB9-2B53F724BBA4}"/>
              </a:ext>
            </a:extLst>
          </p:cNvPr>
          <p:cNvGrpSpPr/>
          <p:nvPr/>
        </p:nvGrpSpPr>
        <p:grpSpPr>
          <a:xfrm>
            <a:off x="471546" y="2564904"/>
            <a:ext cx="6445198" cy="229895"/>
            <a:chOff x="471546" y="2623041"/>
            <a:chExt cx="6445198" cy="229895"/>
          </a:xfrm>
        </p:grpSpPr>
        <p:sp>
          <p:nvSpPr>
            <p:cNvPr id="110" name="사각형: 둥근 모서리 109">
              <a:extLst>
                <a:ext uri="{FF2B5EF4-FFF2-40B4-BE49-F238E27FC236}">
                  <a16:creationId xmlns:a16="http://schemas.microsoft.com/office/drawing/2014/main" id="{CCCBED1A-AE91-48F2-A0FC-6D257BC3D9C8}"/>
                </a:ext>
              </a:extLst>
            </p:cNvPr>
            <p:cNvSpPr/>
            <p:nvPr/>
          </p:nvSpPr>
          <p:spPr>
            <a:xfrm>
              <a:off x="47154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,234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CF45F53F-8ABB-4DBD-A90A-DDC10272E953}"/>
                </a:ext>
              </a:extLst>
            </p:cNvPr>
            <p:cNvSpPr/>
            <p:nvPr/>
          </p:nvSpPr>
          <p:spPr>
            <a:xfrm>
              <a:off x="1792856" y="2628013"/>
              <a:ext cx="1159958" cy="224705"/>
            </a:xfrm>
            <a:prstGeom prst="round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웹 컨텐츠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2" name="사각형: 둥근 모서리 111">
              <a:extLst>
                <a:ext uri="{FF2B5EF4-FFF2-40B4-BE49-F238E27FC236}">
                  <a16:creationId xmlns:a16="http://schemas.microsoft.com/office/drawing/2014/main" id="{C4A24E85-6B9A-45D6-A18B-4FB577813A10}"/>
                </a:ext>
              </a:extLst>
            </p:cNvPr>
            <p:cNvSpPr/>
            <p:nvPr/>
          </p:nvSpPr>
          <p:spPr>
            <a:xfrm>
              <a:off x="3114166" y="2623041"/>
              <a:ext cx="1159958" cy="224705"/>
            </a:xfrm>
            <a:prstGeom prst="round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서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33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3" name="사각형: 둥근 모서리 112">
              <a:extLst>
                <a:ext uri="{FF2B5EF4-FFF2-40B4-BE49-F238E27FC236}">
                  <a16:creationId xmlns:a16="http://schemas.microsoft.com/office/drawing/2014/main" id="{4B7972E9-A45A-4F2D-96E9-E3C1E6935BB2}"/>
                </a:ext>
              </a:extLst>
            </p:cNvPr>
            <p:cNvSpPr/>
            <p:nvPr/>
          </p:nvSpPr>
          <p:spPr>
            <a:xfrm>
              <a:off x="4437860" y="262304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5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4" name="사각형: 둥근 모서리 113">
              <a:extLst>
                <a:ext uri="{FF2B5EF4-FFF2-40B4-BE49-F238E27FC236}">
                  <a16:creationId xmlns:a16="http://schemas.microsoft.com/office/drawing/2014/main" id="{12914411-F839-40CF-91D2-F8780B2E1027}"/>
                </a:ext>
              </a:extLst>
            </p:cNvPr>
            <p:cNvSpPr/>
            <p:nvPr/>
          </p:nvSpPr>
          <p:spPr>
            <a:xfrm>
              <a:off x="5756786" y="2628231"/>
              <a:ext cx="1159958" cy="2247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미디어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D25093CA-147B-43EA-AD8E-F1B8B8BBE482}"/>
              </a:ext>
            </a:extLst>
          </p:cNvPr>
          <p:cNvCxnSpPr>
            <a:cxnSpLocks/>
          </p:cNvCxnSpPr>
          <p:nvPr/>
        </p:nvCxnSpPr>
        <p:spPr>
          <a:xfrm>
            <a:off x="344648" y="1395998"/>
            <a:ext cx="8623903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31046996-426E-4FE7-9529-796ED49F4F5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5" name="그림 84">
              <a:extLst>
                <a:ext uri="{FF2B5EF4-FFF2-40B4-BE49-F238E27FC236}">
                  <a16:creationId xmlns:a16="http://schemas.microsoft.com/office/drawing/2014/main" id="{856FD886-AAF7-4CDF-93A2-BA5B6C5706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A2EF6764-BD01-41B2-A806-95CFCD65C2B0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6DFE0E41-7CA1-45AF-AB74-CBFB195D90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4E01FBBA-A127-4FAA-A01C-A837590D460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E7D248A0-DE18-462C-899F-63A81879C8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19" y="3582992"/>
            <a:ext cx="1963082" cy="2621507"/>
          </a:xfrm>
          <a:prstGeom prst="rect">
            <a:avLst/>
          </a:prstGeom>
        </p:spPr>
      </p:pic>
      <p:pic>
        <p:nvPicPr>
          <p:cNvPr id="82" name="그림 81">
            <a:extLst>
              <a:ext uri="{FF2B5EF4-FFF2-40B4-BE49-F238E27FC236}">
                <a16:creationId xmlns:a16="http://schemas.microsoft.com/office/drawing/2014/main" id="{571C6F96-4C95-4626-977C-EFE5D652EA8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11" t="1957" r="56576" b="88237"/>
          <a:stretch/>
        </p:blipFill>
        <p:spPr>
          <a:xfrm>
            <a:off x="469954" y="3025592"/>
            <a:ext cx="2017215" cy="540367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CDE05D4C-2780-4B43-93B1-9CFB9F986F39}"/>
              </a:ext>
            </a:extLst>
          </p:cNvPr>
          <p:cNvSpPr/>
          <p:nvPr/>
        </p:nvSpPr>
        <p:spPr>
          <a:xfrm>
            <a:off x="479376" y="2986448"/>
            <a:ext cx="2007381" cy="341685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pic>
        <p:nvPicPr>
          <p:cNvPr id="115" name="그림 114">
            <a:extLst>
              <a:ext uri="{FF2B5EF4-FFF2-40B4-BE49-F238E27FC236}">
                <a16:creationId xmlns:a16="http://schemas.microsoft.com/office/drawing/2014/main" id="{215A079E-A8E0-402E-AC75-4BA2F0F566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4776" y="3669799"/>
            <a:ext cx="679594" cy="679594"/>
          </a:xfrm>
          <a:prstGeom prst="rect">
            <a:avLst/>
          </a:prstGeom>
        </p:spPr>
      </p:pic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ADA138A7-3AFD-4531-B14D-B8F4A00453A5}"/>
              </a:ext>
            </a:extLst>
          </p:cNvPr>
          <p:cNvSpPr/>
          <p:nvPr/>
        </p:nvSpPr>
        <p:spPr>
          <a:xfrm>
            <a:off x="2894751" y="4521629"/>
            <a:ext cx="5261299" cy="24488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>
              <a:lnSpc>
                <a:spcPct val="12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하신 필터와 일치하는 결과가 없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3EA5727A-E51B-4A13-BD5A-18B74996A0D8}"/>
              </a:ext>
            </a:extLst>
          </p:cNvPr>
          <p:cNvSpPr/>
          <p:nvPr/>
        </p:nvSpPr>
        <p:spPr>
          <a:xfrm>
            <a:off x="5087888" y="4880927"/>
            <a:ext cx="989320" cy="244889"/>
          </a:xfrm>
          <a:prstGeom prst="roundRect">
            <a:avLst>
              <a:gd name="adj" fmla="val 37536"/>
            </a:avLst>
          </a:prstGeom>
          <a:solidFill>
            <a:srgbClr val="C046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FEEB3646-C698-4FCA-B670-67020C84BDEF}"/>
              </a:ext>
            </a:extLst>
          </p:cNvPr>
          <p:cNvSpPr/>
          <p:nvPr/>
        </p:nvSpPr>
        <p:spPr>
          <a:xfrm>
            <a:off x="5227319" y="4882497"/>
            <a:ext cx="849889" cy="24488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>
              <a:lnSpc>
                <a:spcPct val="12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 초기화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1899A2D-A624-47B1-97F9-1D082B7C31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8047" y="4937951"/>
            <a:ext cx="147233" cy="147233"/>
          </a:xfrm>
          <a:prstGeom prst="rect">
            <a:avLst/>
          </a:prstGeom>
        </p:spPr>
      </p:pic>
      <p:graphicFrame>
        <p:nvGraphicFramePr>
          <p:cNvPr id="125" name="표 124">
            <a:extLst>
              <a:ext uri="{FF2B5EF4-FFF2-40B4-BE49-F238E27FC236}">
                <a16:creationId xmlns:a16="http://schemas.microsoft.com/office/drawing/2014/main" id="{EE8AE02D-F673-43AB-BCD0-ACDD6D94EE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028800"/>
              </p:ext>
            </p:extLst>
          </p:nvPr>
        </p:nvGraphicFramePr>
        <p:xfrm>
          <a:off x="9275307" y="747926"/>
          <a:ext cx="2915868" cy="8656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703878595"/>
                    </a:ext>
                  </a:extLst>
                </a:gridCol>
                <a:gridCol w="2530085">
                  <a:extLst>
                    <a:ext uri="{9D8B030D-6E8A-4147-A177-3AD203B41FA5}">
                      <a16:colId xmlns:a16="http://schemas.microsoft.com/office/drawing/2014/main" val="493310492"/>
                    </a:ext>
                  </a:extLst>
                </a:gridCol>
              </a:tblGrid>
              <a:tr h="24681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결과 없음 화면은 통합검색결과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실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등 필터가 들어간 화면에 모두 반영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807473"/>
                  </a:ext>
                </a:extLst>
              </a:tr>
              <a:tr h="495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초기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2301"/>
                  </a:ext>
                </a:extLst>
              </a:tr>
            </a:tbl>
          </a:graphicData>
        </a:graphic>
      </p:graphicFrame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77B79255-D969-456A-9D33-EBF5B4C3BD66}"/>
              </a:ext>
            </a:extLst>
          </p:cNvPr>
          <p:cNvSpPr/>
          <p:nvPr/>
        </p:nvSpPr>
        <p:spPr>
          <a:xfrm>
            <a:off x="4979755" y="48733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039B3902-5C75-45C3-A351-D0CC3350EFBA}"/>
              </a:ext>
            </a:extLst>
          </p:cNvPr>
          <p:cNvSpPr/>
          <p:nvPr/>
        </p:nvSpPr>
        <p:spPr>
          <a:xfrm>
            <a:off x="9083803" y="12071"/>
            <a:ext cx="3108197" cy="9445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/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</a:t>
            </a:r>
          </a:p>
          <a:p>
            <a:pPr defTabSz="914400"/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/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화면 추가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7A4E9A1-0310-415A-98F7-8FD98B00F1D9}"/>
              </a:ext>
            </a:extLst>
          </p:cNvPr>
          <p:cNvSpPr/>
          <p:nvPr/>
        </p:nvSpPr>
        <p:spPr>
          <a:xfrm>
            <a:off x="469954" y="1481021"/>
            <a:ext cx="8369478" cy="1379746"/>
          </a:xfrm>
          <a:prstGeom prst="rect">
            <a:avLst/>
          </a:prstGeom>
          <a:solidFill>
            <a:srgbClr val="FFFFFF">
              <a:alpha val="8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결과 없음 화면은 통합검색결과</a:t>
            </a:r>
            <a:r>
              <a:rPr lang="en-US" altLang="ko-KR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</a:t>
            </a:r>
            <a:r>
              <a:rPr lang="ko-KR" altLang="en-US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자료실</a:t>
            </a:r>
            <a:r>
              <a:rPr lang="en-US" altLang="ko-KR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인사이트</a:t>
            </a:r>
            <a:r>
              <a:rPr lang="en-US" altLang="ko-KR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1050" b="1" i="0" u="none" strike="noStrike" kern="1200" cap="none" spc="-3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등 필터가 들어간 화면에 모두 반영 </a:t>
            </a:r>
            <a:endParaRPr lang="en-US" altLang="ko-KR" sz="1050" b="1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5810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65810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83008"/>
              </p:ext>
            </p:extLst>
          </p:nvPr>
        </p:nvGraphicFramePr>
        <p:xfrm>
          <a:off x="1" y="0"/>
          <a:ext cx="12191999" cy="50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결과 화면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디어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 필터 기능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6A347BB2-DF86-45F7-BF27-15CC42CAAF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264" y="1080278"/>
            <a:ext cx="138514" cy="606001"/>
          </a:xfrm>
          <a:prstGeom prst="rect">
            <a:avLst/>
          </a:prstGeom>
        </p:spPr>
      </p:pic>
      <p:pic>
        <p:nvPicPr>
          <p:cNvPr id="496" name="그림 495">
            <a:extLst>
              <a:ext uri="{FF2B5EF4-FFF2-40B4-BE49-F238E27FC236}">
                <a16:creationId xmlns:a16="http://schemas.microsoft.com/office/drawing/2014/main" id="{AFAB964A-D1EE-4E16-8C57-BCABB4E87B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11" t="1957" r="56576" b="2876"/>
          <a:stretch/>
        </p:blipFill>
        <p:spPr>
          <a:xfrm>
            <a:off x="575016" y="1114388"/>
            <a:ext cx="859638" cy="2234910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85A46CEC-DD66-4344-AA6B-C87CD94A77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08" t="340" r="2636" b="4353"/>
          <a:stretch/>
        </p:blipFill>
        <p:spPr>
          <a:xfrm>
            <a:off x="586144" y="3277957"/>
            <a:ext cx="860550" cy="2287289"/>
          </a:xfrm>
          <a:prstGeom prst="rect">
            <a:avLst/>
          </a:prstGeom>
        </p:spPr>
      </p:pic>
      <p:sp>
        <p:nvSpPr>
          <p:cNvPr id="490" name="직사각형 489">
            <a:extLst>
              <a:ext uri="{FF2B5EF4-FFF2-40B4-BE49-F238E27FC236}">
                <a16:creationId xmlns:a16="http://schemas.microsoft.com/office/drawing/2014/main" id="{E7792F1A-070F-4B11-9D27-2B23EF54D8D4}"/>
              </a:ext>
            </a:extLst>
          </p:cNvPr>
          <p:cNvSpPr/>
          <p:nvPr/>
        </p:nvSpPr>
        <p:spPr>
          <a:xfrm>
            <a:off x="548259" y="1081964"/>
            <a:ext cx="913199" cy="4568020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cxnSp>
        <p:nvCxnSpPr>
          <p:cNvPr id="494" name="직선 연결선 493">
            <a:extLst>
              <a:ext uri="{FF2B5EF4-FFF2-40B4-BE49-F238E27FC236}">
                <a16:creationId xmlns:a16="http://schemas.microsoft.com/office/drawing/2014/main" id="{A7B7A5C1-55BD-422B-8FB3-0E77E78DFD0A}"/>
              </a:ext>
            </a:extLst>
          </p:cNvPr>
          <p:cNvCxnSpPr>
            <a:cxnSpLocks/>
          </p:cNvCxnSpPr>
          <p:nvPr/>
        </p:nvCxnSpPr>
        <p:spPr>
          <a:xfrm>
            <a:off x="1554156" y="1100951"/>
            <a:ext cx="0" cy="4535596"/>
          </a:xfrm>
          <a:prstGeom prst="line">
            <a:avLst/>
          </a:prstGeom>
          <a:ln w="19050">
            <a:solidFill>
              <a:srgbClr val="D04A02"/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직선 연결선 496">
            <a:extLst>
              <a:ext uri="{FF2B5EF4-FFF2-40B4-BE49-F238E27FC236}">
                <a16:creationId xmlns:a16="http://schemas.microsoft.com/office/drawing/2014/main" id="{6C3AA332-BAEF-4984-A0B2-8151B7BE4104}"/>
              </a:ext>
            </a:extLst>
          </p:cNvPr>
          <p:cNvCxnSpPr>
            <a:cxnSpLocks/>
          </p:cNvCxnSpPr>
          <p:nvPr/>
        </p:nvCxnSpPr>
        <p:spPr>
          <a:xfrm>
            <a:off x="554355" y="1090004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직선 연결선 497">
            <a:extLst>
              <a:ext uri="{FF2B5EF4-FFF2-40B4-BE49-F238E27FC236}">
                <a16:creationId xmlns:a16="http://schemas.microsoft.com/office/drawing/2014/main" id="{7017ABF6-216A-43C5-B3DA-3DBFFE5D41EB}"/>
              </a:ext>
            </a:extLst>
          </p:cNvPr>
          <p:cNvCxnSpPr>
            <a:cxnSpLocks/>
          </p:cNvCxnSpPr>
          <p:nvPr/>
        </p:nvCxnSpPr>
        <p:spPr>
          <a:xfrm>
            <a:off x="548259" y="5650917"/>
            <a:ext cx="1191001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7" name="표 10">
            <a:extLst>
              <a:ext uri="{FF2B5EF4-FFF2-40B4-BE49-F238E27FC236}">
                <a16:creationId xmlns:a16="http://schemas.microsoft.com/office/drawing/2014/main" id="{46DB2E08-C112-4765-A3C7-3A4F6A2E9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487902"/>
              </p:ext>
            </p:extLst>
          </p:nvPr>
        </p:nvGraphicFramePr>
        <p:xfrm>
          <a:off x="9264352" y="755371"/>
          <a:ext cx="2915205" cy="129677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205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</a:tblGrid>
              <a:tr h="1360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터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08090"/>
                  </a:ext>
                </a:extLst>
              </a:tr>
              <a:tr h="10834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문서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1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H013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필터 사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연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연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</a:p>
                  </a:txBody>
                  <a:tcPr marL="45720" marR="4572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</a:tbl>
          </a:graphicData>
        </a:graphic>
      </p:graphicFrame>
      <p:sp>
        <p:nvSpPr>
          <p:cNvPr id="495" name="직사각형 494">
            <a:extLst>
              <a:ext uri="{FF2B5EF4-FFF2-40B4-BE49-F238E27FC236}">
                <a16:creationId xmlns:a16="http://schemas.microsoft.com/office/drawing/2014/main" id="{DACB210B-C1A3-49F1-AA4F-FD3924796DCE}"/>
              </a:ext>
            </a:extLst>
          </p:cNvPr>
          <p:cNvSpPr/>
          <p:nvPr/>
        </p:nvSpPr>
        <p:spPr>
          <a:xfrm>
            <a:off x="1569020" y="1037527"/>
            <a:ext cx="939194" cy="937287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>
              <a:lnSpc>
                <a:spcPct val="120000"/>
              </a:lnSpc>
            </a:pPr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croll Area</a:t>
            </a:r>
          </a:p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리스트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영역과 별개로 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스크롤됨</a:t>
            </a:r>
          </a:p>
        </p:txBody>
      </p:sp>
      <p:grpSp>
        <p:nvGrpSpPr>
          <p:cNvPr id="224" name="그룹 223">
            <a:extLst>
              <a:ext uri="{FF2B5EF4-FFF2-40B4-BE49-F238E27FC236}">
                <a16:creationId xmlns:a16="http://schemas.microsoft.com/office/drawing/2014/main" id="{35763EF6-A767-4AB9-B713-766205F29669}"/>
              </a:ext>
            </a:extLst>
          </p:cNvPr>
          <p:cNvGrpSpPr/>
          <p:nvPr/>
        </p:nvGrpSpPr>
        <p:grpSpPr>
          <a:xfrm>
            <a:off x="2591132" y="866914"/>
            <a:ext cx="4151781" cy="160953"/>
            <a:chOff x="2938041" y="763039"/>
            <a:chExt cx="2005831" cy="160953"/>
          </a:xfrm>
        </p:grpSpPr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FA59D5AD-8D1C-4C01-A16F-71D99681A11E}"/>
                </a:ext>
              </a:extLst>
            </p:cNvPr>
            <p:cNvSpPr/>
            <p:nvPr/>
          </p:nvSpPr>
          <p:spPr>
            <a:xfrm>
              <a:off x="2964465" y="771438"/>
              <a:ext cx="802415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46A9F48E-C770-4411-A17A-3C5A3584D585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검색결과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–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문서 탭에서 출력</a:t>
              </a:r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62235C20-82A9-4DAC-96E2-9580C05486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3102" y="1098403"/>
            <a:ext cx="2683134" cy="490108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6A92D602-3154-4CB5-BC48-AA0A8F5E7A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5826" y="1083948"/>
            <a:ext cx="2677335" cy="3974558"/>
          </a:xfrm>
          <a:prstGeom prst="rect">
            <a:avLst/>
          </a:prstGeom>
        </p:spPr>
      </p:pic>
      <p:grpSp>
        <p:nvGrpSpPr>
          <p:cNvPr id="639" name="그룹 638">
            <a:extLst>
              <a:ext uri="{FF2B5EF4-FFF2-40B4-BE49-F238E27FC236}">
                <a16:creationId xmlns:a16="http://schemas.microsoft.com/office/drawing/2014/main" id="{9D921E45-D605-44EF-9BB4-5569C5AB7A76}"/>
              </a:ext>
            </a:extLst>
          </p:cNvPr>
          <p:cNvGrpSpPr/>
          <p:nvPr/>
        </p:nvGrpSpPr>
        <p:grpSpPr>
          <a:xfrm>
            <a:off x="5663952" y="873469"/>
            <a:ext cx="4151781" cy="160953"/>
            <a:chOff x="2938041" y="763039"/>
            <a:chExt cx="2005831" cy="160953"/>
          </a:xfrm>
        </p:grpSpPr>
        <p:sp>
          <p:nvSpPr>
            <p:cNvPr id="640" name="직사각형 639">
              <a:extLst>
                <a:ext uri="{FF2B5EF4-FFF2-40B4-BE49-F238E27FC236}">
                  <a16:creationId xmlns:a16="http://schemas.microsoft.com/office/drawing/2014/main" id="{1F20FD9A-A326-4AF1-9F1E-EE867F7777C2}"/>
                </a:ext>
              </a:extLst>
            </p:cNvPr>
            <p:cNvSpPr/>
            <p:nvPr/>
          </p:nvSpPr>
          <p:spPr>
            <a:xfrm>
              <a:off x="2964465" y="771438"/>
              <a:ext cx="808509" cy="15255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641" name="직사각형 640">
              <a:extLst>
                <a:ext uri="{FF2B5EF4-FFF2-40B4-BE49-F238E27FC236}">
                  <a16:creationId xmlns:a16="http://schemas.microsoft.com/office/drawing/2014/main" id="{B6496BE0-6175-4350-9B29-39FEC1E41D8D}"/>
                </a:ext>
              </a:extLst>
            </p:cNvPr>
            <p:cNvSpPr/>
            <p:nvPr/>
          </p:nvSpPr>
          <p:spPr>
            <a:xfrm>
              <a:off x="2938041" y="763039"/>
              <a:ext cx="2005831" cy="152554"/>
            </a:xfrm>
            <a:prstGeom prst="rect">
              <a:avLst/>
            </a:prstGeom>
            <a:noFill/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>
                <a:lnSpc>
                  <a:spcPct val="130000"/>
                </a:lnSpc>
                <a:spcAft>
                  <a:spcPts val="600"/>
                </a:spcAft>
                <a:buSzPct val="100000"/>
                <a:defRPr/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검색결과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–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미디어 탭에서 출력</a:t>
              </a:r>
            </a:p>
          </p:txBody>
        </p:sp>
      </p:grpSp>
      <p:sp>
        <p:nvSpPr>
          <p:cNvPr id="9" name="직사각형 8">
            <a:extLst>
              <a:ext uri="{FF2B5EF4-FFF2-40B4-BE49-F238E27FC236}">
                <a16:creationId xmlns:a16="http://schemas.microsoft.com/office/drawing/2014/main" id="{1BEB60B7-7B13-4F40-B9CC-2B0C2F2984AA}"/>
              </a:ext>
            </a:extLst>
          </p:cNvPr>
          <p:cNvSpPr/>
          <p:nvPr/>
        </p:nvSpPr>
        <p:spPr>
          <a:xfrm>
            <a:off x="767408" y="-99392"/>
            <a:ext cx="45719" cy="45719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EDD454C-6AF6-4D0D-BFB9-D8FE3762C406}"/>
              </a:ext>
            </a:extLst>
          </p:cNvPr>
          <p:cNvSpPr/>
          <p:nvPr/>
        </p:nvSpPr>
        <p:spPr>
          <a:xfrm>
            <a:off x="191343" y="127527"/>
            <a:ext cx="11873231" cy="656034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ABB0A457-09F2-4E22-BBC5-D2DA42F94C9B}"/>
              </a:ext>
            </a:extLst>
          </p:cNvPr>
          <p:cNvSpPr/>
          <p:nvPr/>
        </p:nvSpPr>
        <p:spPr>
          <a:xfrm>
            <a:off x="3863752" y="2933926"/>
            <a:ext cx="3432673" cy="8640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>
              <a:lnSpc>
                <a:spcPct val="130000"/>
              </a:lnSpc>
            </a:pP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는 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5-6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트에서 전체 정의</a:t>
            </a:r>
            <a:endParaRPr lang="en-US" altLang="ko-KR" sz="11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통합검색결과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1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인사이트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</a:t>
            </a:r>
            <a:r>
              <a:rPr lang="en-US" altLang="ko-KR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11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093069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책 발표 및 시행에 대한 일정 정보를 조회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911431"/>
              </p:ext>
            </p:extLst>
          </p:nvPr>
        </p:nvGraphicFramePr>
        <p:xfrm>
          <a:off x="9267391" y="759198"/>
          <a:ext cx="2922885" cy="36217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01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력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 출력형식을 택일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선택 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목록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목록형 선택 시 하단 화면 전체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- 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2882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형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301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월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좌우 이동 키로 이전 또는 다음 월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조회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670695"/>
                  </a:ext>
                </a:extLst>
              </a:tr>
              <a:tr h="6453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도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보고서 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정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  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기타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328371"/>
                  </a:ext>
                </a:extLst>
              </a:tr>
              <a:tr h="3147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월에 등록된 총 일정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971076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등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유형 값을 해당 일자에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H015]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491479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주요 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 중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일정인 정보를 가져와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분기나 월 예정사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월 또는 분기 값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H015]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</a:tbl>
          </a:graphicData>
        </a:graphic>
      </p:graphicFrame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70049EF6-E490-4FFD-B201-D927DCAADA41}"/>
              </a:ext>
            </a:extLst>
          </p:cNvPr>
          <p:cNvSpPr/>
          <p:nvPr/>
        </p:nvSpPr>
        <p:spPr>
          <a:xfrm>
            <a:off x="347856" y="59854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F2F3EEEB-264A-4100-9095-3D5BDB9138AF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3E903C2-4706-4DCA-A31B-238D33774898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CA391EAD-A18F-4B0C-8807-2F1F9E1DDCA7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F55BD324-4674-4F1A-8383-A5222FA629D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EAAD4FE3-BD0D-4254-9708-80F14B505C1A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27C57A7A-761C-4EED-903B-9859B6E42644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DB0B2E6D-2923-4034-8127-62C224FFFD0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85152B3B-4CFC-4BA4-9F4F-13C9148065A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8F8343F2-0201-4611-A60A-05805A271633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HOME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조회</a:t>
            </a:r>
          </a:p>
        </p:txBody>
      </p:sp>
      <p:sp>
        <p:nvSpPr>
          <p:cNvPr id="12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D77E5D0-B20A-40E3-8B0B-198819ED21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5264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D7D3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</a:t>
            </a:r>
            <a:endParaRPr kumimoji="0" lang="en-US" altLang="ko-KR" sz="12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5" name="표 84">
            <a:extLst>
              <a:ext uri="{FF2B5EF4-FFF2-40B4-BE49-F238E27FC236}">
                <a16:creationId xmlns:a16="http://schemas.microsoft.com/office/drawing/2014/main" id="{9A8AD55D-7347-4BB1-9FB0-E05991E44CCE}"/>
              </a:ext>
            </a:extLst>
          </p:cNvPr>
          <p:cNvGraphicFramePr>
            <a:graphicFrameLocks noGrp="1"/>
          </p:cNvGraphicFramePr>
          <p:nvPr/>
        </p:nvGraphicFramePr>
        <p:xfrm>
          <a:off x="512987" y="3111133"/>
          <a:ext cx="8088409" cy="2413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5487">
                  <a:extLst>
                    <a:ext uri="{9D8B030D-6E8A-4147-A177-3AD203B41FA5}">
                      <a16:colId xmlns:a16="http://schemas.microsoft.com/office/drawing/2014/main" val="1287519327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392992179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2532934363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3868832831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987012086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2824993428"/>
                    </a:ext>
                  </a:extLst>
                </a:gridCol>
                <a:gridCol w="1155487">
                  <a:extLst>
                    <a:ext uri="{9D8B030D-6E8A-4147-A177-3AD203B41FA5}">
                      <a16:colId xmlns:a16="http://schemas.microsoft.com/office/drawing/2014/main" val="2835593631"/>
                    </a:ext>
                  </a:extLst>
                </a:gridCol>
              </a:tblGrid>
              <a:tr h="20887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Sun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on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ue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d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u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ri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rgbClr val="1328A1"/>
                          </a:solidFill>
                        </a:rPr>
                        <a:t>Sat</a:t>
                      </a:r>
                      <a:endParaRPr lang="ko-KR" altLang="en-US" sz="800" dirty="0">
                        <a:solidFill>
                          <a:srgbClr val="1328A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360451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26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7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8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9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1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1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0280312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2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MEA ESG Webinar</a:t>
                      </a: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b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en-US" altLang="ko-KR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8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556028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9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1 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stainable Finance Forum</a:t>
                      </a:r>
                      <a:endParaRPr lang="ko-KR" altLang="en-US" sz="700" u="sng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2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3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4 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023 2nd ESG Insight </a:t>
                      </a: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발간</a:t>
                      </a: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kern="1200" dirty="0">
                          <a:solidFill>
                            <a:srgbClr val="1328A1"/>
                          </a:solidFill>
                          <a:latin typeface="+mn-lt"/>
                          <a:ea typeface="+mn-ea"/>
                          <a:cs typeface="+mn-cs"/>
                        </a:rPr>
                        <a:t>15 </a:t>
                      </a:r>
                      <a:endParaRPr lang="ko-KR" altLang="en-US" sz="700" kern="1200" dirty="0">
                        <a:solidFill>
                          <a:srgbClr val="1328A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879563"/>
                  </a:ext>
                </a:extLst>
              </a:tr>
              <a:tr h="6140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16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 </a:t>
                      </a:r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8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9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1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한국 </a:t>
                      </a: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G</a:t>
                      </a: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기준원 지배구조 피드백 종료 예정일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22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839009"/>
                  </a:ext>
                </a:extLst>
              </a:tr>
            </a:tbl>
          </a:graphicData>
        </a:graphic>
      </p:graphicFrame>
      <p:sp>
        <p:nvSpPr>
          <p:cNvPr id="87" name="직사각형 86">
            <a:extLst>
              <a:ext uri="{FF2B5EF4-FFF2-40B4-BE49-F238E27FC236}">
                <a16:creationId xmlns:a16="http://schemas.microsoft.com/office/drawing/2014/main" id="{BE09E46C-8FBD-4C2A-924C-347015E9EE4F}"/>
              </a:ext>
            </a:extLst>
          </p:cNvPr>
          <p:cNvSpPr/>
          <p:nvPr/>
        </p:nvSpPr>
        <p:spPr>
          <a:xfrm>
            <a:off x="8023417" y="2795482"/>
            <a:ext cx="75764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4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건</a:t>
            </a: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648E0C04-4EBA-468A-A433-47E1462BED7A}"/>
              </a:ext>
            </a:extLst>
          </p:cNvPr>
          <p:cNvSpPr/>
          <p:nvPr/>
        </p:nvSpPr>
        <p:spPr>
          <a:xfrm>
            <a:off x="2855690" y="4191570"/>
            <a:ext cx="252000" cy="108000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CAD66590-EC98-416A-9889-4643789B78EC}"/>
              </a:ext>
            </a:extLst>
          </p:cNvPr>
          <p:cNvSpPr/>
          <p:nvPr/>
        </p:nvSpPr>
        <p:spPr>
          <a:xfrm>
            <a:off x="2855690" y="4721773"/>
            <a:ext cx="252000" cy="108000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39C84824-B8F8-4977-9A59-931BC8BF83C7}"/>
              </a:ext>
            </a:extLst>
          </p:cNvPr>
          <p:cNvSpPr/>
          <p:nvPr/>
        </p:nvSpPr>
        <p:spPr>
          <a:xfrm>
            <a:off x="6336324" y="4729006"/>
            <a:ext cx="252000" cy="10800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발간</a:t>
            </a: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C4010266-DC54-4111-A51D-04596D0803E1}"/>
              </a:ext>
            </a:extLst>
          </p:cNvPr>
          <p:cNvSpPr/>
          <p:nvPr/>
        </p:nvSpPr>
        <p:spPr>
          <a:xfrm>
            <a:off x="6336324" y="5348565"/>
            <a:ext cx="252000" cy="108000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평가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70F6CA10-C6BE-4B1C-AD7E-860875DD1AE3}"/>
              </a:ext>
            </a:extLst>
          </p:cNvPr>
          <p:cNvSpPr/>
          <p:nvPr/>
        </p:nvSpPr>
        <p:spPr>
          <a:xfrm>
            <a:off x="507996" y="5646366"/>
            <a:ext cx="794455" cy="39504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900" b="1" dirty="0" err="1"/>
              <a:t>미확정</a:t>
            </a:r>
            <a:br>
              <a:rPr lang="en-US" altLang="ko-KR" sz="900" b="1" dirty="0"/>
            </a:br>
            <a:r>
              <a:rPr lang="ko-KR" altLang="en-US" sz="900" b="1" dirty="0"/>
              <a:t> 주요 일정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AA590C76-7342-4356-9FDD-9F76500F4E9D}"/>
              </a:ext>
            </a:extLst>
          </p:cNvPr>
          <p:cNvSpPr/>
          <p:nvPr/>
        </p:nvSpPr>
        <p:spPr>
          <a:xfrm>
            <a:off x="1308981" y="5646366"/>
            <a:ext cx="7379308" cy="3950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900" b="1" dirty="0"/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09D5E35C-3BEA-4492-A448-E1E651E0497C}"/>
              </a:ext>
            </a:extLst>
          </p:cNvPr>
          <p:cNvSpPr/>
          <p:nvPr/>
        </p:nvSpPr>
        <p:spPr>
          <a:xfrm>
            <a:off x="1393122" y="5748192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OOO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기준서 추가 발표 예정</a:t>
            </a: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BAE0265A-A3BB-4C91-8455-28C51271B0AF}"/>
              </a:ext>
            </a:extLst>
          </p:cNvPr>
          <p:cNvSpPr/>
          <p:nvPr/>
        </p:nvSpPr>
        <p:spPr>
          <a:xfrm>
            <a:off x="4479293" y="5748192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7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회계기준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OOO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침 발간 예정</a:t>
            </a: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47F699EF-F5C3-4358-9A67-B83B91867909}"/>
              </a:ext>
            </a:extLst>
          </p:cNvPr>
          <p:cNvSpPr/>
          <p:nvPr/>
        </p:nvSpPr>
        <p:spPr>
          <a:xfrm>
            <a:off x="1487610" y="580564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7D37DDBA-1752-4109-B6C7-3210A4CFD256}"/>
              </a:ext>
            </a:extLst>
          </p:cNvPr>
          <p:cNvSpPr/>
          <p:nvPr/>
        </p:nvSpPr>
        <p:spPr>
          <a:xfrm>
            <a:off x="4593720" y="580564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FAD4867-6F6C-44AF-9481-FF9B74EAE3B5}"/>
              </a:ext>
            </a:extLst>
          </p:cNvPr>
          <p:cNvSpPr txBox="1"/>
          <p:nvPr/>
        </p:nvSpPr>
        <p:spPr>
          <a:xfrm>
            <a:off x="521545" y="2752907"/>
            <a:ext cx="7490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 유형 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D311C04-5752-4843-884B-1E73179DF62C}"/>
              </a:ext>
            </a:extLst>
          </p:cNvPr>
          <p:cNvSpPr txBox="1"/>
          <p:nvPr/>
        </p:nvSpPr>
        <p:spPr>
          <a:xfrm>
            <a:off x="1101010" y="2713953"/>
            <a:ext cx="61036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행사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럼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도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 발간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책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  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타</a:t>
            </a:r>
            <a:endParaRPr lang="ko-KR" altLang="en-US" dirty="0"/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877C362-1510-4C13-9BB6-035B19E0E97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E2776E81-80A0-4483-AF56-CAE7FA9D8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73D2572D-9D12-4ABE-8CCE-BD76D32E6B4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2C5F3756-1DEA-453C-9BF4-91A0147CCB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DABD9A1B-FB79-45E5-80E4-DB6A48D3006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EA9E051-ABD6-4E9A-9112-9033952F3D25}"/>
              </a:ext>
            </a:extLst>
          </p:cNvPr>
          <p:cNvSpPr/>
          <p:nvPr/>
        </p:nvSpPr>
        <p:spPr>
          <a:xfrm>
            <a:off x="6897448" y="1872375"/>
            <a:ext cx="851973" cy="2068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818E5B5D-0B40-4C68-B3AF-7526C26206D8}"/>
              </a:ext>
            </a:extLst>
          </p:cNvPr>
          <p:cNvSpPr/>
          <p:nvPr/>
        </p:nvSpPr>
        <p:spPr>
          <a:xfrm>
            <a:off x="7749421" y="1872904"/>
            <a:ext cx="851973" cy="213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031B0A6-E115-43BA-A99D-BB216B685560}"/>
              </a:ext>
            </a:extLst>
          </p:cNvPr>
          <p:cNvSpPr/>
          <p:nvPr/>
        </p:nvSpPr>
        <p:spPr>
          <a:xfrm>
            <a:off x="6941651" y="1880290"/>
            <a:ext cx="763565" cy="214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형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8542047F-D7CE-4F28-B8E8-DC074336ABBD}"/>
              </a:ext>
            </a:extLst>
          </p:cNvPr>
          <p:cNvSpPr/>
          <p:nvPr/>
        </p:nvSpPr>
        <p:spPr>
          <a:xfrm>
            <a:off x="7773597" y="1876165"/>
            <a:ext cx="763565" cy="214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록형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B4C76401-559E-4422-A037-16355C2B7552}"/>
              </a:ext>
            </a:extLst>
          </p:cNvPr>
          <p:cNvSpPr/>
          <p:nvPr/>
        </p:nvSpPr>
        <p:spPr>
          <a:xfrm>
            <a:off x="3719736" y="2334664"/>
            <a:ext cx="1584175" cy="214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&lt;       2023.07      &gt; </a:t>
            </a:r>
            <a:endParaRPr lang="ko-KR" altLang="en-US" sz="11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5FEF1B57-CCB2-42AB-873B-AA95211A7282}"/>
              </a:ext>
            </a:extLst>
          </p:cNvPr>
          <p:cNvSpPr/>
          <p:nvPr/>
        </p:nvSpPr>
        <p:spPr>
          <a:xfrm>
            <a:off x="6844994" y="17978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19EB305E-2929-47B8-B6F5-321534FDC12E}"/>
              </a:ext>
            </a:extLst>
          </p:cNvPr>
          <p:cNvSpPr/>
          <p:nvPr/>
        </p:nvSpPr>
        <p:spPr>
          <a:xfrm>
            <a:off x="3880522" y="22004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C9776653-C813-40DA-9CE7-DCC417D5620C}"/>
              </a:ext>
            </a:extLst>
          </p:cNvPr>
          <p:cNvSpPr/>
          <p:nvPr/>
        </p:nvSpPr>
        <p:spPr>
          <a:xfrm>
            <a:off x="509561" y="26369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AC03B63-01C3-41D8-B598-C38F2C6BF0C9}"/>
              </a:ext>
            </a:extLst>
          </p:cNvPr>
          <p:cNvSpPr/>
          <p:nvPr/>
        </p:nvSpPr>
        <p:spPr>
          <a:xfrm>
            <a:off x="8102926" y="27589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76354DA3-1869-4AF0-9F9B-AA678143EEF0}"/>
              </a:ext>
            </a:extLst>
          </p:cNvPr>
          <p:cNvSpPr/>
          <p:nvPr/>
        </p:nvSpPr>
        <p:spPr>
          <a:xfrm>
            <a:off x="460940" y="30394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84EBF231-9DD2-44D6-8C5E-9CE3AB01C390}"/>
              </a:ext>
            </a:extLst>
          </p:cNvPr>
          <p:cNvSpPr/>
          <p:nvPr/>
        </p:nvSpPr>
        <p:spPr>
          <a:xfrm>
            <a:off x="9273919" y="-16431"/>
            <a:ext cx="2915306" cy="5275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/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/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ESG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주요일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–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캘린더형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목록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능 상세화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285595B8-99CC-4196-8B45-30C9C24D3917}"/>
              </a:ext>
            </a:extLst>
          </p:cNvPr>
          <p:cNvSpPr/>
          <p:nvPr/>
        </p:nvSpPr>
        <p:spPr>
          <a:xfrm>
            <a:off x="468378" y="56098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07B99C7E-0A46-47A5-A5D3-48E458AECA5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08930508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2494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책 발표 및 시행에 대한 일정 정보를 조회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333703"/>
              </p:ext>
            </p:extLst>
          </p:nvPr>
        </p:nvGraphicFramePr>
        <p:xfrm>
          <a:off x="9267391" y="759198"/>
          <a:ext cx="2922885" cy="39143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01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출력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 출력형식을 택일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선택 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목록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목록형 선택 시 하단 화면 전체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- 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캘린더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2882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록형</a:t>
                      </a:r>
                      <a:r>
                        <a:rPr lang="ko-KR" altLang="en-US" sz="7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301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 조회 범위 선택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-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개월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직접입력 선택 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날짜 선택 기능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670695"/>
                  </a:ext>
                </a:extLst>
              </a:tr>
              <a:tr h="6453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도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보고서 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정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  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기타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328371"/>
                  </a:ext>
                </a:extLst>
              </a:tr>
              <a:tr h="3147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2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조회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에서 등록된 총 일정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971076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등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제목을 해당 일자에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H015]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팝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491479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주요 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정보 중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일정인 정보를 가져와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분기나 월 예정사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월 또는 분기 값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자 또는 공란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</a:tbl>
          </a:graphicData>
        </a:graphic>
      </p:graphicFrame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70049EF6-E490-4FFD-B201-D927DCAADA41}"/>
              </a:ext>
            </a:extLst>
          </p:cNvPr>
          <p:cNvSpPr/>
          <p:nvPr/>
        </p:nvSpPr>
        <p:spPr>
          <a:xfrm>
            <a:off x="347856" y="59854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F2F3EEEB-264A-4100-9095-3D5BDB9138AF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7717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3E903C2-4706-4DCA-A31B-238D33774898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CA391EAD-A18F-4B0C-8807-2F1F9E1DDCA7}"/>
              </a:ext>
            </a:extLst>
          </p:cNvPr>
          <p:cNvGrpSpPr/>
          <p:nvPr/>
        </p:nvGrpSpPr>
        <p:grpSpPr>
          <a:xfrm>
            <a:off x="8827554" y="1518147"/>
            <a:ext cx="152360" cy="4896000"/>
            <a:chOff x="9201470" y="1601344"/>
            <a:chExt cx="188139" cy="4198758"/>
          </a:xfrm>
        </p:grpSpPr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F55BD324-4674-4F1A-8383-A5222FA629D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EAAD4FE3-BD0D-4254-9708-80F14B505C1A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27C57A7A-761C-4EED-903B-9859B6E42644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DB0B2E6D-2923-4034-8127-62C224FFFD01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85152B3B-4CFC-4BA4-9F4F-13C9148065A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8F8343F2-0201-4611-A60A-05805A271633}"/>
              </a:ext>
            </a:extLst>
          </p:cNvPr>
          <p:cNvSpPr/>
          <p:nvPr/>
        </p:nvSpPr>
        <p:spPr>
          <a:xfrm>
            <a:off x="344648" y="1257022"/>
            <a:ext cx="8647314" cy="25281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HOME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조회</a:t>
            </a:r>
          </a:p>
        </p:txBody>
      </p:sp>
      <p:sp>
        <p:nvSpPr>
          <p:cNvPr id="12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D77E5D0-B20A-40E3-8B0B-198819ED21D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792" y="1515264"/>
            <a:ext cx="7309384" cy="38446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D7D3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</a:t>
            </a:r>
            <a:endParaRPr kumimoji="0" lang="en-US" altLang="ko-KR" sz="12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E09E46C-8FBD-4C2A-924C-347015E9EE4F}"/>
              </a:ext>
            </a:extLst>
          </p:cNvPr>
          <p:cNvSpPr/>
          <p:nvPr/>
        </p:nvSpPr>
        <p:spPr>
          <a:xfrm>
            <a:off x="8023417" y="2795482"/>
            <a:ext cx="75764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4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+mn-ea"/>
                <a:cs typeface="Arial"/>
              </a:rPr>
              <a:t>건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70F6CA10-C6BE-4B1C-AD7E-860875DD1AE3}"/>
              </a:ext>
            </a:extLst>
          </p:cNvPr>
          <p:cNvSpPr/>
          <p:nvPr/>
        </p:nvSpPr>
        <p:spPr>
          <a:xfrm>
            <a:off x="507996" y="5646366"/>
            <a:ext cx="794455" cy="39504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900" b="1" dirty="0" err="1"/>
              <a:t>미확정</a:t>
            </a:r>
            <a:br>
              <a:rPr lang="en-US" altLang="ko-KR" sz="900" b="1" dirty="0"/>
            </a:br>
            <a:r>
              <a:rPr lang="ko-KR" altLang="en-US" sz="900" b="1" dirty="0"/>
              <a:t> 주요 일정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AA590C76-7342-4356-9FDD-9F76500F4E9D}"/>
              </a:ext>
            </a:extLst>
          </p:cNvPr>
          <p:cNvSpPr/>
          <p:nvPr/>
        </p:nvSpPr>
        <p:spPr>
          <a:xfrm>
            <a:off x="1308981" y="5646366"/>
            <a:ext cx="7379308" cy="3950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900" b="1" dirty="0"/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09D5E35C-3BEA-4492-A448-E1E651E0497C}"/>
              </a:ext>
            </a:extLst>
          </p:cNvPr>
          <p:cNvSpPr/>
          <p:nvPr/>
        </p:nvSpPr>
        <p:spPr>
          <a:xfrm>
            <a:off x="1393122" y="5748192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3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OOOO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기준서 추가 발표 예정</a:t>
            </a:r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BAE0265A-A3BB-4C91-8455-28C51271B0AF}"/>
              </a:ext>
            </a:extLst>
          </p:cNvPr>
          <p:cNvSpPr/>
          <p:nvPr/>
        </p:nvSpPr>
        <p:spPr>
          <a:xfrm>
            <a:off x="4479293" y="5748192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7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회계기준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OOO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지침 발간 예정</a:t>
            </a: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47F699EF-F5C3-4358-9A67-B83B91867909}"/>
              </a:ext>
            </a:extLst>
          </p:cNvPr>
          <p:cNvSpPr/>
          <p:nvPr/>
        </p:nvSpPr>
        <p:spPr>
          <a:xfrm>
            <a:off x="1487610" y="580564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7D37DDBA-1752-4109-B6C7-3210A4CFD256}"/>
              </a:ext>
            </a:extLst>
          </p:cNvPr>
          <p:cNvSpPr/>
          <p:nvPr/>
        </p:nvSpPr>
        <p:spPr>
          <a:xfrm>
            <a:off x="4593720" y="580564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FAD4867-6F6C-44AF-9481-FF9B74EAE3B5}"/>
              </a:ext>
            </a:extLst>
          </p:cNvPr>
          <p:cNvSpPr txBox="1"/>
          <p:nvPr/>
        </p:nvSpPr>
        <p:spPr>
          <a:xfrm>
            <a:off x="521545" y="2752907"/>
            <a:ext cx="7490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 유형 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</a:t>
            </a:r>
            <a:endParaRPr kumimoji="0" lang="ko-KR" altLang="en-US" sz="8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D311C04-5752-4843-884B-1E73179DF62C}"/>
              </a:ext>
            </a:extLst>
          </p:cNvPr>
          <p:cNvSpPr txBox="1"/>
          <p:nvPr/>
        </p:nvSpPr>
        <p:spPr>
          <a:xfrm>
            <a:off x="1101010" y="2713953"/>
            <a:ext cx="61036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행사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포럼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미나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도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서 발간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정책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  ■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타</a:t>
            </a:r>
            <a:endParaRPr lang="ko-KR" altLang="en-US" dirty="0"/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877C362-1510-4C13-9BB6-035B19E0E975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E2776E81-80A0-4483-AF56-CAE7FA9D8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73D2572D-9D12-4ABE-8CCE-BD76D32E6B4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2C5F3756-1DEA-453C-9BF4-91A0147CCB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DABD9A1B-FB79-45E5-80E4-DB6A48D30061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EA9E051-ABD6-4E9A-9112-9033952F3D25}"/>
              </a:ext>
            </a:extLst>
          </p:cNvPr>
          <p:cNvSpPr/>
          <p:nvPr/>
        </p:nvSpPr>
        <p:spPr>
          <a:xfrm>
            <a:off x="6897448" y="1872375"/>
            <a:ext cx="851973" cy="2068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818E5B5D-0B40-4C68-B3AF-7526C26206D8}"/>
              </a:ext>
            </a:extLst>
          </p:cNvPr>
          <p:cNvSpPr/>
          <p:nvPr/>
        </p:nvSpPr>
        <p:spPr>
          <a:xfrm>
            <a:off x="7749421" y="1872904"/>
            <a:ext cx="851973" cy="213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031B0A6-E115-43BA-A99D-BB216B685560}"/>
              </a:ext>
            </a:extLst>
          </p:cNvPr>
          <p:cNvSpPr/>
          <p:nvPr/>
        </p:nvSpPr>
        <p:spPr>
          <a:xfrm>
            <a:off x="6941651" y="1880290"/>
            <a:ext cx="763565" cy="214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형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8542047F-D7CE-4F28-B8E8-DC074336ABBD}"/>
              </a:ext>
            </a:extLst>
          </p:cNvPr>
          <p:cNvSpPr/>
          <p:nvPr/>
        </p:nvSpPr>
        <p:spPr>
          <a:xfrm>
            <a:off x="7773597" y="1876165"/>
            <a:ext cx="763565" cy="214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록형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5FEF1B57-CCB2-42AB-873B-AA95211A7282}"/>
              </a:ext>
            </a:extLst>
          </p:cNvPr>
          <p:cNvSpPr/>
          <p:nvPr/>
        </p:nvSpPr>
        <p:spPr>
          <a:xfrm>
            <a:off x="6844994" y="17978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C9776653-C813-40DA-9CE7-DCC417D5620C}"/>
              </a:ext>
            </a:extLst>
          </p:cNvPr>
          <p:cNvSpPr/>
          <p:nvPr/>
        </p:nvSpPr>
        <p:spPr>
          <a:xfrm>
            <a:off x="509561" y="26369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AC03B63-01C3-41D8-B598-C38F2C6BF0C9}"/>
              </a:ext>
            </a:extLst>
          </p:cNvPr>
          <p:cNvSpPr/>
          <p:nvPr/>
        </p:nvSpPr>
        <p:spPr>
          <a:xfrm>
            <a:off x="8102926" y="27589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6A37C5D-8871-4214-B067-7B24D158E6BB}"/>
              </a:ext>
            </a:extLst>
          </p:cNvPr>
          <p:cNvSpPr/>
          <p:nvPr/>
        </p:nvSpPr>
        <p:spPr>
          <a:xfrm>
            <a:off x="507996" y="2221980"/>
            <a:ext cx="8103560" cy="3438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19EB305E-2929-47B8-B6F5-321534FDC12E}"/>
              </a:ext>
            </a:extLst>
          </p:cNvPr>
          <p:cNvSpPr/>
          <p:nvPr/>
        </p:nvSpPr>
        <p:spPr>
          <a:xfrm>
            <a:off x="449064" y="21508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AD986BFA-ECD9-4EC3-9901-6F52697417E1}"/>
              </a:ext>
            </a:extLst>
          </p:cNvPr>
          <p:cNvGrpSpPr/>
          <p:nvPr/>
        </p:nvGrpSpPr>
        <p:grpSpPr>
          <a:xfrm>
            <a:off x="624886" y="2253669"/>
            <a:ext cx="771040" cy="233823"/>
            <a:chOff x="624886" y="2253669"/>
            <a:chExt cx="771040" cy="233823"/>
          </a:xfrm>
        </p:grpSpPr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3DE59417-B0E3-49AE-895E-70D568658415}"/>
                </a:ext>
              </a:extLst>
            </p:cNvPr>
            <p:cNvSpPr/>
            <p:nvPr/>
          </p:nvSpPr>
          <p:spPr>
            <a:xfrm>
              <a:off x="654523" y="2286017"/>
              <a:ext cx="738599" cy="180395"/>
            </a:xfrm>
            <a:prstGeom prst="roundRect">
              <a:avLst>
                <a:gd name="adj" fmla="val 46134"/>
              </a:avLst>
            </a:prstGeom>
            <a:solidFill>
              <a:srgbClr val="C84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65B94DD2-74D8-44AB-BADC-85A8B96C7F10}"/>
                </a:ext>
              </a:extLst>
            </p:cNvPr>
            <p:cNvSpPr/>
            <p:nvPr/>
          </p:nvSpPr>
          <p:spPr>
            <a:xfrm>
              <a:off x="624886" y="2253669"/>
              <a:ext cx="771040" cy="23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</p:grp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A48A4BAB-80A3-4E7F-87DB-A885DE3340E4}"/>
              </a:ext>
            </a:extLst>
          </p:cNvPr>
          <p:cNvGrpSpPr/>
          <p:nvPr/>
        </p:nvGrpSpPr>
        <p:grpSpPr>
          <a:xfrm>
            <a:off x="1429040" y="2253669"/>
            <a:ext cx="850535" cy="233823"/>
            <a:chOff x="624886" y="2253669"/>
            <a:chExt cx="771040" cy="233823"/>
          </a:xfrm>
        </p:grpSpPr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780C007A-C36E-4636-A9CD-AA1C35F474BE}"/>
                </a:ext>
              </a:extLst>
            </p:cNvPr>
            <p:cNvSpPr/>
            <p:nvPr/>
          </p:nvSpPr>
          <p:spPr>
            <a:xfrm>
              <a:off x="654523" y="2286017"/>
              <a:ext cx="738599" cy="180395"/>
            </a:xfrm>
            <a:prstGeom prst="roundRect">
              <a:avLst>
                <a:gd name="adj" fmla="val 4613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0CB4EB18-4A2F-456E-9B81-856CEBBA1201}"/>
                </a:ext>
              </a:extLst>
            </p:cNvPr>
            <p:cNvSpPr/>
            <p:nvPr/>
          </p:nvSpPr>
          <p:spPr>
            <a:xfrm>
              <a:off x="624886" y="2253669"/>
              <a:ext cx="771040" cy="23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</p:grpSp>
      <p:grpSp>
        <p:nvGrpSpPr>
          <p:cNvPr id="61" name="그룹 60">
            <a:extLst>
              <a:ext uri="{FF2B5EF4-FFF2-40B4-BE49-F238E27FC236}">
                <a16:creationId xmlns:a16="http://schemas.microsoft.com/office/drawing/2014/main" id="{47A6AE7E-5366-441C-AD6B-946DF6012694}"/>
              </a:ext>
            </a:extLst>
          </p:cNvPr>
          <p:cNvGrpSpPr/>
          <p:nvPr/>
        </p:nvGrpSpPr>
        <p:grpSpPr>
          <a:xfrm>
            <a:off x="2309175" y="2259649"/>
            <a:ext cx="850535" cy="233823"/>
            <a:chOff x="624886" y="2253669"/>
            <a:chExt cx="771040" cy="233823"/>
          </a:xfrm>
        </p:grpSpPr>
        <p:sp>
          <p:nvSpPr>
            <p:cNvPr id="62" name="사각형: 둥근 모서리 61">
              <a:extLst>
                <a:ext uri="{FF2B5EF4-FFF2-40B4-BE49-F238E27FC236}">
                  <a16:creationId xmlns:a16="http://schemas.microsoft.com/office/drawing/2014/main" id="{39DF8830-4F9F-44E8-919C-197B81DBD8BE}"/>
                </a:ext>
              </a:extLst>
            </p:cNvPr>
            <p:cNvSpPr/>
            <p:nvPr/>
          </p:nvSpPr>
          <p:spPr>
            <a:xfrm>
              <a:off x="654523" y="2286017"/>
              <a:ext cx="738599" cy="180395"/>
            </a:xfrm>
            <a:prstGeom prst="roundRect">
              <a:avLst>
                <a:gd name="adj" fmla="val 4613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1F144EDB-FD31-480C-9FC6-38A8CE7CAEEF}"/>
                </a:ext>
              </a:extLst>
            </p:cNvPr>
            <p:cNvSpPr/>
            <p:nvPr/>
          </p:nvSpPr>
          <p:spPr>
            <a:xfrm>
              <a:off x="624886" y="2253669"/>
              <a:ext cx="771040" cy="23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6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</p:grp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FC0B8B8E-6D25-4D54-A230-0461540A8BCF}"/>
              </a:ext>
            </a:extLst>
          </p:cNvPr>
          <p:cNvGrpSpPr/>
          <p:nvPr/>
        </p:nvGrpSpPr>
        <p:grpSpPr>
          <a:xfrm>
            <a:off x="3206081" y="2265282"/>
            <a:ext cx="850535" cy="233823"/>
            <a:chOff x="624886" y="2253669"/>
            <a:chExt cx="771040" cy="233823"/>
          </a:xfrm>
        </p:grpSpPr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9CDE686F-2C93-4E44-9E40-FF5A4382CB94}"/>
                </a:ext>
              </a:extLst>
            </p:cNvPr>
            <p:cNvSpPr/>
            <p:nvPr/>
          </p:nvSpPr>
          <p:spPr>
            <a:xfrm>
              <a:off x="654523" y="2286017"/>
              <a:ext cx="738599" cy="180395"/>
            </a:xfrm>
            <a:prstGeom prst="roundRect">
              <a:avLst>
                <a:gd name="adj" fmla="val 4613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45182A14-F25E-4FCD-A68D-7B90CBA91E90}"/>
                </a:ext>
              </a:extLst>
            </p:cNvPr>
            <p:cNvSpPr/>
            <p:nvPr/>
          </p:nvSpPr>
          <p:spPr>
            <a:xfrm>
              <a:off x="624886" y="2253669"/>
              <a:ext cx="771040" cy="23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접입력</a:t>
              </a:r>
            </a:p>
          </p:txBody>
        </p:sp>
      </p:grpSp>
      <p:graphicFrame>
        <p:nvGraphicFramePr>
          <p:cNvPr id="16" name="표 16">
            <a:extLst>
              <a:ext uri="{FF2B5EF4-FFF2-40B4-BE49-F238E27FC236}">
                <a16:creationId xmlns:a16="http://schemas.microsoft.com/office/drawing/2014/main" id="{9544CFF0-2938-4EB5-B937-DE51A5BA49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721321"/>
              </p:ext>
            </p:extLst>
          </p:nvPr>
        </p:nvGraphicFramePr>
        <p:xfrm>
          <a:off x="542227" y="3140968"/>
          <a:ext cx="8010842" cy="241060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750870">
                  <a:extLst>
                    <a:ext uri="{9D8B030D-6E8A-4147-A177-3AD203B41FA5}">
                      <a16:colId xmlns:a16="http://schemas.microsoft.com/office/drawing/2014/main" val="2494738760"/>
                    </a:ext>
                  </a:extLst>
                </a:gridCol>
                <a:gridCol w="6259972">
                  <a:extLst>
                    <a:ext uri="{9D8B030D-6E8A-4147-A177-3AD203B41FA5}">
                      <a16:colId xmlns:a16="http://schemas.microsoft.com/office/drawing/2014/main" val="3076374979"/>
                    </a:ext>
                  </a:extLst>
                </a:gridCol>
              </a:tblGrid>
              <a:tr h="3365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시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일정명</a:t>
                      </a: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546594"/>
                  </a:ext>
                </a:extLst>
              </a:tr>
              <a:tr h="34120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/>
                        <a:t>2023.07.04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/>
                        <a:t>           </a:t>
                      </a:r>
                      <a:r>
                        <a:rPr lang="en-US" altLang="ko-KR" sz="1000" u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MEA ESG Webinar</a:t>
                      </a:r>
                      <a:endParaRPr lang="ko-KR" altLang="en-US" sz="1050" u="none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7228441"/>
                  </a:ext>
                </a:extLst>
              </a:tr>
              <a:tr h="341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/>
                        <a:t>2023.07.11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/>
                        <a:t>           </a:t>
                      </a:r>
                      <a:r>
                        <a:rPr lang="en-US" altLang="ko-KR" sz="1100" dirty="0"/>
                        <a:t> </a:t>
                      </a:r>
                      <a:r>
                        <a:rPr lang="en-US" altLang="ko-KR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ustainable Finance Forum</a:t>
                      </a:r>
                      <a:endParaRPr lang="ko-KR" altLang="en-US" sz="1000" u="non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8836249"/>
                  </a:ext>
                </a:extLst>
              </a:tr>
              <a:tr h="341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/>
                        <a:t>2023.07.15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/>
                        <a:t>           </a:t>
                      </a:r>
                      <a:r>
                        <a:rPr lang="ko-KR" altLang="en-US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한국 </a:t>
                      </a:r>
                      <a:r>
                        <a:rPr lang="en-US" altLang="ko-KR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r>
                        <a:rPr lang="ko-KR" altLang="en-US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기준원 지배구조 피드백 종료 예정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1848178"/>
                  </a:ext>
                </a:extLst>
              </a:tr>
              <a:tr h="3680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/>
                        <a:t>2023.07.18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/>
                        <a:t>            </a:t>
                      </a:r>
                      <a:r>
                        <a:rPr lang="en-US" altLang="ko-KR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23 2nd ESG Insight </a:t>
                      </a:r>
                      <a:r>
                        <a:rPr lang="ko-KR" altLang="en-US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발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4234842"/>
                  </a:ext>
                </a:extLst>
              </a:tr>
              <a:tr h="341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/>
                        <a:t>2023.07.21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/>
                        <a:t>           </a:t>
                      </a:r>
                      <a:r>
                        <a:rPr lang="en-US" altLang="ko-KR" sz="1000" u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MEA ESG Webinar</a:t>
                      </a:r>
                      <a:endParaRPr lang="ko-KR" altLang="en-US" sz="1050" u="none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049314"/>
                  </a:ext>
                </a:extLst>
              </a:tr>
              <a:tr h="3412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/>
                        <a:t>2023.07.22</a:t>
                      </a:r>
                      <a:endParaRPr lang="ko-KR" altLang="en-US" sz="1050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dirty="0"/>
                        <a:t>           </a:t>
                      </a:r>
                      <a:r>
                        <a:rPr lang="en-US" altLang="ko-KR" sz="1100" dirty="0"/>
                        <a:t> </a:t>
                      </a:r>
                      <a:r>
                        <a:rPr lang="en-US" altLang="ko-KR" sz="1000" u="non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ustainable Finance Forum</a:t>
                      </a:r>
                      <a:endParaRPr lang="ko-KR" altLang="en-US" sz="1000" u="non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2966106"/>
                  </a:ext>
                </a:extLst>
              </a:tr>
            </a:tbl>
          </a:graphicData>
        </a:graphic>
      </p:graphicFrame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C78D6B0E-2654-4255-9EF8-9F5321B192ED}"/>
              </a:ext>
            </a:extLst>
          </p:cNvPr>
          <p:cNvSpPr/>
          <p:nvPr/>
        </p:nvSpPr>
        <p:spPr>
          <a:xfrm>
            <a:off x="2390461" y="3584886"/>
            <a:ext cx="252000" cy="135312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/>
              <a:t>행사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382317D2-559D-4941-8E08-FD192EFDA170}"/>
              </a:ext>
            </a:extLst>
          </p:cNvPr>
          <p:cNvSpPr/>
          <p:nvPr/>
        </p:nvSpPr>
        <p:spPr>
          <a:xfrm>
            <a:off x="2393507" y="3928559"/>
            <a:ext cx="252000" cy="135312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/>
              <a:t>행사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BEAF443-AFA4-48DC-A93B-7D73C75C1A33}"/>
              </a:ext>
            </a:extLst>
          </p:cNvPr>
          <p:cNvSpPr/>
          <p:nvPr/>
        </p:nvSpPr>
        <p:spPr>
          <a:xfrm>
            <a:off x="2393507" y="4278615"/>
            <a:ext cx="252000" cy="135312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/>
              <a:t>평가</a:t>
            </a: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DDE3D59-4C9D-4E80-9CDA-056A629765E9}"/>
              </a:ext>
            </a:extLst>
          </p:cNvPr>
          <p:cNvSpPr/>
          <p:nvPr/>
        </p:nvSpPr>
        <p:spPr>
          <a:xfrm>
            <a:off x="2390461" y="4606053"/>
            <a:ext cx="252000" cy="13531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발간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4A3D811A-3920-4309-975B-57596E503E27}"/>
              </a:ext>
            </a:extLst>
          </p:cNvPr>
          <p:cNvSpPr/>
          <p:nvPr/>
        </p:nvSpPr>
        <p:spPr>
          <a:xfrm>
            <a:off x="2390461" y="4956109"/>
            <a:ext cx="252000" cy="135312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/>
              <a:t>행사</a:t>
            </a: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65C9BF78-FD34-4257-8CE1-D917233E50BB}"/>
              </a:ext>
            </a:extLst>
          </p:cNvPr>
          <p:cNvSpPr/>
          <p:nvPr/>
        </p:nvSpPr>
        <p:spPr>
          <a:xfrm>
            <a:off x="2393507" y="5299782"/>
            <a:ext cx="252000" cy="135312"/>
          </a:xfrm>
          <a:prstGeom prst="roundRect">
            <a:avLst/>
          </a:prstGeom>
          <a:solidFill>
            <a:srgbClr val="C04600"/>
          </a:solidFill>
          <a:ln>
            <a:solidFill>
              <a:srgbClr val="C046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700" b="1" dirty="0"/>
              <a:t>행사</a:t>
            </a: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76354DA3-1869-4AF0-9F9B-AA678143EEF0}"/>
              </a:ext>
            </a:extLst>
          </p:cNvPr>
          <p:cNvSpPr/>
          <p:nvPr/>
        </p:nvSpPr>
        <p:spPr>
          <a:xfrm>
            <a:off x="460940" y="30394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24A9F117-7B1D-4DD3-839D-7852D60C6A10}"/>
              </a:ext>
            </a:extLst>
          </p:cNvPr>
          <p:cNvSpPr/>
          <p:nvPr/>
        </p:nvSpPr>
        <p:spPr>
          <a:xfrm>
            <a:off x="468378" y="56098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9DAFAE89-86CD-4AC0-B0AD-D9D31CEB8284}"/>
              </a:ext>
            </a:extLst>
          </p:cNvPr>
          <p:cNvSpPr/>
          <p:nvPr/>
        </p:nvSpPr>
        <p:spPr>
          <a:xfrm>
            <a:off x="9273919" y="-16431"/>
            <a:ext cx="2915306" cy="5275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/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/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∙ 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ESG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주요일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–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캘린더형</a:t>
            </a:r>
            <a:r>
              <a:rPr lang="en-US" altLang="ko-KR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목록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능 상세화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12E87EF9-A846-4323-BE54-6AACF245260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82348473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20256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조회 상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을 선택하여 상세정보를 확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일정 정보를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유형 값을 우측 상단에 태그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사용자에게 노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화면 팝업이 종료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6" name="직사각형 55">
            <a:extLst>
              <a:ext uri="{FF2B5EF4-FFF2-40B4-BE49-F238E27FC236}">
                <a16:creationId xmlns:a16="http://schemas.microsoft.com/office/drawing/2014/main" id="{55CEB9EA-9679-4EF9-9A43-9DD2F09B255C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3E903C2-4706-4DCA-A31B-238D33774898}"/>
              </a:ext>
            </a:extLst>
          </p:cNvPr>
          <p:cNvSpPr/>
          <p:nvPr/>
        </p:nvSpPr>
        <p:spPr>
          <a:xfrm>
            <a:off x="8995170" y="242088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105BE7F-7C76-4A58-B2F1-FC828FC4D30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332993" y="603840"/>
            <a:ext cx="8679180" cy="6073140"/>
          </a:xfrm>
          <a:prstGeom prst="rect">
            <a:avLst/>
          </a:prstGeom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023ABEAA-072C-4351-946A-77DB203E738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D6C0546-E7D6-4072-9ABE-32FB6C41580E}"/>
              </a:ext>
            </a:extLst>
          </p:cNvPr>
          <p:cNvSpPr/>
          <p:nvPr/>
        </p:nvSpPr>
        <p:spPr>
          <a:xfrm>
            <a:off x="1055440" y="1183262"/>
            <a:ext cx="7291679" cy="503368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3BE8DDE7-554D-499B-9747-BD0F0436362E}"/>
              </a:ext>
            </a:extLst>
          </p:cNvPr>
          <p:cNvSpPr/>
          <p:nvPr/>
        </p:nvSpPr>
        <p:spPr>
          <a:xfrm>
            <a:off x="1129971" y="1336200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ESG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일정 정보</a:t>
            </a: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3185FBFB-5507-48A3-B6B1-760F1F420281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DAEAE33-B426-4C9E-8E29-035F90BF93A1}"/>
              </a:ext>
            </a:extLst>
          </p:cNvPr>
          <p:cNvSpPr/>
          <p:nvPr/>
        </p:nvSpPr>
        <p:spPr>
          <a:xfrm>
            <a:off x="1132286" y="198622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53266609-B9DD-4C79-8C42-71150C34BD27}"/>
              </a:ext>
            </a:extLst>
          </p:cNvPr>
          <p:cNvSpPr/>
          <p:nvPr/>
        </p:nvSpPr>
        <p:spPr>
          <a:xfrm>
            <a:off x="1785992" y="1986224"/>
            <a:ext cx="4398863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EA ESG Webinar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05D9E9CC-C364-49D7-BD53-B6C63C135854}"/>
              </a:ext>
            </a:extLst>
          </p:cNvPr>
          <p:cNvSpPr/>
          <p:nvPr/>
        </p:nvSpPr>
        <p:spPr>
          <a:xfrm>
            <a:off x="1132286" y="234624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내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EABAE598-8A27-43B4-AEF3-0E4284AFCCF1}"/>
              </a:ext>
            </a:extLst>
          </p:cNvPr>
          <p:cNvGrpSpPr/>
          <p:nvPr/>
        </p:nvGrpSpPr>
        <p:grpSpPr>
          <a:xfrm>
            <a:off x="1785992" y="2346239"/>
            <a:ext cx="6339698" cy="2663759"/>
            <a:chOff x="1785992" y="2717247"/>
            <a:chExt cx="6339698" cy="1440002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8FD9C1A4-DDA5-484B-9C40-DE3418F11650}"/>
                </a:ext>
              </a:extLst>
            </p:cNvPr>
            <p:cNvSpPr/>
            <p:nvPr/>
          </p:nvSpPr>
          <p:spPr>
            <a:xfrm>
              <a:off x="1785992" y="2717247"/>
              <a:ext cx="6339429" cy="14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fontAlgn="base"/>
              <a:r>
                <a:rPr kumimoji="0" lang="ko-KR" altLang="en-US" sz="800" b="0" i="0" u="none" strike="noStrike" cap="none" normalizeH="0" baseline="0" dirty="0" err="1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웨비나</a:t>
              </a:r>
              <a:r>
                <a:rPr kumimoji="0" lang="ko-KR" altLang="en-US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 발표자</a:t>
              </a:r>
              <a:r>
                <a:rPr kumimoji="0" lang="en-US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: </a:t>
              </a:r>
              <a:r>
                <a:rPr lang="en-US" altLang="ko-KR" sz="800" b="0" i="0" dirty="0">
                  <a:solidFill>
                    <a:srgbClr val="2D2D2D"/>
                  </a:solidFill>
                  <a:effectLst/>
                  <a:latin typeface="PwC Helvetica Neue"/>
                </a:rPr>
                <a:t>Nathalie </a:t>
              </a:r>
              <a:r>
                <a:rPr lang="en-US" altLang="ko-KR" sz="800" b="0" i="0" dirty="0" err="1">
                  <a:solidFill>
                    <a:srgbClr val="2D2D2D"/>
                  </a:solidFill>
                  <a:effectLst/>
                  <a:latin typeface="PwC Helvetica Neue"/>
                </a:rPr>
                <a:t>Dogniez</a:t>
              </a:r>
              <a:r>
                <a:rPr lang="en-US" altLang="ko-KR" sz="800" dirty="0">
                  <a:solidFill>
                    <a:srgbClr val="2D2D2D"/>
                  </a:solidFill>
                  <a:latin typeface="PwC Helvetica Neue"/>
                </a:rPr>
                <a:t> (AWM EMEA ESG Leader, PwC)</a:t>
              </a:r>
              <a:endPara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altLang="ko-KR" sz="800" dirty="0">
                <a:solidFill>
                  <a:srgbClr val="202124"/>
                </a:solidFill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ko-KR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유럽 ​​그린 딜의 초점 영역 중 하나는 환경 위험 및 영향으로부터 시민의 건강과 복지에 관한 것입니다.</a:t>
              </a:r>
              <a:endPara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ko-KR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글로벌 코로나</a:t>
              </a:r>
              <a:r>
                <a:rPr kumimoji="0" lang="en-US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 </a:t>
              </a:r>
              <a:r>
                <a:rPr kumimoji="0" lang="ko-KR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바이러스 대유행의 영향을 감안할 때 </a:t>
              </a:r>
              <a:r>
                <a:rPr kumimoji="0" lang="ko-KR" altLang="ko-KR" sz="800" b="0" i="0" u="none" strike="noStrike" cap="none" normalizeH="0" baseline="0" dirty="0" err="1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ESG와</a:t>
              </a:r>
              <a:r>
                <a:rPr kumimoji="0" lang="ko-KR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 지속 가능한 금융은 유럽 위원회의 최우선 과제로 남아 있으며 </a:t>
              </a:r>
              <a:endPara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ko-KR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이 분야의 모멘텀이 가속화될 것으로 예상됩니다.</a:t>
              </a:r>
              <a:endPara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altLang="ko-KR" sz="800" dirty="0">
                <a:solidFill>
                  <a:srgbClr val="202124"/>
                </a:solidFill>
                <a:latin typeface="Arial Unicode MS"/>
                <a:ea typeface="inherit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ko-KR" altLang="en-US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* </a:t>
              </a:r>
              <a:r>
                <a:rPr kumimoji="0" lang="ko-KR" altLang="en-US" sz="800" b="0" i="0" u="none" strike="noStrike" cap="none" normalizeH="0" baseline="0" dirty="0" err="1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웹비나</a:t>
              </a:r>
              <a:r>
                <a:rPr kumimoji="0" lang="ko-KR" altLang="en-US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 신청 및 상세정보 확인은 </a:t>
              </a:r>
              <a:r>
                <a:rPr kumimoji="0" lang="en-US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URL</a:t>
              </a:r>
              <a:r>
                <a:rPr kumimoji="0" lang="ko-KR" altLang="en-US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정보 참고</a:t>
              </a:r>
              <a:r>
                <a:rPr kumimoji="0" lang="en-US" altLang="ko-KR" sz="800" b="0" i="0" u="none" strike="noStrike" cap="none" normalizeH="0" baseline="0" dirty="0">
                  <a:ln>
                    <a:noFill/>
                  </a:ln>
                  <a:solidFill>
                    <a:srgbClr val="202124"/>
                  </a:solidFill>
                  <a:effectLst/>
                  <a:latin typeface="Arial Unicode MS"/>
                  <a:ea typeface="inherit"/>
                </a:rPr>
                <a:t>.</a:t>
              </a:r>
            </a:p>
          </p:txBody>
        </p:sp>
        <p:grpSp>
          <p:nvGrpSpPr>
            <p:cNvPr id="51" name="그룹 50">
              <a:extLst>
                <a:ext uri="{FF2B5EF4-FFF2-40B4-BE49-F238E27FC236}">
                  <a16:creationId xmlns:a16="http://schemas.microsoft.com/office/drawing/2014/main" id="{5E813750-F00A-4136-BC89-0140C98F6F21}"/>
                </a:ext>
              </a:extLst>
            </p:cNvPr>
            <p:cNvGrpSpPr/>
            <p:nvPr/>
          </p:nvGrpSpPr>
          <p:grpSpPr>
            <a:xfrm>
              <a:off x="7973330" y="2717249"/>
              <a:ext cx="152360" cy="1440000"/>
              <a:chOff x="9201470" y="1601344"/>
              <a:chExt cx="188139" cy="4198758"/>
            </a:xfrm>
          </p:grpSpPr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24F12241-D1A4-46CD-8863-66C6B85D6198}"/>
                  </a:ext>
                </a:extLst>
              </p:cNvPr>
              <p:cNvSpPr/>
              <p:nvPr/>
            </p:nvSpPr>
            <p:spPr>
              <a:xfrm>
                <a:off x="9201472" y="1956584"/>
                <a:ext cx="188114" cy="363441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grpSp>
            <p:nvGrpSpPr>
              <p:cNvPr id="53" name="그룹 52">
                <a:extLst>
                  <a:ext uri="{FF2B5EF4-FFF2-40B4-BE49-F238E27FC236}">
                    <a16:creationId xmlns:a16="http://schemas.microsoft.com/office/drawing/2014/main" id="{3F9A2FA9-8C83-4C82-BB17-51654B1EA6EE}"/>
                  </a:ext>
                </a:extLst>
              </p:cNvPr>
              <p:cNvGrpSpPr/>
              <p:nvPr/>
            </p:nvGrpSpPr>
            <p:grpSpPr>
              <a:xfrm>
                <a:off x="9201470" y="1601344"/>
                <a:ext cx="188139" cy="4198758"/>
                <a:chOff x="9201470" y="1601344"/>
                <a:chExt cx="188139" cy="4198758"/>
              </a:xfrm>
            </p:grpSpPr>
            <p:sp>
              <p:nvSpPr>
                <p:cNvPr id="54" name="직사각형 53">
                  <a:extLst>
                    <a:ext uri="{FF2B5EF4-FFF2-40B4-BE49-F238E27FC236}">
                      <a16:creationId xmlns:a16="http://schemas.microsoft.com/office/drawing/2014/main" id="{91DE1936-3425-4513-8CB6-227D5E615B00}"/>
                    </a:ext>
                  </a:extLst>
                </p:cNvPr>
                <p:cNvSpPr/>
                <p:nvPr/>
              </p:nvSpPr>
              <p:spPr>
                <a:xfrm>
                  <a:off x="9201495" y="1810107"/>
                  <a:ext cx="188114" cy="173873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ko-KR" altLang="en-US" sz="900" dirty="0">
                    <a:solidFill>
                      <a:schemeClr val="tx1"/>
                    </a:solidFill>
                    <a:latin typeface="경기천년제목 Light" panose="02020403020101020101" pitchFamily="18" charset="-127"/>
                    <a:ea typeface="경기천년제목 Light" panose="02020403020101020101" pitchFamily="18" charset="-127"/>
                    <a:cs typeface="함초롬바탕" panose="02030604000101010101" pitchFamily="18" charset="-127"/>
                  </a:endParaRPr>
                </a:p>
              </p:txBody>
            </p:sp>
            <p:sp>
              <p:nvSpPr>
                <p:cNvPr id="55" name="직사각형 54">
                  <a:extLst>
                    <a:ext uri="{FF2B5EF4-FFF2-40B4-BE49-F238E27FC236}">
                      <a16:creationId xmlns:a16="http://schemas.microsoft.com/office/drawing/2014/main" id="{F498CAE4-1534-4C97-8CEC-3B4092ECB6DE}"/>
                    </a:ext>
                  </a:extLst>
                </p:cNvPr>
                <p:cNvSpPr/>
                <p:nvPr/>
              </p:nvSpPr>
              <p:spPr>
                <a:xfrm rot="10800000">
                  <a:off x="9201470" y="5590996"/>
                  <a:ext cx="188114" cy="209106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/>
                  <a:r>
                    <a:rPr lang="ko-KR" altLang="en-US" sz="700" b="1" dirty="0">
                      <a:solidFill>
                        <a:schemeClr val="bg1"/>
                      </a:solidFill>
                      <a:latin typeface="+mn-ea"/>
                      <a:cs typeface="함초롬바탕" panose="02030604000101010101" pitchFamily="18" charset="-127"/>
                    </a:rPr>
                    <a:t>▲</a:t>
                  </a:r>
                </a:p>
              </p:txBody>
            </p:sp>
            <p:sp>
              <p:nvSpPr>
                <p:cNvPr id="57" name="직사각형 56">
                  <a:extLst>
                    <a:ext uri="{FF2B5EF4-FFF2-40B4-BE49-F238E27FC236}">
                      <a16:creationId xmlns:a16="http://schemas.microsoft.com/office/drawing/2014/main" id="{96C359E6-CD68-4CCB-AD05-D480032DB0F8}"/>
                    </a:ext>
                  </a:extLst>
                </p:cNvPr>
                <p:cNvSpPr/>
                <p:nvPr/>
              </p:nvSpPr>
              <p:spPr>
                <a:xfrm>
                  <a:off x="9201471" y="1601344"/>
                  <a:ext cx="188114" cy="208763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/>
                  <a:r>
                    <a:rPr lang="ko-KR" altLang="en-US" sz="700" b="1" dirty="0">
                      <a:solidFill>
                        <a:schemeClr val="bg1"/>
                      </a:solidFill>
                      <a:latin typeface="+mn-ea"/>
                      <a:cs typeface="함초롬바탕" panose="02030604000101010101" pitchFamily="18" charset="-127"/>
                    </a:rPr>
                    <a:t>▲</a:t>
                  </a:r>
                </a:p>
              </p:txBody>
            </p:sp>
          </p:grpSp>
        </p:grpSp>
      </p:grp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9107FB58-BCF3-48F9-8532-7BA34958EDD9}"/>
              </a:ext>
            </a:extLst>
          </p:cNvPr>
          <p:cNvSpPr/>
          <p:nvPr/>
        </p:nvSpPr>
        <p:spPr>
          <a:xfrm>
            <a:off x="1132286" y="5157216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RL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0701AA78-AFCE-401E-A53A-233CD4531C76}"/>
              </a:ext>
            </a:extLst>
          </p:cNvPr>
          <p:cNvSpPr/>
          <p:nvPr/>
        </p:nvSpPr>
        <p:spPr>
          <a:xfrm>
            <a:off x="1785992" y="5157216"/>
            <a:ext cx="6339429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ttps://www.pwc.lu/en/events/emea-esg-webinar.html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238B242D-4F6E-446E-92E2-96F65EF82671}"/>
              </a:ext>
            </a:extLst>
          </p:cNvPr>
          <p:cNvSpPr/>
          <p:nvPr/>
        </p:nvSpPr>
        <p:spPr>
          <a:xfrm>
            <a:off x="7431312" y="1620107"/>
            <a:ext cx="684000" cy="216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/>
              <a:t>행사</a:t>
            </a: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F45E3397-B38E-482B-938B-B63D1F5378C2}"/>
              </a:ext>
            </a:extLst>
          </p:cNvPr>
          <p:cNvSpPr/>
          <p:nvPr/>
        </p:nvSpPr>
        <p:spPr>
          <a:xfrm>
            <a:off x="6259301" y="200388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0B0DEBD-7D09-4552-8C9E-893978EC4CBC}"/>
              </a:ext>
            </a:extLst>
          </p:cNvPr>
          <p:cNvSpPr/>
          <p:nvPr/>
        </p:nvSpPr>
        <p:spPr>
          <a:xfrm>
            <a:off x="6672064" y="1986224"/>
            <a:ext cx="1426137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.07.04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74BD0525-304C-4939-AB85-FD37B4BB5D55}"/>
              </a:ext>
            </a:extLst>
          </p:cNvPr>
          <p:cNvSpPr/>
          <p:nvPr/>
        </p:nvSpPr>
        <p:spPr>
          <a:xfrm>
            <a:off x="7112425" y="58163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64113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1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550835"/>
              </p:ext>
            </p:extLst>
          </p:nvPr>
        </p:nvGraphicFramePr>
        <p:xfrm>
          <a:off x="342860" y="871491"/>
          <a:ext cx="11511641" cy="55290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8644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292513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65200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00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31700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261937">
                <a:tc rowSpan="19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ome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Home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OME (Landing Page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사이트 주요 내용과 핵심 서비스가 노출되도록 구성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7816437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구독 신청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를 구독하기 위해 개인정보 마케팅 활용 및 이메일 수신 동의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6263472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유도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로그인 회원이 로그인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뭔만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접근 가능한 컨텐츠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또는 화면 클릭 시 출력 팝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545079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아이디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입력하여 로그인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523635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찾기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정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후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를 해당 이메일로 발송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5247577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이메일 발송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일치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시비밀번호 이메일 발송 안내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4432977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불일치 안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불일치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확인 안내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378094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신청서로 구성되어 있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740049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본인인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수 절차인 인증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4443403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30</a:t>
                      </a:r>
                      <a:endParaRPr 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 완료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 완료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0716486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검색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E0301E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 시 소속 회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 검색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0562645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회사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관 등록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관명 수동 등록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4884598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페이지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나의 활동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기정보확인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내역 확인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가진단 확인 등의 기능을 제공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8573686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수정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수정을 위한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08623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확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수정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를 위해 비밀번호를 확인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3989133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변경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변경을 위한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5154273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탈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를 위한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9369342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 최종확인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 최종 확인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2463738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탈퇴 완료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 완료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209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995292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en-US" altLang="ko-KR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ESG 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진단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〮</a:t>
            </a:r>
            <a:r>
              <a:rPr lang="ko-KR" altLang="en-US" sz="24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계획</a:t>
            </a:r>
            <a:endParaRPr lang="ko-KR" altLang="en-US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81627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10E82A3C-390A-4818-BFCF-F4AC1947CEAF}"/>
              </a:ext>
            </a:extLst>
          </p:cNvPr>
          <p:cNvSpPr/>
          <p:nvPr/>
        </p:nvSpPr>
        <p:spPr>
          <a:xfrm>
            <a:off x="473908" y="2407933"/>
            <a:ext cx="8332317" cy="10087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 개요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813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시작하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002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 회원이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도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V005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 출력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9072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250D2A6-FFBD-4B98-A56E-DB689FAC95D2}"/>
              </a:ext>
            </a:extLst>
          </p:cNvPr>
          <p:cNvSpPr txBox="1"/>
          <p:nvPr/>
        </p:nvSpPr>
        <p:spPr>
          <a:xfrm>
            <a:off x="515921" y="2429819"/>
            <a:ext cx="8346525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 자가진단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은 기업이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을 위해 어떤 활동을 하고 있는지를 확인하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해당 기업이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필요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활동에 대한 경영 가이드를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쉽게 참고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할</a:t>
            </a:r>
            <a:b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</a:b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수 있도록 지원하기 위한 목적으로 구성 되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</a:t>
            </a:r>
          </a:p>
          <a:p>
            <a:pPr>
              <a:spcAft>
                <a:spcPts val="600"/>
              </a:spcAft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자가진단은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기본정보를 입력하는 단계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와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 활동의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단계 프로세스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를 반영하여 총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4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단계로 진행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 </a:t>
            </a:r>
          </a:p>
          <a:p>
            <a:pPr>
              <a:spcAft>
                <a:spcPts val="600"/>
              </a:spcAft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+mn-ea"/>
                <a:cs typeface="Arial"/>
              </a:rPr>
              <a:t>경우에 따라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+mn-ea"/>
                <a:cs typeface="Arial"/>
              </a:rPr>
              <a:t>34 ~ 36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+mn-ea"/>
                <a:cs typeface="Arial"/>
              </a:rPr>
              <a:t>개의 문항에 응답하도록 구성되어 있으며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+mn-ea"/>
                <a:cs typeface="Arial"/>
              </a:rPr>
              <a:t>,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문항에 따라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예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’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또는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‘</a:t>
            </a: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아니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로 응답하는 문항과 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‘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해당하는 항목을 하나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또는 모두 선택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’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하는 문항이 섞여 있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모든 문항의 응답을 입력하지 않으면 다음으로 넘어갈 수 없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DABA59B3-81BF-4BCF-878D-2BC4A61A6CB5}"/>
              </a:ext>
            </a:extLst>
          </p:cNvPr>
          <p:cNvSpPr/>
          <p:nvPr/>
        </p:nvSpPr>
        <p:spPr>
          <a:xfrm>
            <a:off x="3841875" y="3485065"/>
            <a:ext cx="1780549" cy="324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시작하기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r>
              <a:rPr lang="en-US" altLang="ko-KR" sz="12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12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요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F69E5B97-86A7-4CB0-99EC-7328209C2E2C}"/>
              </a:ext>
            </a:extLst>
          </p:cNvPr>
          <p:cNvSpPr/>
          <p:nvPr/>
        </p:nvSpPr>
        <p:spPr>
          <a:xfrm>
            <a:off x="3825545" y="34153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1" name="그룹 60">
            <a:extLst>
              <a:ext uri="{FF2B5EF4-FFF2-40B4-BE49-F238E27FC236}">
                <a16:creationId xmlns:a16="http://schemas.microsoft.com/office/drawing/2014/main" id="{3DE454BA-CE20-493B-975F-9D3D3C79D65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2" name="그림 61">
              <a:extLst>
                <a:ext uri="{FF2B5EF4-FFF2-40B4-BE49-F238E27FC236}">
                  <a16:creationId xmlns:a16="http://schemas.microsoft.com/office/drawing/2014/main" id="{F7BBA8E2-172B-4A00-979C-14C235B228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B34B1F8D-4639-48BD-B7E8-6FFCB4D7555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78ABD3D5-7EF5-493E-9710-C6302FCF18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89BD8F3-7D7C-449C-9FE1-0C70A4850686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10F17BB6-1115-47F4-9788-EB449049DFBB}"/>
              </a:ext>
            </a:extLst>
          </p:cNvPr>
          <p:cNvSpPr/>
          <p:nvPr/>
        </p:nvSpPr>
        <p:spPr>
          <a:xfrm>
            <a:off x="8972055" y="0"/>
            <a:ext cx="3218221" cy="24831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비로그인 회원이 진단하기 버튼 클릭 시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로그인 </a:t>
            </a:r>
            <a:r>
              <a:rPr lang="ko-KR" altLang="en-US" sz="800" b="0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유도팝업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[ID:V005]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Arial" panose="020B0604020202020204" pitchFamily="34" charset="0"/>
                <a:ea typeface="+mn-ea"/>
                <a:cs typeface="Arial"/>
              </a:rPr>
              <a:t> 화면 출력 기능 추가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ea typeface="+mn-ea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latin typeface="Arial" panose="020B0604020202020204" pitchFamily="34" charset="0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25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가이드 전체 반영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환경과제 이행 → 환경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 과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행 → 사회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과제 → 거버넌스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28&gt;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획서 통합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수정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 ‘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전체 문항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38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latin typeface="+mn-ea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금융회사의 경우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39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이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’ </a:t>
            </a: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  → ‘</a:t>
            </a:r>
            <a:r>
              <a:rPr lang="ko-KR" altLang="en-US" sz="800" dirty="0"/>
              <a:t>경우에 따라 </a:t>
            </a:r>
            <a:r>
              <a:rPr lang="en-US" altLang="ko-KR" sz="800" dirty="0"/>
              <a:t>34</a:t>
            </a:r>
            <a:r>
              <a:rPr lang="ko-KR" altLang="en-US" sz="800" dirty="0"/>
              <a:t> </a:t>
            </a:r>
            <a:r>
              <a:rPr lang="en-US" altLang="ko-KR" sz="800" dirty="0"/>
              <a:t>~ 36</a:t>
            </a:r>
            <a:r>
              <a:rPr lang="ko-KR" altLang="en-US" sz="800" dirty="0"/>
              <a:t>개의 문항에 응답하도록 구성되어 있으며</a:t>
            </a:r>
            <a:r>
              <a:rPr lang="en-US" altLang="ko-KR" sz="800" dirty="0"/>
              <a:t>, ‘</a:t>
            </a:r>
            <a:endParaRPr lang="ko-KR" altLang="en-US" sz="800" dirty="0"/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획서 현행화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[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시작하기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버튼을 화면 가운데로 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획서 현행화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3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단계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 아래 주제에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 관리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추가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9DDE7BAF-9F04-41BD-9CC2-70A042D7137B}"/>
              </a:ext>
            </a:extLst>
          </p:cNvPr>
          <p:cNvGrpSpPr/>
          <p:nvPr/>
        </p:nvGrpSpPr>
        <p:grpSpPr>
          <a:xfrm>
            <a:off x="763020" y="3941898"/>
            <a:ext cx="7793133" cy="2389618"/>
            <a:chOff x="763020" y="3286410"/>
            <a:chExt cx="7793133" cy="2614484"/>
          </a:xfrm>
        </p:grpSpPr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A7C7097B-AF08-417F-9A83-C64B3E000A95}"/>
                </a:ext>
              </a:extLst>
            </p:cNvPr>
            <p:cNvSpPr/>
            <p:nvPr/>
          </p:nvSpPr>
          <p:spPr>
            <a:xfrm>
              <a:off x="763020" y="3286410"/>
              <a:ext cx="1610131" cy="26745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latin typeface="+mn-ea"/>
                  <a:cs typeface="함초롬바탕" panose="02030604000101010101" pitchFamily="18" charset="-127"/>
                </a:rPr>
                <a:t>1</a:t>
              </a:r>
              <a:r>
                <a:rPr lang="ko-KR" altLang="en-US" sz="1000" b="1" dirty="0">
                  <a:latin typeface="+mn-ea"/>
                  <a:cs typeface="함초롬바탕" panose="02030604000101010101" pitchFamily="18" charset="-127"/>
                </a:rPr>
                <a:t>단계</a:t>
              </a:r>
            </a:p>
          </p:txBody>
        </p:sp>
        <p:sp>
          <p:nvSpPr>
            <p:cNvPr id="51" name="사각형: 둥근 모서리 50">
              <a:extLst>
                <a:ext uri="{FF2B5EF4-FFF2-40B4-BE49-F238E27FC236}">
                  <a16:creationId xmlns:a16="http://schemas.microsoft.com/office/drawing/2014/main" id="{DEC142DB-CB9D-4D23-BFDB-766805002345}"/>
                </a:ext>
              </a:extLst>
            </p:cNvPr>
            <p:cNvSpPr/>
            <p:nvPr/>
          </p:nvSpPr>
          <p:spPr>
            <a:xfrm>
              <a:off x="2806963" y="3286410"/>
              <a:ext cx="1610131" cy="26745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latin typeface="+mn-ea"/>
                  <a:cs typeface="함초롬바탕" panose="02030604000101010101" pitchFamily="18" charset="-127"/>
                </a:rPr>
                <a:t>2</a:t>
              </a:r>
              <a:r>
                <a:rPr lang="ko-KR" altLang="en-US" sz="1000" b="1" dirty="0">
                  <a:latin typeface="+mn-ea"/>
                  <a:cs typeface="함초롬바탕" panose="02030604000101010101" pitchFamily="18" charset="-127"/>
                </a:rPr>
                <a:t>단계</a:t>
              </a:r>
            </a:p>
          </p:txBody>
        </p:sp>
        <p:sp>
          <p:nvSpPr>
            <p:cNvPr id="57" name="사각형: 둥근 모서리 56">
              <a:extLst>
                <a:ext uri="{FF2B5EF4-FFF2-40B4-BE49-F238E27FC236}">
                  <a16:creationId xmlns:a16="http://schemas.microsoft.com/office/drawing/2014/main" id="{B19C79EC-DD26-4B91-B69B-F73431691620}"/>
                </a:ext>
              </a:extLst>
            </p:cNvPr>
            <p:cNvSpPr/>
            <p:nvPr/>
          </p:nvSpPr>
          <p:spPr>
            <a:xfrm>
              <a:off x="6913381" y="3286410"/>
              <a:ext cx="1608488" cy="26745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latin typeface="+mn-ea"/>
                  <a:cs typeface="함초롬바탕" panose="02030604000101010101" pitchFamily="18" charset="-127"/>
                </a:rPr>
                <a:t>4</a:t>
              </a:r>
              <a:r>
                <a:rPr lang="ko-KR" altLang="en-US" sz="1000" b="1" dirty="0">
                  <a:latin typeface="+mn-ea"/>
                  <a:cs typeface="함초롬바탕" panose="02030604000101010101" pitchFamily="18" charset="-127"/>
                </a:rPr>
                <a:t>단계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F843D3F7-76B1-45B2-9B25-3BFA28E8FEA1}"/>
                </a:ext>
              </a:extLst>
            </p:cNvPr>
            <p:cNvSpPr/>
            <p:nvPr/>
          </p:nvSpPr>
          <p:spPr>
            <a:xfrm>
              <a:off x="4840239" y="3286410"/>
              <a:ext cx="1610131" cy="267452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1000" b="1" dirty="0">
                  <a:latin typeface="+mn-ea"/>
                  <a:cs typeface="함초롬바탕" panose="02030604000101010101" pitchFamily="18" charset="-127"/>
                </a:rPr>
                <a:t>3</a:t>
              </a:r>
              <a:r>
                <a:rPr lang="ko-KR" altLang="en-US" sz="1000" b="1" dirty="0">
                  <a:latin typeface="+mn-ea"/>
                  <a:cs typeface="함초롬바탕" panose="02030604000101010101" pitchFamily="18" charset="-127"/>
                </a:rPr>
                <a:t>단계</a:t>
              </a:r>
            </a:p>
          </p:txBody>
        </p:sp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98085301-B216-4701-A195-736640F6DA54}"/>
                </a:ext>
              </a:extLst>
            </p:cNvPr>
            <p:cNvGrpSpPr/>
            <p:nvPr/>
          </p:nvGrpSpPr>
          <p:grpSpPr>
            <a:xfrm>
              <a:off x="763020" y="3624425"/>
              <a:ext cx="7793133" cy="2276469"/>
              <a:chOff x="763020" y="3624425"/>
              <a:chExt cx="7793133" cy="2652422"/>
            </a:xfrm>
          </p:grpSpPr>
          <p:sp>
            <p:nvSpPr>
              <p:cNvPr id="39" name="사각형: 둥근 모서리 38">
                <a:extLst>
                  <a:ext uri="{FF2B5EF4-FFF2-40B4-BE49-F238E27FC236}">
                    <a16:creationId xmlns:a16="http://schemas.microsoft.com/office/drawing/2014/main" id="{1860F55A-CEFE-459F-A658-BA5F98706ED2}"/>
                  </a:ext>
                </a:extLst>
              </p:cNvPr>
              <p:cNvSpPr/>
              <p:nvPr/>
            </p:nvSpPr>
            <p:spPr>
              <a:xfrm>
                <a:off x="763020" y="3624425"/>
                <a:ext cx="1610131" cy="580481"/>
              </a:xfrm>
              <a:prstGeom prst="roundRect">
                <a:avLst>
                  <a:gd name="adj" fmla="val 8041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40" name="직사각형 39">
                <a:extLst>
                  <a:ext uri="{FF2B5EF4-FFF2-40B4-BE49-F238E27FC236}">
                    <a16:creationId xmlns:a16="http://schemas.microsoft.com/office/drawing/2014/main" id="{D90E2841-5723-434A-8AE6-33977ECCDF77}"/>
                  </a:ext>
                </a:extLst>
              </p:cNvPr>
              <p:cNvSpPr/>
              <p:nvPr/>
            </p:nvSpPr>
            <p:spPr>
              <a:xfrm>
                <a:off x="792939" y="3793232"/>
                <a:ext cx="1550294" cy="21613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본 정보 입력</a:t>
                </a:r>
              </a:p>
            </p:txBody>
          </p:sp>
          <p:sp>
            <p:nvSpPr>
              <p:cNvPr id="49" name="사각형: 둥근 모서리 48">
                <a:extLst>
                  <a:ext uri="{FF2B5EF4-FFF2-40B4-BE49-F238E27FC236}">
                    <a16:creationId xmlns:a16="http://schemas.microsoft.com/office/drawing/2014/main" id="{40E17461-EBE0-401C-8029-78F692060394}"/>
                  </a:ext>
                </a:extLst>
              </p:cNvPr>
              <p:cNvSpPr/>
              <p:nvPr/>
            </p:nvSpPr>
            <p:spPr>
              <a:xfrm>
                <a:off x="2806963" y="3624425"/>
                <a:ext cx="1610131" cy="580481"/>
              </a:xfrm>
              <a:prstGeom prst="roundRect">
                <a:avLst>
                  <a:gd name="adj" fmla="val 732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C4234973-4D93-4E9C-B0E8-663D04B1DFCD}"/>
                  </a:ext>
                </a:extLst>
              </p:cNvPr>
              <p:cNvSpPr/>
              <p:nvPr/>
            </p:nvSpPr>
            <p:spPr>
              <a:xfrm>
                <a:off x="3045652" y="3793232"/>
                <a:ext cx="1132753" cy="21613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55" name="사각형: 둥근 모서리 54">
                <a:extLst>
                  <a:ext uri="{FF2B5EF4-FFF2-40B4-BE49-F238E27FC236}">
                    <a16:creationId xmlns:a16="http://schemas.microsoft.com/office/drawing/2014/main" id="{47AB0FEB-778E-40DB-B9D3-32F94B545665}"/>
                  </a:ext>
                </a:extLst>
              </p:cNvPr>
              <p:cNvSpPr/>
              <p:nvPr/>
            </p:nvSpPr>
            <p:spPr>
              <a:xfrm>
                <a:off x="6913381" y="3624425"/>
                <a:ext cx="1608488" cy="580481"/>
              </a:xfrm>
              <a:prstGeom prst="roundRect">
                <a:avLst>
                  <a:gd name="adj" fmla="val 8041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6" name="직사각형 55">
                <a:extLst>
                  <a:ext uri="{FF2B5EF4-FFF2-40B4-BE49-F238E27FC236}">
                    <a16:creationId xmlns:a16="http://schemas.microsoft.com/office/drawing/2014/main" id="{7A7892A1-392C-4AC2-A535-2E7DDA2A1D38}"/>
                  </a:ext>
                </a:extLst>
              </p:cNvPr>
              <p:cNvSpPr/>
              <p:nvPr/>
            </p:nvSpPr>
            <p:spPr>
              <a:xfrm>
                <a:off x="6912559" y="3793232"/>
                <a:ext cx="1643594" cy="21613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endParaRPr>
              </a:p>
            </p:txBody>
          </p:sp>
          <p:sp>
            <p:nvSpPr>
              <p:cNvPr id="89" name="사각형: 둥근 모서리 88">
                <a:extLst>
                  <a:ext uri="{FF2B5EF4-FFF2-40B4-BE49-F238E27FC236}">
                    <a16:creationId xmlns:a16="http://schemas.microsoft.com/office/drawing/2014/main" id="{2F4AE403-2ECC-4FEC-8A5A-6AC99EB86C82}"/>
                  </a:ext>
                </a:extLst>
              </p:cNvPr>
              <p:cNvSpPr/>
              <p:nvPr/>
            </p:nvSpPr>
            <p:spPr>
              <a:xfrm>
                <a:off x="4840239" y="3624425"/>
                <a:ext cx="1610131" cy="580481"/>
              </a:xfrm>
              <a:prstGeom prst="roundRect">
                <a:avLst>
                  <a:gd name="adj" fmla="val 5885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199426DB-131B-432B-B3C1-88C0812C920C}"/>
                  </a:ext>
                </a:extLst>
              </p:cNvPr>
              <p:cNvSpPr/>
              <p:nvPr/>
            </p:nvSpPr>
            <p:spPr>
              <a:xfrm>
                <a:off x="4870158" y="3793232"/>
                <a:ext cx="1550294" cy="21613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이행</a:t>
                </a:r>
              </a:p>
            </p:txBody>
          </p:sp>
          <p:sp>
            <p:nvSpPr>
              <p:cNvPr id="65" name="사각형: 둥근 모서리 64">
                <a:extLst>
                  <a:ext uri="{FF2B5EF4-FFF2-40B4-BE49-F238E27FC236}">
                    <a16:creationId xmlns:a16="http://schemas.microsoft.com/office/drawing/2014/main" id="{E484A5B2-9615-46F3-9EC6-5DA05806598E}"/>
                  </a:ext>
                </a:extLst>
              </p:cNvPr>
              <p:cNvSpPr/>
              <p:nvPr/>
            </p:nvSpPr>
            <p:spPr>
              <a:xfrm>
                <a:off x="763020" y="4299944"/>
                <a:ext cx="1610131" cy="1976903"/>
              </a:xfrm>
              <a:prstGeom prst="roundRect">
                <a:avLst>
                  <a:gd name="adj" fmla="val 6728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8BD87B76-0477-42EA-8895-8E722E5DA248}"/>
                  </a:ext>
                </a:extLst>
              </p:cNvPr>
              <p:cNvSpPr/>
              <p:nvPr/>
            </p:nvSpPr>
            <p:spPr>
              <a:xfrm>
                <a:off x="2821591" y="4299944"/>
                <a:ext cx="1610131" cy="1976903"/>
              </a:xfrm>
              <a:prstGeom prst="roundRect">
                <a:avLst>
                  <a:gd name="adj" fmla="val 6728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7" name="사각형: 둥근 모서리 66">
                <a:extLst>
                  <a:ext uri="{FF2B5EF4-FFF2-40B4-BE49-F238E27FC236}">
                    <a16:creationId xmlns:a16="http://schemas.microsoft.com/office/drawing/2014/main" id="{601F5F23-4C92-42AB-AEE4-D27FE55380A5}"/>
                  </a:ext>
                </a:extLst>
              </p:cNvPr>
              <p:cNvSpPr/>
              <p:nvPr/>
            </p:nvSpPr>
            <p:spPr>
              <a:xfrm>
                <a:off x="4840239" y="4299944"/>
                <a:ext cx="1610131" cy="1976903"/>
              </a:xfrm>
              <a:prstGeom prst="roundRect">
                <a:avLst>
                  <a:gd name="adj" fmla="val 6728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8" name="사각형: 둥근 모서리 67">
                <a:extLst>
                  <a:ext uri="{FF2B5EF4-FFF2-40B4-BE49-F238E27FC236}">
                    <a16:creationId xmlns:a16="http://schemas.microsoft.com/office/drawing/2014/main" id="{E08B84CC-8251-46F0-89FE-4B1EF8ED6DE0}"/>
                  </a:ext>
                </a:extLst>
              </p:cNvPr>
              <p:cNvSpPr/>
              <p:nvPr/>
            </p:nvSpPr>
            <p:spPr>
              <a:xfrm>
                <a:off x="6929290" y="4299944"/>
                <a:ext cx="1610131" cy="1976903"/>
              </a:xfrm>
              <a:prstGeom prst="roundRect">
                <a:avLst>
                  <a:gd name="adj" fmla="val 6728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81BABAD7-5D45-4A8B-BA9B-357F6B198B7E}"/>
                </a:ext>
              </a:extLst>
            </p:cNvPr>
            <p:cNvSpPr/>
            <p:nvPr/>
          </p:nvSpPr>
          <p:spPr>
            <a:xfrm>
              <a:off x="875292" y="4244333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기업업종</a:t>
              </a:r>
            </a:p>
          </p:txBody>
        </p:sp>
        <p:sp>
          <p:nvSpPr>
            <p:cNvPr id="47" name="사각형: 둥근 모서리 46">
              <a:extLst>
                <a:ext uri="{FF2B5EF4-FFF2-40B4-BE49-F238E27FC236}">
                  <a16:creationId xmlns:a16="http://schemas.microsoft.com/office/drawing/2014/main" id="{1069F400-50EF-4573-B7D9-82D6CCF85A95}"/>
                </a:ext>
              </a:extLst>
            </p:cNvPr>
            <p:cNvSpPr/>
            <p:nvPr/>
          </p:nvSpPr>
          <p:spPr>
            <a:xfrm>
              <a:off x="875292" y="4480524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기업규모</a:t>
              </a:r>
            </a:p>
          </p:txBody>
        </p:sp>
        <p:sp>
          <p:nvSpPr>
            <p:cNvPr id="52" name="사각형: 둥근 모서리 51">
              <a:extLst>
                <a:ext uri="{FF2B5EF4-FFF2-40B4-BE49-F238E27FC236}">
                  <a16:creationId xmlns:a16="http://schemas.microsoft.com/office/drawing/2014/main" id="{3AB1C84C-7AD2-4B81-86E6-1F4684DED1D8}"/>
                </a:ext>
              </a:extLst>
            </p:cNvPr>
            <p:cNvSpPr/>
            <p:nvPr/>
          </p:nvSpPr>
          <p:spPr>
            <a:xfrm>
              <a:off x="2919235" y="4244333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경영전략 수립</a:t>
              </a:r>
            </a:p>
          </p:txBody>
        </p:sp>
        <p:sp>
          <p:nvSpPr>
            <p:cNvPr id="53" name="사각형: 둥근 모서리 52">
              <a:extLst>
                <a:ext uri="{FF2B5EF4-FFF2-40B4-BE49-F238E27FC236}">
                  <a16:creationId xmlns:a16="http://schemas.microsoft.com/office/drawing/2014/main" id="{41951215-A149-47DA-918A-5CE126FB3A06}"/>
                </a:ext>
              </a:extLst>
            </p:cNvPr>
            <p:cNvSpPr/>
            <p:nvPr/>
          </p:nvSpPr>
          <p:spPr>
            <a:xfrm>
              <a:off x="2919235" y="4480524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경영체계 수립</a:t>
              </a:r>
            </a:p>
          </p:txBody>
        </p:sp>
        <p:sp>
          <p:nvSpPr>
            <p:cNvPr id="69" name="사각형: 둥근 모서리 68">
              <a:extLst>
                <a:ext uri="{FF2B5EF4-FFF2-40B4-BE49-F238E27FC236}">
                  <a16:creationId xmlns:a16="http://schemas.microsoft.com/office/drawing/2014/main" id="{5CFB40CC-A142-419B-A183-CFAA0C9637CD}"/>
                </a:ext>
              </a:extLst>
            </p:cNvPr>
            <p:cNvSpPr/>
            <p:nvPr/>
          </p:nvSpPr>
          <p:spPr>
            <a:xfrm>
              <a:off x="7024831" y="4244332"/>
              <a:ext cx="1404000" cy="188046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9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공시</a:t>
              </a:r>
            </a:p>
          </p:txBody>
        </p:sp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0FA811C8-C860-4342-9E48-E75FD71877EF}"/>
                </a:ext>
              </a:extLst>
            </p:cNvPr>
            <p:cNvSpPr/>
            <p:nvPr/>
          </p:nvSpPr>
          <p:spPr>
            <a:xfrm>
              <a:off x="7024831" y="4480524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평가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B6966C3F-CCA6-40AA-926A-483907D52D4A}"/>
                </a:ext>
              </a:extLst>
            </p:cNvPr>
            <p:cNvSpPr/>
            <p:nvPr/>
          </p:nvSpPr>
          <p:spPr>
            <a:xfrm>
              <a:off x="4952511" y="4244333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환경 과제</a:t>
              </a:r>
              <a:r>
                <a:rPr lang="ko-KR" altLang="en-US" sz="900" b="1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이행</a:t>
              </a:r>
            </a:p>
          </p:txBody>
        </p:sp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B3E11464-2DF1-4FA8-ADDE-3AE05B0BABB0}"/>
                </a:ext>
              </a:extLst>
            </p:cNvPr>
            <p:cNvSpPr/>
            <p:nvPr/>
          </p:nvSpPr>
          <p:spPr>
            <a:xfrm>
              <a:off x="4952511" y="4479738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사회 과제</a:t>
              </a:r>
              <a:r>
                <a:rPr lang="ko-KR" altLang="en-US" sz="900" b="1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이행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462A57F8-75C9-4B85-BE32-5A9541A9B069}"/>
                </a:ext>
              </a:extLst>
            </p:cNvPr>
            <p:cNvSpPr/>
            <p:nvPr/>
          </p:nvSpPr>
          <p:spPr>
            <a:xfrm>
              <a:off x="4952511" y="4715143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거버넌스 과제</a:t>
              </a:r>
              <a:r>
                <a:rPr lang="ko-KR" altLang="en-US" sz="900" b="1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이행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949A5EBC-A588-42D1-94D6-94BCCD2E367F}"/>
                </a:ext>
              </a:extLst>
            </p:cNvPr>
            <p:cNvSpPr/>
            <p:nvPr/>
          </p:nvSpPr>
          <p:spPr>
            <a:xfrm>
              <a:off x="4952511" y="4950548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FF0000"/>
                  </a:solidFill>
                  <a:highlight>
                    <a:srgbClr val="FFFF00"/>
                  </a:highlight>
                  <a:latin typeface="+mn-ea"/>
                  <a:cs typeface="Arial"/>
                </a:rPr>
                <a:t>과제이행 관리</a:t>
              </a: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A85E4F68-0D3F-4CCD-A88E-47B95F2AC5F4}"/>
                </a:ext>
              </a:extLst>
            </p:cNvPr>
            <p:cNvSpPr/>
            <p:nvPr/>
          </p:nvSpPr>
          <p:spPr>
            <a:xfrm>
              <a:off x="4952511" y="5185953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지속가능 금융</a:t>
              </a:r>
            </a:p>
          </p:txBody>
        </p:sp>
        <p:sp>
          <p:nvSpPr>
            <p:cNvPr id="58" name="사각형: 둥근 모서리 57">
              <a:extLst>
                <a:ext uri="{FF2B5EF4-FFF2-40B4-BE49-F238E27FC236}">
                  <a16:creationId xmlns:a16="http://schemas.microsoft.com/office/drawing/2014/main" id="{37E29A1B-E3CD-400D-B72A-36725FB39C14}"/>
                </a:ext>
              </a:extLst>
            </p:cNvPr>
            <p:cNvSpPr/>
            <p:nvPr/>
          </p:nvSpPr>
          <p:spPr>
            <a:xfrm>
              <a:off x="4939807" y="5421360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영향평가</a:t>
              </a:r>
            </a:p>
          </p:txBody>
        </p:sp>
        <p:sp>
          <p:nvSpPr>
            <p:cNvPr id="59" name="사각형: 둥근 모서리 58">
              <a:extLst>
                <a:ext uri="{FF2B5EF4-FFF2-40B4-BE49-F238E27FC236}">
                  <a16:creationId xmlns:a16="http://schemas.microsoft.com/office/drawing/2014/main" id="{B0D3A324-E5E4-48E8-A2A5-FA0E67B5AA3F}"/>
                </a:ext>
              </a:extLst>
            </p:cNvPr>
            <p:cNvSpPr/>
            <p:nvPr/>
          </p:nvSpPr>
          <p:spPr>
            <a:xfrm>
              <a:off x="7024009" y="4711714"/>
              <a:ext cx="1404000" cy="188046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인증</a:t>
              </a:r>
            </a:p>
          </p:txBody>
        </p:sp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C5AFEFAF-20E8-4A74-8EE9-B6BAB00D7399}"/>
                </a:ext>
              </a:extLst>
            </p:cNvPr>
            <p:cNvSpPr/>
            <p:nvPr/>
          </p:nvSpPr>
          <p:spPr>
            <a:xfrm>
              <a:off x="5788842" y="4262964"/>
              <a:ext cx="258676" cy="151268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986997F7-4892-491C-9687-BCC3D1F065F1}"/>
                </a:ext>
              </a:extLst>
            </p:cNvPr>
            <p:cNvSpPr/>
            <p:nvPr/>
          </p:nvSpPr>
          <p:spPr>
            <a:xfrm>
              <a:off x="5788842" y="4495799"/>
              <a:ext cx="258676" cy="151268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0896F98F-9F32-44EA-8256-10A84E029AA3}"/>
                </a:ext>
              </a:extLst>
            </p:cNvPr>
            <p:cNvSpPr/>
            <p:nvPr/>
          </p:nvSpPr>
          <p:spPr>
            <a:xfrm>
              <a:off x="5918180" y="4737866"/>
              <a:ext cx="258676" cy="151268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75" name="사각형: 둥근 모서리 74">
              <a:extLst>
                <a:ext uri="{FF2B5EF4-FFF2-40B4-BE49-F238E27FC236}">
                  <a16:creationId xmlns:a16="http://schemas.microsoft.com/office/drawing/2014/main" id="{F8E19B72-CE18-4256-9ED8-B0477C02A68C}"/>
                </a:ext>
              </a:extLst>
            </p:cNvPr>
            <p:cNvSpPr/>
            <p:nvPr/>
          </p:nvSpPr>
          <p:spPr>
            <a:xfrm>
              <a:off x="4952511" y="5662880"/>
              <a:ext cx="1404000" cy="186930"/>
            </a:xfrm>
            <a:prstGeom prst="roundRect">
              <a:avLst/>
            </a:prstGeom>
            <a:solidFill>
              <a:srgbClr val="FFFFFF">
                <a:alpha val="89804"/>
              </a:srgb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시스템 운영</a:t>
              </a:r>
            </a:p>
          </p:txBody>
        </p:sp>
      </p:grp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6D630037-5169-459B-9C4C-03EE0D28D6F5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6DB238F5-FDB6-4FE6-823D-927DA17CEFB9}"/>
              </a:ext>
            </a:extLst>
          </p:cNvPr>
          <p:cNvSpPr/>
          <p:nvPr/>
        </p:nvSpPr>
        <p:spPr>
          <a:xfrm>
            <a:off x="427900" y="1942197"/>
            <a:ext cx="7128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marL="0" marR="0" lvl="0" indent="0" algn="l" defTabSz="2437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이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경영을 위해 어떤 활동을 하고 있는지를 자가 진단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요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에 대한 가이드를 제공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AC2D0E5-CE8B-4BCD-83CA-0E87B0A1DCE4}"/>
              </a:ext>
            </a:extLst>
          </p:cNvPr>
          <p:cNvSpPr/>
          <p:nvPr/>
        </p:nvSpPr>
        <p:spPr>
          <a:xfrm>
            <a:off x="1918724" y="1633661"/>
            <a:ext cx="422109" cy="24907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479407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4B97B4B-5879-4034-8E4E-ED901A62AF24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94827D1-60E0-4C31-8660-E72625BA1D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F2A1E07-F057-4359-A65D-7832A77C4D8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0098A72-54FE-49DC-BEA6-4B2B7AD47AC1}"/>
              </a:ext>
            </a:extLst>
          </p:cNvPr>
          <p:cNvSpPr/>
          <p:nvPr/>
        </p:nvSpPr>
        <p:spPr>
          <a:xfrm>
            <a:off x="957179" y="2982408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36D74E15-2921-4754-AA9F-C216BE45E244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graphicFrame>
        <p:nvGraphicFramePr>
          <p:cNvPr id="143" name="표 10">
            <a:extLst>
              <a:ext uri="{FF2B5EF4-FFF2-40B4-BE49-F238E27FC236}">
                <a16:creationId xmlns:a16="http://schemas.microsoft.com/office/drawing/2014/main" id="{CCB98A7B-8395-4E4D-8E3D-AAE019D61AD8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54934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계 탭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 정보 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;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및 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 단계를 보여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 단계별로 진단 문항을 한 페이지로 보여주어 스크롤을 내려 진단할 수 있도록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단계에 해당하는 상자는 진한 색으로 변경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화면에서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 정보 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박스가 진한색으로 표시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보에 기반하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업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의 형태로 표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 분류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롭다운리스트에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리스트는 엑셀로 별도 전달 예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중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분류 구분해서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위 분류 선택 시 해당하는 하위 분류만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위 분류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선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 하위 분류를 선택할 수 없도록 설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출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롭다운리스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아래 선택 항목 중 하나를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원 이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5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억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1,5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억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5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억원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1,5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억 이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다음 탭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‘임시 응답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B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해당 탭에서 응답된 문항에 대한 응답 결과를 저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문항에 대한 응답이 체크되어 있어야 다음 탭으로 이동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의 질문이 빨간색으로 변경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팝업이 생성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화면의 응답을 모두 완료하여 주시기 바랍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시스템 팝업 생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료 시 응답하신 내용은 저장되지 않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가진단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료하시겠습니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?’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종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니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시 기존 화면으로 돌아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grpSp>
        <p:nvGrpSpPr>
          <p:cNvPr id="51" name="그룹 50">
            <a:extLst>
              <a:ext uri="{FF2B5EF4-FFF2-40B4-BE49-F238E27FC236}">
                <a16:creationId xmlns:a16="http://schemas.microsoft.com/office/drawing/2014/main" id="{B4D02A94-9E9E-45FA-9A2D-E0347AD0AB77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7960A75B-F8B5-4D49-884A-19736E624352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68" name="사각형: 둥근 모서리 67">
                <a:extLst>
                  <a:ext uri="{FF2B5EF4-FFF2-40B4-BE49-F238E27FC236}">
                    <a16:creationId xmlns:a16="http://schemas.microsoft.com/office/drawing/2014/main" id="{12AF760B-9FF1-4432-BAEE-A05B3129186D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B8F62B7B-A7F5-41F6-8A06-41FBC7E4E0E0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70" name="사각형: 둥근 모서리 69">
                <a:extLst>
                  <a:ext uri="{FF2B5EF4-FFF2-40B4-BE49-F238E27FC236}">
                    <a16:creationId xmlns:a16="http://schemas.microsoft.com/office/drawing/2014/main" id="{F9681522-A553-4412-A256-C5829FFAC4CB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71" name="사각형: 둥근 모서리 70">
                <a:extLst>
                  <a:ext uri="{FF2B5EF4-FFF2-40B4-BE49-F238E27FC236}">
                    <a16:creationId xmlns:a16="http://schemas.microsoft.com/office/drawing/2014/main" id="{B83644FE-1202-42F0-8257-4BED237B9C15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C27887EB-342F-49A2-B769-A64FB918FF7B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64" name="사각형: 둥근 모서리 63">
                <a:extLst>
                  <a:ext uri="{FF2B5EF4-FFF2-40B4-BE49-F238E27FC236}">
                    <a16:creationId xmlns:a16="http://schemas.microsoft.com/office/drawing/2014/main" id="{905646BA-C24D-4975-B591-83FBCF1605FA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85B09C06-8E7C-42E1-867E-74A9D054EBC2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BE678AE7-CE18-4578-9F28-276DAADF34F3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67" name="사각형: 둥근 모서리 66">
                <a:extLst>
                  <a:ext uri="{FF2B5EF4-FFF2-40B4-BE49-F238E27FC236}">
                    <a16:creationId xmlns:a16="http://schemas.microsoft.com/office/drawing/2014/main" id="{610A728E-71F8-4F45-9464-5725C47F7972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4" name="그룹 53">
              <a:extLst>
                <a:ext uri="{FF2B5EF4-FFF2-40B4-BE49-F238E27FC236}">
                  <a16:creationId xmlns:a16="http://schemas.microsoft.com/office/drawing/2014/main" id="{17B1DAA2-D7B8-418A-8A79-C0DC76D00598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60" name="사각형: 둥근 모서리 59">
                <a:extLst>
                  <a:ext uri="{FF2B5EF4-FFF2-40B4-BE49-F238E27FC236}">
                    <a16:creationId xmlns:a16="http://schemas.microsoft.com/office/drawing/2014/main" id="{D0E77608-AFF4-4739-8577-ED260F91233C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5CFB585E-6F9A-4C0A-914A-BA68549A43D1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62" name="사각형: 둥근 모서리 61">
                <a:extLst>
                  <a:ext uri="{FF2B5EF4-FFF2-40B4-BE49-F238E27FC236}">
                    <a16:creationId xmlns:a16="http://schemas.microsoft.com/office/drawing/2014/main" id="{A2A14973-8748-4B7D-A87A-42787041CC9D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63" name="사각형: 둥근 모서리 62">
                <a:extLst>
                  <a:ext uri="{FF2B5EF4-FFF2-40B4-BE49-F238E27FC236}">
                    <a16:creationId xmlns:a16="http://schemas.microsoft.com/office/drawing/2014/main" id="{47B3B901-AE65-444B-9448-CCFE4F5EC589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E019013A-B55F-480C-8AD0-67301847B3A6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56" name="사각형: 둥근 모서리 55">
                <a:extLst>
                  <a:ext uri="{FF2B5EF4-FFF2-40B4-BE49-F238E27FC236}">
                    <a16:creationId xmlns:a16="http://schemas.microsoft.com/office/drawing/2014/main" id="{8D1C5128-C96E-4DDA-AF2F-ED2021275539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F14F6FCF-123F-4F01-8062-73E483F53AC8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58" name="사각형: 둥근 모서리 57">
                <a:extLst>
                  <a:ext uri="{FF2B5EF4-FFF2-40B4-BE49-F238E27FC236}">
                    <a16:creationId xmlns:a16="http://schemas.microsoft.com/office/drawing/2014/main" id="{7ADCFA67-9E0E-4A66-9323-CD08F390D2EA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59" name="사각형: 둥근 모서리 58">
                <a:extLst>
                  <a:ext uri="{FF2B5EF4-FFF2-40B4-BE49-F238E27FC236}">
                    <a16:creationId xmlns:a16="http://schemas.microsoft.com/office/drawing/2014/main" id="{D977D68F-E7D7-4916-A0AC-7003C28D5FDC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501DE9FE-4A9F-43FF-A316-276CAA6E6FC5}"/>
              </a:ext>
            </a:extLst>
          </p:cNvPr>
          <p:cNvSpPr/>
          <p:nvPr/>
        </p:nvSpPr>
        <p:spPr>
          <a:xfrm>
            <a:off x="1825279" y="2104075"/>
            <a:ext cx="5778514" cy="8287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D9767C8E-CA46-4039-858B-EBCF5F8C6055}"/>
              </a:ext>
            </a:extLst>
          </p:cNvPr>
          <p:cNvSpPr/>
          <p:nvPr/>
        </p:nvSpPr>
        <p:spPr>
          <a:xfrm>
            <a:off x="1746507" y="20608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28AEB517-64F7-4EE6-9BA5-BC6B82BC498F}"/>
              </a:ext>
            </a:extLst>
          </p:cNvPr>
          <p:cNvSpPr/>
          <p:nvPr/>
        </p:nvSpPr>
        <p:spPr>
          <a:xfrm>
            <a:off x="7537635" y="16745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4DEC4D88-4DE4-4CB3-B39F-941EF6DA2C51}"/>
              </a:ext>
            </a:extLst>
          </p:cNvPr>
          <p:cNvSpPr/>
          <p:nvPr/>
        </p:nvSpPr>
        <p:spPr>
          <a:xfrm>
            <a:off x="1976337" y="3122886"/>
            <a:ext cx="6452976" cy="7084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안녕하세요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[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삼일전기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] ESG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담당자님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 자가진단에 앞서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보다 상세한 진단 결과의 제공을 위해 아래의 기본 정보를 입력해주세요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</a:t>
            </a:r>
            <a:endParaRPr lang="ko-KR" altLang="en-US" sz="10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ABE8EFA6-6F39-4B47-8D3A-89F0FFA5F6D1}"/>
              </a:ext>
            </a:extLst>
          </p:cNvPr>
          <p:cNvSpPr/>
          <p:nvPr/>
        </p:nvSpPr>
        <p:spPr>
          <a:xfrm>
            <a:off x="1207457" y="3152636"/>
            <a:ext cx="708412" cy="708412"/>
          </a:xfrm>
          <a:prstGeom prst="roundRect">
            <a:avLst/>
          </a:prstGeom>
          <a:pattFill prst="ltDn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78" name="Picture 2" descr="customer, man, user, account, profile ">
            <a:extLst>
              <a:ext uri="{FF2B5EF4-FFF2-40B4-BE49-F238E27FC236}">
                <a16:creationId xmlns:a16="http://schemas.microsoft.com/office/drawing/2014/main" id="{8041C1E1-ECF8-41FD-B1A3-8317E77A2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320" y="3243310"/>
            <a:ext cx="502920" cy="502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12078E7C-A1A6-45E4-81D7-87074B60FE81}"/>
              </a:ext>
            </a:extLst>
          </p:cNvPr>
          <p:cNvSpPr/>
          <p:nvPr/>
        </p:nvSpPr>
        <p:spPr>
          <a:xfrm>
            <a:off x="2726986" y="321231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C057B36F-A268-42D6-ADD6-BEC1C89B0876}"/>
              </a:ext>
            </a:extLst>
          </p:cNvPr>
          <p:cNvSpPr/>
          <p:nvPr/>
        </p:nvSpPr>
        <p:spPr>
          <a:xfrm>
            <a:off x="2751983" y="3262237"/>
            <a:ext cx="732282" cy="24555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A3E21FFD-CF15-4B82-B7B7-EFC3F5D5229E}"/>
              </a:ext>
            </a:extLst>
          </p:cNvPr>
          <p:cNvSpPr/>
          <p:nvPr/>
        </p:nvSpPr>
        <p:spPr>
          <a:xfrm>
            <a:off x="7559706" y="582852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E25FD0A7-69BE-4750-83DD-03444C0A6581}"/>
              </a:ext>
            </a:extLst>
          </p:cNvPr>
          <p:cNvSpPr/>
          <p:nvPr/>
        </p:nvSpPr>
        <p:spPr>
          <a:xfrm>
            <a:off x="1032918" y="4900474"/>
            <a:ext cx="6616261" cy="21903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2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의 규모는 어느 정도 입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매출액 기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)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737DF3BC-CA95-40B9-AC1D-9F440163C376}"/>
              </a:ext>
            </a:extLst>
          </p:cNvPr>
          <p:cNvSpPr/>
          <p:nvPr/>
        </p:nvSpPr>
        <p:spPr>
          <a:xfrm>
            <a:off x="1029035" y="4132327"/>
            <a:ext cx="6616261" cy="20949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1.</a:t>
            </a:r>
            <a:r>
              <a:rPr lang="en-US" altLang="ko-KR" sz="14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의 업종은 무엇입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매출의 가장 많은 비중을 차지하는 활동을 기준으로 응답해주세요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.)</a:t>
            </a:r>
            <a:endParaRPr lang="ko-KR" altLang="en-US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8DFF5D87-22D0-4BA7-969A-FA93EBE12099}"/>
              </a:ext>
            </a:extLst>
          </p:cNvPr>
          <p:cNvSpPr/>
          <p:nvPr/>
        </p:nvSpPr>
        <p:spPr>
          <a:xfrm>
            <a:off x="1367407" y="5268108"/>
            <a:ext cx="596968" cy="200154"/>
          </a:xfrm>
          <a:prstGeom prst="roundRect">
            <a:avLst/>
          </a:prstGeom>
          <a:noFill/>
          <a:ln w="127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매출액</a:t>
            </a: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5D377F49-E7A8-47A1-9E2C-1EB8B24991F3}"/>
              </a:ext>
            </a:extLst>
          </p:cNvPr>
          <p:cNvSpPr/>
          <p:nvPr/>
        </p:nvSpPr>
        <p:spPr>
          <a:xfrm>
            <a:off x="2433447" y="5268983"/>
            <a:ext cx="2059750" cy="20015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00000"/>
              </a:lnSpc>
            </a:pPr>
            <a:r>
              <a:rPr lang="ko-KR" altLang="en-US" sz="10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선택                                ▼</a:t>
            </a: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33CFFE7F-95A0-46EB-9168-6EFBED3C19C7}"/>
              </a:ext>
            </a:extLst>
          </p:cNvPr>
          <p:cNvSpPr/>
          <p:nvPr/>
        </p:nvSpPr>
        <p:spPr>
          <a:xfrm>
            <a:off x="2357702" y="52125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45EAC824-494B-4DB7-BB5E-4DFD447EE7E0}"/>
              </a:ext>
            </a:extLst>
          </p:cNvPr>
          <p:cNvSpPr/>
          <p:nvPr/>
        </p:nvSpPr>
        <p:spPr>
          <a:xfrm>
            <a:off x="8972055" y="-1"/>
            <a:ext cx="3218221" cy="17828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기능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업종분류선택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단계 분류체계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’ </a:t>
            </a: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업종 분류 선택 관련 메일 요청사항 반영 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중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/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분류 각각 선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[3]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능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설명 추가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A46B2488-CC4B-436A-803F-FBAF21D6CA7C}"/>
              </a:ext>
            </a:extLst>
          </p:cNvPr>
          <p:cNvGrpSpPr/>
          <p:nvPr/>
        </p:nvGrpSpPr>
        <p:grpSpPr>
          <a:xfrm>
            <a:off x="1333908" y="4452982"/>
            <a:ext cx="4390093" cy="416178"/>
            <a:chOff x="1333908" y="4452982"/>
            <a:chExt cx="4390093" cy="416178"/>
          </a:xfrm>
        </p:grpSpPr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7B50D97E-620D-418A-BEE5-ADB58C1EE1D4}"/>
                </a:ext>
              </a:extLst>
            </p:cNvPr>
            <p:cNvSpPr/>
            <p:nvPr/>
          </p:nvSpPr>
          <p:spPr>
            <a:xfrm>
              <a:off x="1333908" y="4452982"/>
              <a:ext cx="1124761" cy="200154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업종 분류</a:t>
              </a: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967B45D0-FD51-4886-820E-4D4CC675B097}"/>
                </a:ext>
              </a:extLst>
            </p:cNvPr>
            <p:cNvSpPr/>
            <p:nvPr/>
          </p:nvSpPr>
          <p:spPr>
            <a:xfrm>
              <a:off x="2431924" y="4669006"/>
              <a:ext cx="1050818" cy="200154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100000"/>
                </a:lnSpc>
              </a:pPr>
              <a:r>
                <a:rPr lang="ko-KR" altLang="en-US" sz="10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선택     ▼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C26805DA-348B-48F5-A33C-669F81E4F121}"/>
                </a:ext>
              </a:extLst>
            </p:cNvPr>
            <p:cNvSpPr/>
            <p:nvPr/>
          </p:nvSpPr>
          <p:spPr>
            <a:xfrm>
              <a:off x="2446543" y="4513577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9" name="사각형: 둥근 모서리 98">
              <a:extLst>
                <a:ext uri="{FF2B5EF4-FFF2-40B4-BE49-F238E27FC236}">
                  <a16:creationId xmlns:a16="http://schemas.microsoft.com/office/drawing/2014/main" id="{28B64A7D-C674-4426-A391-752DB368F7AB}"/>
                </a:ext>
              </a:extLst>
            </p:cNvPr>
            <p:cNvSpPr/>
            <p:nvPr/>
          </p:nvSpPr>
          <p:spPr>
            <a:xfrm>
              <a:off x="3553315" y="4669006"/>
              <a:ext cx="1050818" cy="200154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100000"/>
                </a:lnSpc>
              </a:pPr>
              <a:r>
                <a:rPr lang="ko-KR" altLang="en-US" sz="10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선택     ▼</a:t>
              </a:r>
            </a:p>
          </p:txBody>
        </p:sp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4DCAA736-4398-45E3-9045-E7FA9DF57FA8}"/>
                </a:ext>
              </a:extLst>
            </p:cNvPr>
            <p:cNvSpPr/>
            <p:nvPr/>
          </p:nvSpPr>
          <p:spPr>
            <a:xfrm>
              <a:off x="4673183" y="4669006"/>
              <a:ext cx="1050818" cy="200154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100000"/>
                </a:lnSpc>
              </a:pPr>
              <a:r>
                <a:rPr lang="ko-KR" altLang="en-US" sz="10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선택     ▼</a:t>
              </a: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49A1905E-5D03-4A2C-BBFF-61C2E63DD24E}"/>
                </a:ext>
              </a:extLst>
            </p:cNvPr>
            <p:cNvSpPr/>
            <p:nvPr/>
          </p:nvSpPr>
          <p:spPr>
            <a:xfrm>
              <a:off x="2636701" y="4452982"/>
              <a:ext cx="641264" cy="200154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대분류</a:t>
              </a: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3D96CCAF-0F6D-4E58-A566-208B36626D4F}"/>
                </a:ext>
              </a:extLst>
            </p:cNvPr>
            <p:cNvSpPr/>
            <p:nvPr/>
          </p:nvSpPr>
          <p:spPr>
            <a:xfrm>
              <a:off x="3758092" y="4452982"/>
              <a:ext cx="641264" cy="200154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중분류</a:t>
              </a:r>
            </a:p>
          </p:txBody>
        </p:sp>
        <p:sp>
          <p:nvSpPr>
            <p:cNvPr id="103" name="사각형: 둥근 모서리 102">
              <a:extLst>
                <a:ext uri="{FF2B5EF4-FFF2-40B4-BE49-F238E27FC236}">
                  <a16:creationId xmlns:a16="http://schemas.microsoft.com/office/drawing/2014/main" id="{69346522-2110-4776-9253-1F828BAC47DF}"/>
                </a:ext>
              </a:extLst>
            </p:cNvPr>
            <p:cNvSpPr/>
            <p:nvPr/>
          </p:nvSpPr>
          <p:spPr>
            <a:xfrm>
              <a:off x="4877960" y="4452982"/>
              <a:ext cx="641264" cy="200154"/>
            </a:xfrm>
            <a:prstGeom prst="roundRect">
              <a:avLst/>
            </a:prstGeom>
            <a:noFill/>
            <a:ln w="127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cs typeface="Arial"/>
                </a:rPr>
                <a:t>소분류</a:t>
              </a:r>
            </a:p>
          </p:txBody>
        </p:sp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E9CB494-F433-47A2-AEB0-AC57E89C3F6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4421480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4B97B4B-5879-4034-8E4E-ED901A62AF24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94827D1-60E0-4C31-8660-E72625BA1D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F2A1E07-F057-4359-A65D-7832A77C4D8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0098A72-54FE-49DC-BEA6-4B2B7AD47AC1}"/>
              </a:ext>
            </a:extLst>
          </p:cNvPr>
          <p:cNvSpPr/>
          <p:nvPr/>
        </p:nvSpPr>
        <p:spPr>
          <a:xfrm>
            <a:off x="911225" y="2997185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36D74E15-2921-4754-AA9F-C216BE45E244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B6DD3E66-7C74-4F61-81E5-101FABDAB292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93" name="그룹 92">
              <a:extLst>
                <a:ext uri="{FF2B5EF4-FFF2-40B4-BE49-F238E27FC236}">
                  <a16:creationId xmlns:a16="http://schemas.microsoft.com/office/drawing/2014/main" id="{8FD38F44-274B-4E49-ACED-B758C11C2E9E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111" name="사각형: 둥근 모서리 110">
                <a:extLst>
                  <a:ext uri="{FF2B5EF4-FFF2-40B4-BE49-F238E27FC236}">
                    <a16:creationId xmlns:a16="http://schemas.microsoft.com/office/drawing/2014/main" id="{4587ACFF-EB37-437B-8DBC-BD0E3B620FD3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698CC723-C889-4E73-86EA-C9073D9A5C14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37913E27-00DA-4BB3-A90C-D80369F29016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4" name="사각형: 둥근 모서리 113">
                <a:extLst>
                  <a:ext uri="{FF2B5EF4-FFF2-40B4-BE49-F238E27FC236}">
                    <a16:creationId xmlns:a16="http://schemas.microsoft.com/office/drawing/2014/main" id="{0E841952-2E5D-4838-9359-964E1F06F9E1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9BFB3E75-9295-4FA3-899A-3CA87578F6F1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107" name="사각형: 둥근 모서리 106">
                <a:extLst>
                  <a:ext uri="{FF2B5EF4-FFF2-40B4-BE49-F238E27FC236}">
                    <a16:creationId xmlns:a16="http://schemas.microsoft.com/office/drawing/2014/main" id="{28D93D0B-D13A-4B3A-BB44-46DA30ADEE92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878BA430-4E04-4F5D-B1AF-4D814B70F28B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109" name="사각형: 둥근 모서리 108">
                <a:extLst>
                  <a:ext uri="{FF2B5EF4-FFF2-40B4-BE49-F238E27FC236}">
                    <a16:creationId xmlns:a16="http://schemas.microsoft.com/office/drawing/2014/main" id="{DBFEB873-C72D-4B95-8DA9-5B1F0C1F2F94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0" name="사각형: 둥근 모서리 109">
                <a:extLst>
                  <a:ext uri="{FF2B5EF4-FFF2-40B4-BE49-F238E27FC236}">
                    <a16:creationId xmlns:a16="http://schemas.microsoft.com/office/drawing/2014/main" id="{5DE6323A-F0F5-4134-83D0-C9871BF65A48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BF318A80-39EA-499F-BE15-74ECC72A046F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103" name="사각형: 둥근 모서리 102">
                <a:extLst>
                  <a:ext uri="{FF2B5EF4-FFF2-40B4-BE49-F238E27FC236}">
                    <a16:creationId xmlns:a16="http://schemas.microsoft.com/office/drawing/2014/main" id="{C00E0CB7-C55E-4333-8BED-7F92B13E2D8E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D7241DC5-EF0D-4B1C-9BB5-18081B04D518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105" name="사각형: 둥근 모서리 104">
                <a:extLst>
                  <a:ext uri="{FF2B5EF4-FFF2-40B4-BE49-F238E27FC236}">
                    <a16:creationId xmlns:a16="http://schemas.microsoft.com/office/drawing/2014/main" id="{B866F8DF-1856-4B73-99F3-F691AEF034A2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6" name="사각형: 둥근 모서리 105">
                <a:extLst>
                  <a:ext uri="{FF2B5EF4-FFF2-40B4-BE49-F238E27FC236}">
                    <a16:creationId xmlns:a16="http://schemas.microsoft.com/office/drawing/2014/main" id="{A129B629-FF73-4C8D-92CC-5EA749302384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B79F74B7-561B-46FC-B5D4-A5CB23714E27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99" name="사각형: 둥근 모서리 98">
                <a:extLst>
                  <a:ext uri="{FF2B5EF4-FFF2-40B4-BE49-F238E27FC236}">
                    <a16:creationId xmlns:a16="http://schemas.microsoft.com/office/drawing/2014/main" id="{E2B59F79-2F7E-48B6-BD3D-E0E33D1CA741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4E8F5CA5-E3D4-4E5A-9052-339F6C814ADA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101" name="사각형: 둥근 모서리 100">
                <a:extLst>
                  <a:ext uri="{FF2B5EF4-FFF2-40B4-BE49-F238E27FC236}">
                    <a16:creationId xmlns:a16="http://schemas.microsoft.com/office/drawing/2014/main" id="{C8423DA9-8E1E-4C06-B0AF-1088FCD00426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2" name="사각형: 둥근 모서리 101">
                <a:extLst>
                  <a:ext uri="{FF2B5EF4-FFF2-40B4-BE49-F238E27FC236}">
                    <a16:creationId xmlns:a16="http://schemas.microsoft.com/office/drawing/2014/main" id="{F47827F3-C2EB-407F-9E9C-DB9B02B098DF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C127C8D9-9A87-4EBF-9472-F4B809649601}"/>
              </a:ext>
            </a:extLst>
          </p:cNvPr>
          <p:cNvSpPr/>
          <p:nvPr/>
        </p:nvSpPr>
        <p:spPr>
          <a:xfrm>
            <a:off x="3416825" y="21504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6" name="표 10">
            <a:extLst>
              <a:ext uri="{FF2B5EF4-FFF2-40B4-BE49-F238E27FC236}">
                <a16:creationId xmlns:a16="http://schemas.microsoft.com/office/drawing/2014/main" id="{EDD5355C-1375-486B-AA29-C78CD3B535A0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1993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박스가 진한색으로 표시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하는 버튼에 따라 해당 문항에 대한 응답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니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기록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스크롤은 문항이 표시되는 영역 내에서만 이동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이전 탭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‘임시 응답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B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해당 탭에서 응답된 문항에 대한 응답 결과를 저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문항에 대한 응답이 체크되어 있어야 다음 탭으로 이동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의 질문이 빨간색으로 변경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팝업이 생성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화면의 응답을 모두 완료하여 주시기 바랍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문항의 주제를 확인할 수 있도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‘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&gt; 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을 표시해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위로 페이지가 구분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Lv1, 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명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엑셀 파일 참고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784C120A-0C0C-460A-B890-F42A99F9F5D5}"/>
              </a:ext>
            </a:extLst>
          </p:cNvPr>
          <p:cNvGrpSpPr/>
          <p:nvPr/>
        </p:nvGrpSpPr>
        <p:grpSpPr>
          <a:xfrm>
            <a:off x="8272333" y="3000146"/>
            <a:ext cx="131967" cy="2777953"/>
            <a:chOff x="9201470" y="1601344"/>
            <a:chExt cx="188140" cy="4198758"/>
          </a:xfrm>
        </p:grpSpPr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0FAFE36A-FC4D-4D3A-A1F3-38ECF11A0098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1CD06F08-4B4A-467F-A5FF-288AC6BE4AA7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DAA3DB0-628E-435B-AD0C-533B706CAF7F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990B454-2A07-448B-AA76-F7C9B62918F7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C38EED65-79A6-4013-965B-DE88CA1511E5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8D8EEBBB-63F9-4D16-9F3F-286273834816}"/>
              </a:ext>
            </a:extLst>
          </p:cNvPr>
          <p:cNvSpPr/>
          <p:nvPr/>
        </p:nvSpPr>
        <p:spPr>
          <a:xfrm>
            <a:off x="8207036" y="29459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301DA337-10CD-4C3A-9A78-2787C10EF57A}"/>
              </a:ext>
            </a:extLst>
          </p:cNvPr>
          <p:cNvSpPr/>
          <p:nvPr/>
        </p:nvSpPr>
        <p:spPr>
          <a:xfrm>
            <a:off x="999566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◀ 이전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DD133F54-6223-4B73-BF04-56E41F8004A5}"/>
              </a:ext>
            </a:extLst>
          </p:cNvPr>
          <p:cNvSpPr/>
          <p:nvPr/>
        </p:nvSpPr>
        <p:spPr>
          <a:xfrm>
            <a:off x="920557" y="58130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EA65B611-0749-49D9-ADA1-C76020D6450F}"/>
              </a:ext>
            </a:extLst>
          </p:cNvPr>
          <p:cNvGrpSpPr/>
          <p:nvPr/>
        </p:nvGrpSpPr>
        <p:grpSpPr>
          <a:xfrm>
            <a:off x="1023852" y="3098545"/>
            <a:ext cx="7201648" cy="2490695"/>
            <a:chOff x="1023852" y="3098545"/>
            <a:chExt cx="7201648" cy="2490695"/>
          </a:xfrm>
        </p:grpSpPr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D477DF72-7EC6-4E56-827C-7CDE4E4563F1}"/>
                </a:ext>
              </a:extLst>
            </p:cNvPr>
            <p:cNvGrpSpPr/>
            <p:nvPr/>
          </p:nvGrpSpPr>
          <p:grpSpPr>
            <a:xfrm>
              <a:off x="1095051" y="3098545"/>
              <a:ext cx="3059779" cy="191821"/>
              <a:chOff x="839416" y="2801113"/>
              <a:chExt cx="3059779" cy="191821"/>
            </a:xfrm>
          </p:grpSpPr>
          <p:sp>
            <p:nvSpPr>
              <p:cNvPr id="144" name="사각형: 둥근 모서리 143">
                <a:extLst>
                  <a:ext uri="{FF2B5EF4-FFF2-40B4-BE49-F238E27FC236}">
                    <a16:creationId xmlns:a16="http://schemas.microsoft.com/office/drawing/2014/main" id="{AE4ED2F8-1E56-443E-B9BD-020F5FBCA479}"/>
                  </a:ext>
                </a:extLst>
              </p:cNvPr>
              <p:cNvSpPr/>
              <p:nvPr/>
            </p:nvSpPr>
            <p:spPr>
              <a:xfrm>
                <a:off x="839416" y="2801113"/>
                <a:ext cx="3059779" cy="191821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 전략 계획 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&gt; ESG 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경영전략 수립</a:t>
                </a: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898322A4-3E3D-4300-ABA3-BE7D7AFC7A9E}"/>
                  </a:ext>
                </a:extLst>
              </p:cNvPr>
              <p:cNvSpPr/>
              <p:nvPr/>
            </p:nvSpPr>
            <p:spPr>
              <a:xfrm>
                <a:off x="839416" y="2801113"/>
                <a:ext cx="45719" cy="19182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475ADB50-0DAA-485C-9A32-846B42F617A3}"/>
                </a:ext>
              </a:extLst>
            </p:cNvPr>
            <p:cNvGrpSpPr/>
            <p:nvPr/>
          </p:nvGrpSpPr>
          <p:grpSpPr>
            <a:xfrm>
              <a:off x="1023852" y="3308257"/>
              <a:ext cx="7201648" cy="624799"/>
              <a:chOff x="827853" y="3035229"/>
              <a:chExt cx="7201648" cy="624799"/>
            </a:xfrm>
          </p:grpSpPr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1FDEFF65-CB31-4008-BF2A-8473CC9A49C0}"/>
                  </a:ext>
                </a:extLst>
              </p:cNvPr>
              <p:cNvSpPr/>
              <p:nvPr/>
            </p:nvSpPr>
            <p:spPr>
              <a:xfrm>
                <a:off x="827853" y="3035229"/>
                <a:ext cx="7201648" cy="3938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400" b="1" dirty="0">
                    <a:solidFill>
                      <a:schemeClr val="bg1">
                        <a:lumMod val="50000"/>
                      </a:schemeClr>
                    </a:solidFill>
                    <a:latin typeface="+mn-ea"/>
                    <a:cs typeface="함초롬바탕" panose="02030604000101010101" pitchFamily="18" charset="-127"/>
                  </a:rPr>
                  <a:t>01.</a:t>
                </a:r>
                <a:r>
                  <a:rPr lang="en-US" altLang="ko-KR" sz="1000" b="1" dirty="0">
                    <a:solidFill>
                      <a:schemeClr val="tx1"/>
                    </a:solidFill>
                    <a:latin typeface="+mn-ea"/>
                    <a:cs typeface="함초롬바탕" panose="02030604000101010101" pitchFamily="18" charset="-127"/>
                  </a:rPr>
                  <a:t>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귀사는 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경영에 대한 전사 비전과 전략 방향성을 수립하였습니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?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endParaRPr>
              </a:p>
            </p:txBody>
          </p:sp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F3022C35-9762-4F70-9AAD-2E59A725AB53}"/>
                  </a:ext>
                </a:extLst>
              </p:cNvPr>
              <p:cNvGrpSpPr/>
              <p:nvPr/>
            </p:nvGrpSpPr>
            <p:grpSpPr>
              <a:xfrm>
                <a:off x="1258091" y="3443805"/>
                <a:ext cx="2235863" cy="216223"/>
                <a:chOff x="1841980" y="3743122"/>
                <a:chExt cx="2235863" cy="216223"/>
              </a:xfrm>
            </p:grpSpPr>
            <p:sp>
              <p:nvSpPr>
                <p:cNvPr id="141" name="사각형: 둥근 모서리 140">
                  <a:extLst>
                    <a:ext uri="{FF2B5EF4-FFF2-40B4-BE49-F238E27FC236}">
                      <a16:creationId xmlns:a16="http://schemas.microsoft.com/office/drawing/2014/main" id="{FEDDCE38-27F2-4A97-91EF-6356EE3296BA}"/>
                    </a:ext>
                  </a:extLst>
                </p:cNvPr>
                <p:cNvSpPr/>
                <p:nvPr/>
              </p:nvSpPr>
              <p:spPr>
                <a:xfrm>
                  <a:off x="1841980" y="3743122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예</a:t>
                  </a:r>
                </a:p>
              </p:txBody>
            </p:sp>
            <p:sp>
              <p:nvSpPr>
                <p:cNvPr id="142" name="사각형: 둥근 모서리 141">
                  <a:extLst>
                    <a:ext uri="{FF2B5EF4-FFF2-40B4-BE49-F238E27FC236}">
                      <a16:creationId xmlns:a16="http://schemas.microsoft.com/office/drawing/2014/main" id="{FABD8977-3986-4D57-A95D-A93B788DECDD}"/>
                    </a:ext>
                  </a:extLst>
                </p:cNvPr>
                <p:cNvSpPr/>
                <p:nvPr/>
              </p:nvSpPr>
              <p:spPr>
                <a:xfrm>
                  <a:off x="2997843" y="3743122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lang="ko-KR" altLang="en-US" sz="900" b="1" dirty="0" err="1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아니오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</p:grpSp>
        </p:grpSp>
        <p:grpSp>
          <p:nvGrpSpPr>
            <p:cNvPr id="130" name="그룹 129">
              <a:extLst>
                <a:ext uri="{FF2B5EF4-FFF2-40B4-BE49-F238E27FC236}">
                  <a16:creationId xmlns:a16="http://schemas.microsoft.com/office/drawing/2014/main" id="{B7FD1A47-CF84-4ED4-BCB7-992A210258C1}"/>
                </a:ext>
              </a:extLst>
            </p:cNvPr>
            <p:cNvGrpSpPr/>
            <p:nvPr/>
          </p:nvGrpSpPr>
          <p:grpSpPr>
            <a:xfrm>
              <a:off x="1023852" y="4041180"/>
              <a:ext cx="7126980" cy="611956"/>
              <a:chOff x="806493" y="2824861"/>
              <a:chExt cx="7126980" cy="611956"/>
            </a:xfrm>
          </p:grpSpPr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F16C6F4F-341B-42FC-BEBE-7323CA7A892C}"/>
                  </a:ext>
                </a:extLst>
              </p:cNvPr>
              <p:cNvSpPr/>
              <p:nvPr/>
            </p:nvSpPr>
            <p:spPr>
              <a:xfrm>
                <a:off x="806493" y="2824861"/>
                <a:ext cx="7126980" cy="3938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400" b="1" dirty="0">
                    <a:solidFill>
                      <a:schemeClr val="bg1">
                        <a:lumMod val="50000"/>
                      </a:schemeClr>
                    </a:solidFill>
                    <a:latin typeface="+mn-ea"/>
                    <a:cs typeface="함초롬바탕" panose="02030604000101010101" pitchFamily="18" charset="-127"/>
                  </a:rPr>
                  <a:t>02.</a:t>
                </a:r>
                <a:r>
                  <a:rPr lang="en-US" altLang="ko-KR" sz="1000" b="1" dirty="0">
                    <a:solidFill>
                      <a:schemeClr val="tx1"/>
                    </a:solidFill>
                    <a:latin typeface="+mn-ea"/>
                    <a:cs typeface="함초롬바탕" panose="02030604000101010101" pitchFamily="18" charset="-127"/>
                  </a:rPr>
                  <a:t>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귀사는 전사 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비전과 전략 방향성을 구체화하기 위해 단계별 목표 및 세부 계획을 수립하여 공개하고 있습니까</a:t>
                </a: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?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endParaRPr>
              </a:p>
            </p:txBody>
          </p:sp>
          <p:grpSp>
            <p:nvGrpSpPr>
              <p:cNvPr id="136" name="그룹 135">
                <a:extLst>
                  <a:ext uri="{FF2B5EF4-FFF2-40B4-BE49-F238E27FC236}">
                    <a16:creationId xmlns:a16="http://schemas.microsoft.com/office/drawing/2014/main" id="{EB26A107-F9F3-43B4-BC58-9B7E28839FF5}"/>
                  </a:ext>
                </a:extLst>
              </p:cNvPr>
              <p:cNvGrpSpPr/>
              <p:nvPr/>
            </p:nvGrpSpPr>
            <p:grpSpPr>
              <a:xfrm>
                <a:off x="1233553" y="3219843"/>
                <a:ext cx="2213966" cy="216974"/>
                <a:chOff x="1817442" y="3519160"/>
                <a:chExt cx="2213966" cy="216974"/>
              </a:xfrm>
            </p:grpSpPr>
            <p:sp>
              <p:nvSpPr>
                <p:cNvPr id="137" name="사각형: 둥근 모서리 136">
                  <a:extLst>
                    <a:ext uri="{FF2B5EF4-FFF2-40B4-BE49-F238E27FC236}">
                      <a16:creationId xmlns:a16="http://schemas.microsoft.com/office/drawing/2014/main" id="{0E54AEF2-6AB8-46FD-BB3D-603FAA6E4137}"/>
                    </a:ext>
                  </a:extLst>
                </p:cNvPr>
                <p:cNvSpPr/>
                <p:nvPr/>
              </p:nvSpPr>
              <p:spPr>
                <a:xfrm>
                  <a:off x="1817442" y="3519160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예</a:t>
                  </a:r>
                </a:p>
              </p:txBody>
            </p:sp>
            <p:sp>
              <p:nvSpPr>
                <p:cNvPr id="138" name="사각형: 둥근 모서리 137">
                  <a:extLst>
                    <a:ext uri="{FF2B5EF4-FFF2-40B4-BE49-F238E27FC236}">
                      <a16:creationId xmlns:a16="http://schemas.microsoft.com/office/drawing/2014/main" id="{8DFFBB1F-4C28-4059-9C73-069A96C8B519}"/>
                    </a:ext>
                  </a:extLst>
                </p:cNvPr>
                <p:cNvSpPr/>
                <p:nvPr/>
              </p:nvSpPr>
              <p:spPr>
                <a:xfrm>
                  <a:off x="2951408" y="3519911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lang="ko-KR" altLang="en-US" sz="900" b="1" dirty="0" err="1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아니오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</p:grpSp>
        </p:grpSp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684E5EA3-4800-4A3F-9159-74DC1C5201F3}"/>
                </a:ext>
              </a:extLst>
            </p:cNvPr>
            <p:cNvSpPr/>
            <p:nvPr/>
          </p:nvSpPr>
          <p:spPr>
            <a:xfrm>
              <a:off x="1023852" y="4892433"/>
              <a:ext cx="6723034" cy="39380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altLang="ko-KR" sz="1400" b="1" dirty="0">
                  <a:solidFill>
                    <a:schemeClr val="bg1">
                      <a:lumMod val="50000"/>
                    </a:schemeClr>
                  </a:solidFill>
                  <a:latin typeface="+mn-ea"/>
                  <a:cs typeface="함초롬바탕" panose="02030604000101010101" pitchFamily="18" charset="-127"/>
                </a:rPr>
                <a:t>03.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귀사는 중대성평가를 시행하여 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기회와 위기요인을 바탕으로 주요 이슈 영역을 선정하고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,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이에 대한 실행</a:t>
              </a:r>
              <a:b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</a:b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      </a:t>
              </a:r>
              <a:r>
                <a: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과제 및 계획을 수립하고 있습니까</a:t>
              </a:r>
              <a:r>
                <a:rPr lang="en-US" altLang="ko-KR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?</a:t>
              </a:r>
              <a:endPara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132" name="사각형: 둥근 모서리 131">
              <a:extLst>
                <a:ext uri="{FF2B5EF4-FFF2-40B4-BE49-F238E27FC236}">
                  <a16:creationId xmlns:a16="http://schemas.microsoft.com/office/drawing/2014/main" id="{1D917238-A5A9-427F-B970-9D65B62744D3}"/>
                </a:ext>
              </a:extLst>
            </p:cNvPr>
            <p:cNvSpPr/>
            <p:nvPr/>
          </p:nvSpPr>
          <p:spPr>
            <a:xfrm>
              <a:off x="1453262" y="5373017"/>
              <a:ext cx="1080000" cy="21622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Arial"/>
                </a:rPr>
                <a:t>예</a:t>
              </a:r>
            </a:p>
          </p:txBody>
        </p:sp>
        <p:sp>
          <p:nvSpPr>
            <p:cNvPr id="134" name="사각형: 둥근 모서리 133">
              <a:extLst>
                <a:ext uri="{FF2B5EF4-FFF2-40B4-BE49-F238E27FC236}">
                  <a16:creationId xmlns:a16="http://schemas.microsoft.com/office/drawing/2014/main" id="{4D481A68-D73C-4EA1-A086-1286FB5E884E}"/>
                </a:ext>
              </a:extLst>
            </p:cNvPr>
            <p:cNvSpPr/>
            <p:nvPr/>
          </p:nvSpPr>
          <p:spPr>
            <a:xfrm>
              <a:off x="2609125" y="5373017"/>
              <a:ext cx="1080000" cy="21622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9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  <a:cs typeface="Arial"/>
                </a:rPr>
                <a:t>아니오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endParaRPr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id="{3272A669-AD38-4B36-8A80-3D51E816E07C}"/>
              </a:ext>
            </a:extLst>
          </p:cNvPr>
          <p:cNvGrpSpPr/>
          <p:nvPr/>
        </p:nvGrpSpPr>
        <p:grpSpPr>
          <a:xfrm>
            <a:off x="1322042" y="3645505"/>
            <a:ext cx="2480207" cy="332654"/>
            <a:chOff x="171422" y="3150205"/>
            <a:chExt cx="2480207" cy="332654"/>
          </a:xfrm>
        </p:grpSpPr>
        <p:sp>
          <p:nvSpPr>
            <p:cNvPr id="146" name="직사각형 145">
              <a:extLst>
                <a:ext uri="{FF2B5EF4-FFF2-40B4-BE49-F238E27FC236}">
                  <a16:creationId xmlns:a16="http://schemas.microsoft.com/office/drawing/2014/main" id="{FF4CC002-04E3-45DD-9776-FCB3D01FD772}"/>
                </a:ext>
              </a:extLst>
            </p:cNvPr>
            <p:cNvSpPr/>
            <p:nvPr/>
          </p:nvSpPr>
          <p:spPr>
            <a:xfrm>
              <a:off x="250195" y="3193432"/>
              <a:ext cx="2401434" cy="289427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7" name="사각형: 둥근 모서리 146">
              <a:extLst>
                <a:ext uri="{FF2B5EF4-FFF2-40B4-BE49-F238E27FC236}">
                  <a16:creationId xmlns:a16="http://schemas.microsoft.com/office/drawing/2014/main" id="{69B189CC-8A7C-4049-B031-964F2A3D966D}"/>
                </a:ext>
              </a:extLst>
            </p:cNvPr>
            <p:cNvSpPr/>
            <p:nvPr/>
          </p:nvSpPr>
          <p:spPr>
            <a:xfrm>
              <a:off x="171422" y="3150205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927F43AA-F525-4DDC-BB08-04D8144068DF}"/>
              </a:ext>
            </a:extLst>
          </p:cNvPr>
          <p:cNvSpPr/>
          <p:nvPr/>
        </p:nvSpPr>
        <p:spPr>
          <a:xfrm>
            <a:off x="927170" y="31271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120DA314-5559-491E-AC00-B8B6B483CDB4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B8BE3BDB-3520-4CC6-B664-06E97EB1A3C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27103558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4B97B4B-5879-4034-8E4E-ED901A62AF24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94827D1-60E0-4C31-8660-E72625BA1D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F2A1E07-F057-4359-A65D-7832A77C4D8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0098A72-54FE-49DC-BEA6-4B2B7AD47AC1}"/>
              </a:ext>
            </a:extLst>
          </p:cNvPr>
          <p:cNvSpPr/>
          <p:nvPr/>
        </p:nvSpPr>
        <p:spPr>
          <a:xfrm>
            <a:off x="911225" y="2997185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36D74E15-2921-4754-AA9F-C216BE45E244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B6DD3E66-7C74-4F61-81E5-101FABDAB292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93" name="그룹 92">
              <a:extLst>
                <a:ext uri="{FF2B5EF4-FFF2-40B4-BE49-F238E27FC236}">
                  <a16:creationId xmlns:a16="http://schemas.microsoft.com/office/drawing/2014/main" id="{8FD38F44-274B-4E49-ACED-B758C11C2E9E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111" name="사각형: 둥근 모서리 110">
                <a:extLst>
                  <a:ext uri="{FF2B5EF4-FFF2-40B4-BE49-F238E27FC236}">
                    <a16:creationId xmlns:a16="http://schemas.microsoft.com/office/drawing/2014/main" id="{4587ACFF-EB37-437B-8DBC-BD0E3B620FD3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698CC723-C889-4E73-86EA-C9073D9A5C14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37913E27-00DA-4BB3-A90C-D80369F29016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4" name="사각형: 둥근 모서리 113">
                <a:extLst>
                  <a:ext uri="{FF2B5EF4-FFF2-40B4-BE49-F238E27FC236}">
                    <a16:creationId xmlns:a16="http://schemas.microsoft.com/office/drawing/2014/main" id="{0E841952-2E5D-4838-9359-964E1F06F9E1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9BFB3E75-9295-4FA3-899A-3CA87578F6F1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107" name="사각형: 둥근 모서리 106">
                <a:extLst>
                  <a:ext uri="{FF2B5EF4-FFF2-40B4-BE49-F238E27FC236}">
                    <a16:creationId xmlns:a16="http://schemas.microsoft.com/office/drawing/2014/main" id="{28D93D0B-D13A-4B3A-BB44-46DA30ADEE92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878BA430-4E04-4F5D-B1AF-4D814B70F28B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109" name="사각형: 둥근 모서리 108">
                <a:extLst>
                  <a:ext uri="{FF2B5EF4-FFF2-40B4-BE49-F238E27FC236}">
                    <a16:creationId xmlns:a16="http://schemas.microsoft.com/office/drawing/2014/main" id="{DBFEB873-C72D-4B95-8DA9-5B1F0C1F2F94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0" name="사각형: 둥근 모서리 109">
                <a:extLst>
                  <a:ext uri="{FF2B5EF4-FFF2-40B4-BE49-F238E27FC236}">
                    <a16:creationId xmlns:a16="http://schemas.microsoft.com/office/drawing/2014/main" id="{5DE6323A-F0F5-4134-83D0-C9871BF65A48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BF318A80-39EA-499F-BE15-74ECC72A046F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103" name="사각형: 둥근 모서리 102">
                <a:extLst>
                  <a:ext uri="{FF2B5EF4-FFF2-40B4-BE49-F238E27FC236}">
                    <a16:creationId xmlns:a16="http://schemas.microsoft.com/office/drawing/2014/main" id="{C00E0CB7-C55E-4333-8BED-7F92B13E2D8E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D7241DC5-EF0D-4B1C-9BB5-18081B04D518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105" name="사각형: 둥근 모서리 104">
                <a:extLst>
                  <a:ext uri="{FF2B5EF4-FFF2-40B4-BE49-F238E27FC236}">
                    <a16:creationId xmlns:a16="http://schemas.microsoft.com/office/drawing/2014/main" id="{B866F8DF-1856-4B73-99F3-F691AEF034A2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6" name="사각형: 둥근 모서리 105">
                <a:extLst>
                  <a:ext uri="{FF2B5EF4-FFF2-40B4-BE49-F238E27FC236}">
                    <a16:creationId xmlns:a16="http://schemas.microsoft.com/office/drawing/2014/main" id="{A129B629-FF73-4C8D-92CC-5EA749302384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B79F74B7-561B-46FC-B5D4-A5CB23714E27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99" name="사각형: 둥근 모서리 98">
                <a:extLst>
                  <a:ext uri="{FF2B5EF4-FFF2-40B4-BE49-F238E27FC236}">
                    <a16:creationId xmlns:a16="http://schemas.microsoft.com/office/drawing/2014/main" id="{E2B59F79-2F7E-48B6-BD3D-E0E33D1CA741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4E8F5CA5-E3D4-4E5A-9052-339F6C814ADA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101" name="사각형: 둥근 모서리 100">
                <a:extLst>
                  <a:ext uri="{FF2B5EF4-FFF2-40B4-BE49-F238E27FC236}">
                    <a16:creationId xmlns:a16="http://schemas.microsoft.com/office/drawing/2014/main" id="{C8423DA9-8E1E-4C06-B0AF-1088FCD00426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2" name="사각형: 둥근 모서리 101">
                <a:extLst>
                  <a:ext uri="{FF2B5EF4-FFF2-40B4-BE49-F238E27FC236}">
                    <a16:creationId xmlns:a16="http://schemas.microsoft.com/office/drawing/2014/main" id="{F47827F3-C2EB-407F-9E9C-DB9B02B098DF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graphicFrame>
        <p:nvGraphicFramePr>
          <p:cNvPr id="116" name="표 10">
            <a:extLst>
              <a:ext uri="{FF2B5EF4-FFF2-40B4-BE49-F238E27FC236}">
                <a16:creationId xmlns:a16="http://schemas.microsoft.com/office/drawing/2014/main" id="{EDD5355C-1375-486B-AA29-C78CD3B535A0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참고 설명 느낌이 날 수 있도록 작은 글씨로 문항과 구분되게 표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784C120A-0C0C-460A-B890-F42A99F9F5D5}"/>
              </a:ext>
            </a:extLst>
          </p:cNvPr>
          <p:cNvGrpSpPr/>
          <p:nvPr/>
        </p:nvGrpSpPr>
        <p:grpSpPr>
          <a:xfrm>
            <a:off x="8272333" y="3000146"/>
            <a:ext cx="131967" cy="2777953"/>
            <a:chOff x="9201470" y="1601344"/>
            <a:chExt cx="188140" cy="4198758"/>
          </a:xfrm>
        </p:grpSpPr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0FAFE36A-FC4D-4D3A-A1F3-38ECF11A0098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1CD06F08-4B4A-467F-A5FF-288AC6BE4AA7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DAA3DB0-628E-435B-AD0C-533B706CAF7F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990B454-2A07-448B-AA76-F7C9B62918F7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C38EED65-79A6-4013-965B-DE88CA1511E5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301DA337-10CD-4C3A-9A78-2787C10EF57A}"/>
              </a:ext>
            </a:extLst>
          </p:cNvPr>
          <p:cNvSpPr/>
          <p:nvPr/>
        </p:nvSpPr>
        <p:spPr>
          <a:xfrm>
            <a:off x="999566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◀ 이전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8AF92812-A4E4-420C-94FA-B8C76E1008E4}"/>
              </a:ext>
            </a:extLst>
          </p:cNvPr>
          <p:cNvSpPr/>
          <p:nvPr/>
        </p:nvSpPr>
        <p:spPr>
          <a:xfrm>
            <a:off x="1028690" y="5157192"/>
            <a:ext cx="6723034" cy="393807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3.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목표 달성 촉진과 성과 측정을 위해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활동 과제별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KPI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를 정의하고 있습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C616E1E0-AAD0-4903-857B-976123DD8497}"/>
              </a:ext>
            </a:extLst>
          </p:cNvPr>
          <p:cNvSpPr/>
          <p:nvPr/>
        </p:nvSpPr>
        <p:spPr>
          <a:xfrm>
            <a:off x="3299056" y="5517033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953EB5E2-A241-444F-BA69-B5F0266EC9C5}"/>
              </a:ext>
            </a:extLst>
          </p:cNvPr>
          <p:cNvSpPr/>
          <p:nvPr/>
        </p:nvSpPr>
        <p:spPr>
          <a:xfrm>
            <a:off x="4750491" y="5517033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FC635EBA-7C50-4CAB-AF12-18295F1F2621}"/>
              </a:ext>
            </a:extLst>
          </p:cNvPr>
          <p:cNvSpPr/>
          <p:nvPr/>
        </p:nvSpPr>
        <p:spPr>
          <a:xfrm>
            <a:off x="1029150" y="4293096"/>
            <a:ext cx="6723034" cy="3395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2.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을 위한 업무 프로세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역할과 책임을 지침에 반영하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이에 따른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관리 활동을 </a:t>
            </a:r>
            <a:b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</a:b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     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의사결정체계에 따라 보고하고 있습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A1FF6C12-784C-431A-983F-4C08413B78DC}"/>
              </a:ext>
            </a:extLst>
          </p:cNvPr>
          <p:cNvSpPr/>
          <p:nvPr/>
        </p:nvSpPr>
        <p:spPr>
          <a:xfrm>
            <a:off x="3297848" y="5012977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2BC1FEF6-9A66-44F9-8769-0A7C7D4AB0B0}"/>
              </a:ext>
            </a:extLst>
          </p:cNvPr>
          <p:cNvSpPr/>
          <p:nvPr/>
        </p:nvSpPr>
        <p:spPr>
          <a:xfrm>
            <a:off x="4749283" y="5012977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1A71EFEF-C4B9-4A5C-B83C-6A98FF68D295}"/>
              </a:ext>
            </a:extLst>
          </p:cNvPr>
          <p:cNvSpPr/>
          <p:nvPr/>
        </p:nvSpPr>
        <p:spPr>
          <a:xfrm>
            <a:off x="1025379" y="3374446"/>
            <a:ext cx="7129611" cy="393807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1.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영 활동을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관리∙감독하기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위한 의사결정체계를 구축하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의사결정체계 내의 역할과 책임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운영 현황을 </a:t>
            </a:r>
            <a:b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</a:b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     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공시하고 있습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 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EDCC26A6-30BD-4558-A9C9-CA6E72B8C2C0}"/>
              </a:ext>
            </a:extLst>
          </p:cNvPr>
          <p:cNvSpPr/>
          <p:nvPr/>
        </p:nvSpPr>
        <p:spPr>
          <a:xfrm>
            <a:off x="1395778" y="3806494"/>
            <a:ext cx="6356406" cy="126562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*의사결정체계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: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이사회와 이사회 산하 위원회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경영진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전담 조직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실무협의체의 구성</a:t>
            </a:r>
            <a:endParaRPr lang="ko-KR" altLang="en-US" sz="5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8138A86B-9F1E-48E2-8947-36DF713FC689}"/>
              </a:ext>
            </a:extLst>
          </p:cNvPr>
          <p:cNvSpPr/>
          <p:nvPr/>
        </p:nvSpPr>
        <p:spPr>
          <a:xfrm>
            <a:off x="3297848" y="4005064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43BFA783-272B-4EC5-896E-F768CD90F1C8}"/>
              </a:ext>
            </a:extLst>
          </p:cNvPr>
          <p:cNvSpPr/>
          <p:nvPr/>
        </p:nvSpPr>
        <p:spPr>
          <a:xfrm>
            <a:off x="4749283" y="4005064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6349B11C-E5A0-4764-9930-FEF5EDBD1DF4}"/>
              </a:ext>
            </a:extLst>
          </p:cNvPr>
          <p:cNvSpPr/>
          <p:nvPr/>
        </p:nvSpPr>
        <p:spPr>
          <a:xfrm>
            <a:off x="1407625" y="4670589"/>
            <a:ext cx="6356406" cy="31427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* 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ESG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경영활동 업무 프로세스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: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사업 계획에 따른 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ESG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경영활동 수행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모니터링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보고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업무 개선과 성과 평가</a:t>
            </a:r>
          </a:p>
          <a:p>
            <a:pPr>
              <a:lnSpc>
                <a:spcPct val="100000"/>
              </a:lnSpc>
            </a:pP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* 의사결정 조직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: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이사회와 이사회 산하 위원회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경영진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전담 조직</a:t>
            </a:r>
            <a:r>
              <a:rPr lang="en-US" altLang="ko-KR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, </a:t>
            </a:r>
            <a:r>
              <a:rPr lang="ko-KR" altLang="en-US" sz="900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실무협의체</a:t>
            </a:r>
            <a:endParaRPr lang="ko-KR" altLang="en-US" sz="5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66B6BE62-B5E9-4098-A81F-57489FF2F561}"/>
              </a:ext>
            </a:extLst>
          </p:cNvPr>
          <p:cNvGrpSpPr/>
          <p:nvPr/>
        </p:nvGrpSpPr>
        <p:grpSpPr>
          <a:xfrm>
            <a:off x="1095051" y="3098545"/>
            <a:ext cx="3059779" cy="191821"/>
            <a:chOff x="839416" y="2801113"/>
            <a:chExt cx="3059779" cy="191821"/>
          </a:xfrm>
        </p:grpSpPr>
        <p:sp>
          <p:nvSpPr>
            <p:cNvPr id="76" name="사각형: 둥근 모서리 75">
              <a:extLst>
                <a:ext uri="{FF2B5EF4-FFF2-40B4-BE49-F238E27FC236}">
                  <a16:creationId xmlns:a16="http://schemas.microsoft.com/office/drawing/2014/main" id="{C2D89C49-31CE-44FE-A32A-293BC323B258}"/>
                </a:ext>
              </a:extLst>
            </p:cNvPr>
            <p:cNvSpPr/>
            <p:nvPr/>
          </p:nvSpPr>
          <p:spPr>
            <a:xfrm>
              <a:off x="839416" y="2801113"/>
              <a:ext cx="3059779" cy="191821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전략 계획 </a:t>
              </a:r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&gt; 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경영체계 수립</a:t>
              </a:r>
            </a:p>
          </p:txBody>
        </p: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37EDFE26-C358-4DC9-AEC3-3833D4D34E9B}"/>
                </a:ext>
              </a:extLst>
            </p:cNvPr>
            <p:cNvSpPr/>
            <p:nvPr/>
          </p:nvSpPr>
          <p:spPr>
            <a:xfrm>
              <a:off x="839416" y="2801113"/>
              <a:ext cx="45719" cy="19182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함초롬바탕" panose="02030604000101010101" pitchFamily="18" charset="-127"/>
              </a:endParaRPr>
            </a:p>
          </p:txBody>
        </p:sp>
      </p:grp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AC725D43-286E-4BDF-BED5-FCB28BCA3DA9}"/>
              </a:ext>
            </a:extLst>
          </p:cNvPr>
          <p:cNvSpPr/>
          <p:nvPr/>
        </p:nvSpPr>
        <p:spPr>
          <a:xfrm>
            <a:off x="1270520" y="38064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화살표: 오각형 55">
            <a:extLst>
              <a:ext uri="{FF2B5EF4-FFF2-40B4-BE49-F238E27FC236}">
                <a16:creationId xmlns:a16="http://schemas.microsoft.com/office/drawing/2014/main" id="{30E5899F-5788-46C8-952E-14F915499E29}"/>
              </a:ext>
            </a:extLst>
          </p:cNvPr>
          <p:cNvSpPr/>
          <p:nvPr/>
        </p:nvSpPr>
        <p:spPr>
          <a:xfrm>
            <a:off x="-1098146" y="3129847"/>
            <a:ext cx="2139238" cy="725523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>
                <a:solidFill>
                  <a:srgbClr val="FF0000"/>
                </a:solidFill>
              </a:rPr>
              <a:t>수정</a:t>
            </a:r>
            <a:endParaRPr lang="en-US" altLang="ko-KR" sz="1100" dirty="0">
              <a:solidFill>
                <a:srgbClr val="FF0000"/>
              </a:solidFill>
            </a:endParaRPr>
          </a:p>
          <a:p>
            <a:pPr algn="ctr"/>
            <a:r>
              <a:rPr lang="en-US" altLang="ko-KR" sz="1100" dirty="0">
                <a:solidFill>
                  <a:srgbClr val="FF0000"/>
                </a:solidFill>
              </a:rPr>
              <a:t>(</a:t>
            </a:r>
            <a:r>
              <a:rPr lang="ko-KR" altLang="en-US" sz="1100" dirty="0">
                <a:solidFill>
                  <a:srgbClr val="FF0000"/>
                </a:solidFill>
              </a:rPr>
              <a:t>화면이 </a:t>
            </a:r>
            <a:r>
              <a:rPr lang="en-US" altLang="ko-KR" sz="1100" dirty="0">
                <a:solidFill>
                  <a:srgbClr val="FF0000"/>
                </a:solidFill>
              </a:rPr>
              <a:t>lv2 </a:t>
            </a:r>
            <a:r>
              <a:rPr lang="ko-KR" altLang="en-US" sz="1100" dirty="0">
                <a:solidFill>
                  <a:srgbClr val="FF0000"/>
                </a:solidFill>
              </a:rPr>
              <a:t>단위로 수정됨에 따라</a:t>
            </a:r>
            <a:r>
              <a:rPr lang="en-US" altLang="ko-KR" sz="1100" dirty="0">
                <a:solidFill>
                  <a:srgbClr val="FF0000"/>
                </a:solidFill>
              </a:rPr>
              <a:t>, numbering</a:t>
            </a:r>
            <a:r>
              <a:rPr lang="ko-KR" altLang="en-US" sz="1100" dirty="0">
                <a:solidFill>
                  <a:srgbClr val="FF0000"/>
                </a:solidFill>
              </a:rPr>
              <a:t>도 </a:t>
            </a:r>
            <a:r>
              <a:rPr lang="en-US" altLang="ko-KR" sz="1100" dirty="0">
                <a:solidFill>
                  <a:srgbClr val="FF0000"/>
                </a:solidFill>
              </a:rPr>
              <a:t>lv2 </a:t>
            </a:r>
            <a:r>
              <a:rPr lang="ko-KR" altLang="en-US" sz="1100" dirty="0">
                <a:solidFill>
                  <a:srgbClr val="FF0000"/>
                </a:solidFill>
              </a:rPr>
              <a:t>단위로 시작</a:t>
            </a:r>
            <a:r>
              <a:rPr lang="en-US" altLang="ko-KR" sz="11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EBD0C1C6-90C6-4E90-950B-A13D18971B4D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5F93DBB3-A392-4A85-B3F8-290497CB190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419615062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4B97B4B-5879-4034-8E4E-ED901A62AF24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94827D1-60E0-4C31-8660-E72625BA1D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F2A1E07-F057-4359-A65D-7832A77C4D8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0098A72-54FE-49DC-BEA6-4B2B7AD47AC1}"/>
              </a:ext>
            </a:extLst>
          </p:cNvPr>
          <p:cNvSpPr/>
          <p:nvPr/>
        </p:nvSpPr>
        <p:spPr>
          <a:xfrm>
            <a:off x="911225" y="2997185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36D74E15-2921-4754-AA9F-C216BE45E244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B6DD3E66-7C74-4F61-81E5-101FABDAB292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93" name="그룹 92">
              <a:extLst>
                <a:ext uri="{FF2B5EF4-FFF2-40B4-BE49-F238E27FC236}">
                  <a16:creationId xmlns:a16="http://schemas.microsoft.com/office/drawing/2014/main" id="{8FD38F44-274B-4E49-ACED-B758C11C2E9E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111" name="사각형: 둥근 모서리 110">
                <a:extLst>
                  <a:ext uri="{FF2B5EF4-FFF2-40B4-BE49-F238E27FC236}">
                    <a16:creationId xmlns:a16="http://schemas.microsoft.com/office/drawing/2014/main" id="{4587ACFF-EB37-437B-8DBC-BD0E3B620FD3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698CC723-C889-4E73-86EA-C9073D9A5C14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37913E27-00DA-4BB3-A90C-D80369F29016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4" name="사각형: 둥근 모서리 113">
                <a:extLst>
                  <a:ext uri="{FF2B5EF4-FFF2-40B4-BE49-F238E27FC236}">
                    <a16:creationId xmlns:a16="http://schemas.microsoft.com/office/drawing/2014/main" id="{0E841952-2E5D-4838-9359-964E1F06F9E1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9BFB3E75-9295-4FA3-899A-3CA87578F6F1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107" name="사각형: 둥근 모서리 106">
                <a:extLst>
                  <a:ext uri="{FF2B5EF4-FFF2-40B4-BE49-F238E27FC236}">
                    <a16:creationId xmlns:a16="http://schemas.microsoft.com/office/drawing/2014/main" id="{28D93D0B-D13A-4B3A-BB44-46DA30ADEE92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878BA430-4E04-4F5D-B1AF-4D814B70F28B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109" name="사각형: 둥근 모서리 108">
                <a:extLst>
                  <a:ext uri="{FF2B5EF4-FFF2-40B4-BE49-F238E27FC236}">
                    <a16:creationId xmlns:a16="http://schemas.microsoft.com/office/drawing/2014/main" id="{DBFEB873-C72D-4B95-8DA9-5B1F0C1F2F94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0" name="사각형: 둥근 모서리 109">
                <a:extLst>
                  <a:ext uri="{FF2B5EF4-FFF2-40B4-BE49-F238E27FC236}">
                    <a16:creationId xmlns:a16="http://schemas.microsoft.com/office/drawing/2014/main" id="{5DE6323A-F0F5-4134-83D0-C9871BF65A48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BF318A80-39EA-499F-BE15-74ECC72A046F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103" name="사각형: 둥근 모서리 102">
                <a:extLst>
                  <a:ext uri="{FF2B5EF4-FFF2-40B4-BE49-F238E27FC236}">
                    <a16:creationId xmlns:a16="http://schemas.microsoft.com/office/drawing/2014/main" id="{C00E0CB7-C55E-4333-8BED-7F92B13E2D8E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D7241DC5-EF0D-4B1C-9BB5-18081B04D518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105" name="사각형: 둥근 모서리 104">
                <a:extLst>
                  <a:ext uri="{FF2B5EF4-FFF2-40B4-BE49-F238E27FC236}">
                    <a16:creationId xmlns:a16="http://schemas.microsoft.com/office/drawing/2014/main" id="{B866F8DF-1856-4B73-99F3-F691AEF034A2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6" name="사각형: 둥근 모서리 105">
                <a:extLst>
                  <a:ext uri="{FF2B5EF4-FFF2-40B4-BE49-F238E27FC236}">
                    <a16:creationId xmlns:a16="http://schemas.microsoft.com/office/drawing/2014/main" id="{A129B629-FF73-4C8D-92CC-5EA749302384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B79F74B7-561B-46FC-B5D4-A5CB23714E27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99" name="사각형: 둥근 모서리 98">
                <a:extLst>
                  <a:ext uri="{FF2B5EF4-FFF2-40B4-BE49-F238E27FC236}">
                    <a16:creationId xmlns:a16="http://schemas.microsoft.com/office/drawing/2014/main" id="{E2B59F79-2F7E-48B6-BD3D-E0E33D1CA741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4E8F5CA5-E3D4-4E5A-9052-339F6C814ADA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101" name="사각형: 둥근 모서리 100">
                <a:extLst>
                  <a:ext uri="{FF2B5EF4-FFF2-40B4-BE49-F238E27FC236}">
                    <a16:creationId xmlns:a16="http://schemas.microsoft.com/office/drawing/2014/main" id="{C8423DA9-8E1E-4C06-B0AF-1088FCD00426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02" name="사각형: 둥근 모서리 101">
                <a:extLst>
                  <a:ext uri="{FF2B5EF4-FFF2-40B4-BE49-F238E27FC236}">
                    <a16:creationId xmlns:a16="http://schemas.microsoft.com/office/drawing/2014/main" id="{F47827F3-C2EB-407F-9E9C-DB9B02B098DF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graphicFrame>
        <p:nvGraphicFramePr>
          <p:cNvPr id="116" name="표 10">
            <a:extLst>
              <a:ext uri="{FF2B5EF4-FFF2-40B4-BE49-F238E27FC236}">
                <a16:creationId xmlns:a16="http://schemas.microsoft.com/office/drawing/2014/main" id="{EDD5355C-1375-486B-AA29-C78CD3B535A0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784C120A-0C0C-460A-B890-F42A99F9F5D5}"/>
              </a:ext>
            </a:extLst>
          </p:cNvPr>
          <p:cNvGrpSpPr/>
          <p:nvPr/>
        </p:nvGrpSpPr>
        <p:grpSpPr>
          <a:xfrm>
            <a:off x="8272333" y="3000146"/>
            <a:ext cx="131967" cy="2777953"/>
            <a:chOff x="9201470" y="1601344"/>
            <a:chExt cx="188140" cy="4198758"/>
          </a:xfrm>
        </p:grpSpPr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0FAFE36A-FC4D-4D3A-A1F3-38ECF11A0098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1CD06F08-4B4A-467F-A5FF-288AC6BE4AA7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2DAA3DB0-628E-435B-AD0C-533B706CAF7F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5990B454-2A07-448B-AA76-F7C9B62918F7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C38EED65-79A6-4013-965B-DE88CA1511E5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301DA337-10CD-4C3A-9A78-2787C10EF57A}"/>
              </a:ext>
            </a:extLst>
          </p:cNvPr>
          <p:cNvSpPr/>
          <p:nvPr/>
        </p:nvSpPr>
        <p:spPr>
          <a:xfrm>
            <a:off x="999566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◀ 이전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E181761A-C6BD-42CD-BBF3-9A0C1E5AA95C}"/>
              </a:ext>
            </a:extLst>
          </p:cNvPr>
          <p:cNvSpPr/>
          <p:nvPr/>
        </p:nvSpPr>
        <p:spPr>
          <a:xfrm>
            <a:off x="1025379" y="3140968"/>
            <a:ext cx="7129611" cy="393807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4.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는 주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이슈 또는 관리 영역별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정책과 지침을 수립하였습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83D2E5CF-46B4-4326-8A65-304FC405020C}"/>
              </a:ext>
            </a:extLst>
          </p:cNvPr>
          <p:cNvSpPr/>
          <p:nvPr/>
        </p:nvSpPr>
        <p:spPr>
          <a:xfrm>
            <a:off x="3297848" y="3555562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7ABBDA85-D9E8-4D14-8206-9FF26BA925A1}"/>
              </a:ext>
            </a:extLst>
          </p:cNvPr>
          <p:cNvSpPr/>
          <p:nvPr/>
        </p:nvSpPr>
        <p:spPr>
          <a:xfrm>
            <a:off x="4749283" y="3555562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976D363A-FE57-48D2-979E-7B2C84BBB1FA}"/>
              </a:ext>
            </a:extLst>
          </p:cNvPr>
          <p:cNvSpPr/>
          <p:nvPr/>
        </p:nvSpPr>
        <p:spPr>
          <a:xfrm>
            <a:off x="1028690" y="3861048"/>
            <a:ext cx="6723034" cy="393807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4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rPr>
              <a:t>05.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  <a:cs typeface="함초롬바탕" panose="02030604000101010101" pitchFamily="18" charset="-127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귀사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위험을 인식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측정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평가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모니터링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경감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보고하기 위한 관리체계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(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정책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프로세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역할과 책임 등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) </a:t>
            </a:r>
            <a:b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</a:b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      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를 수립하고 있습니까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rPr>
              <a:t>?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100E6C4-F195-4F3B-8398-1426FC300E0F}"/>
              </a:ext>
            </a:extLst>
          </p:cNvPr>
          <p:cNvSpPr/>
          <p:nvPr/>
        </p:nvSpPr>
        <p:spPr>
          <a:xfrm>
            <a:off x="3299056" y="4254656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예</a:t>
            </a: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33844D07-816D-42BD-BE86-11970DA0978A}"/>
              </a:ext>
            </a:extLst>
          </p:cNvPr>
          <p:cNvSpPr/>
          <p:nvPr/>
        </p:nvSpPr>
        <p:spPr>
          <a:xfrm>
            <a:off x="4750491" y="4254656"/>
            <a:ext cx="1080000" cy="2162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/>
              </a:rPr>
              <a:t>아니오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2E8358D9-2966-4388-8760-00A7A3B4DE0D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0A577F44-ED09-4CF2-818B-ABA36D63AE0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28214809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6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53F91148-A4A4-431A-93A1-68998AF855E7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박스가 진한색으로 표시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45A9E2C6-4B74-4E89-9643-8594C95D4606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5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C2C2F74-5D7B-4CC1-B807-85D728BC65A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9774DD10-26A5-4585-BCC8-50646E94914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61FB18D4-9057-45E4-BF33-F9C383418FC7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56" name="그룹 55">
              <a:extLst>
                <a:ext uri="{FF2B5EF4-FFF2-40B4-BE49-F238E27FC236}">
                  <a16:creationId xmlns:a16="http://schemas.microsoft.com/office/drawing/2014/main" id="{DE63D50D-5050-470E-AFD8-2CA1F95F2F45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72" name="사각형: 둥근 모서리 71">
                <a:extLst>
                  <a:ext uri="{FF2B5EF4-FFF2-40B4-BE49-F238E27FC236}">
                    <a16:creationId xmlns:a16="http://schemas.microsoft.com/office/drawing/2014/main" id="{AE346E1A-17A0-4895-9AFF-CA5C5EA63A7F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CD6A4229-74A2-4C5F-8267-54F6EE050E5F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75" name="사각형: 둥근 모서리 74">
                <a:extLst>
                  <a:ext uri="{FF2B5EF4-FFF2-40B4-BE49-F238E27FC236}">
                    <a16:creationId xmlns:a16="http://schemas.microsoft.com/office/drawing/2014/main" id="{3A984D6A-4AE8-46C1-8145-593ECDA7176D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76" name="사각형: 둥근 모서리 75">
                <a:extLst>
                  <a:ext uri="{FF2B5EF4-FFF2-40B4-BE49-F238E27FC236}">
                    <a16:creationId xmlns:a16="http://schemas.microsoft.com/office/drawing/2014/main" id="{8C907BB5-A645-4BC1-BF11-72FF427CDD83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7" name="그룹 56">
              <a:extLst>
                <a:ext uri="{FF2B5EF4-FFF2-40B4-BE49-F238E27FC236}">
                  <a16:creationId xmlns:a16="http://schemas.microsoft.com/office/drawing/2014/main" id="{426627D9-8FE2-4FFA-B717-8A5BA9CF0E4A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68" name="사각형: 둥근 모서리 67">
                <a:extLst>
                  <a:ext uri="{FF2B5EF4-FFF2-40B4-BE49-F238E27FC236}">
                    <a16:creationId xmlns:a16="http://schemas.microsoft.com/office/drawing/2014/main" id="{1E065075-C23C-4B22-9FDA-3A298713BD8A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A7F1B26B-B662-40E7-B525-25A02E3E22F2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70" name="사각형: 둥근 모서리 69">
                <a:extLst>
                  <a:ext uri="{FF2B5EF4-FFF2-40B4-BE49-F238E27FC236}">
                    <a16:creationId xmlns:a16="http://schemas.microsoft.com/office/drawing/2014/main" id="{E3DE3A03-2EAC-4C41-85B8-2C97F59A90DF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71" name="사각형: 둥근 모서리 70">
                <a:extLst>
                  <a:ext uri="{FF2B5EF4-FFF2-40B4-BE49-F238E27FC236}">
                    <a16:creationId xmlns:a16="http://schemas.microsoft.com/office/drawing/2014/main" id="{F07E1C99-D62C-4D9C-9C7A-14468E93C753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663E8FC2-93F3-4B83-A1A7-AA64248D3553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64" name="사각형: 둥근 모서리 63">
                <a:extLst>
                  <a:ext uri="{FF2B5EF4-FFF2-40B4-BE49-F238E27FC236}">
                    <a16:creationId xmlns:a16="http://schemas.microsoft.com/office/drawing/2014/main" id="{929EE3FE-C882-490C-8D0E-217004C64C9E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FF11217D-A066-453E-B1BC-620489E99E22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EF344FF7-80CA-4B62-8F1F-D2B0C56869BF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67" name="사각형: 둥근 모서리 66">
                <a:extLst>
                  <a:ext uri="{FF2B5EF4-FFF2-40B4-BE49-F238E27FC236}">
                    <a16:creationId xmlns:a16="http://schemas.microsoft.com/office/drawing/2014/main" id="{FC7827B2-7A73-47A5-8521-C9D592C7A149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8B2A7454-8EA6-4090-9CEF-A277EC730142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60" name="사각형: 둥근 모서리 59">
                <a:extLst>
                  <a:ext uri="{FF2B5EF4-FFF2-40B4-BE49-F238E27FC236}">
                    <a16:creationId xmlns:a16="http://schemas.microsoft.com/office/drawing/2014/main" id="{4C88BD9F-34DD-478F-BE01-C9423F5389DB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B0D81E47-16FE-4AED-85AE-62E0015256C6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62" name="사각형: 둥근 모서리 61">
                <a:extLst>
                  <a:ext uri="{FF2B5EF4-FFF2-40B4-BE49-F238E27FC236}">
                    <a16:creationId xmlns:a16="http://schemas.microsoft.com/office/drawing/2014/main" id="{087B8265-508D-4528-AF5A-1063DAF9B2CE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63" name="사각형: 둥근 모서리 62">
                <a:extLst>
                  <a:ext uri="{FF2B5EF4-FFF2-40B4-BE49-F238E27FC236}">
                    <a16:creationId xmlns:a16="http://schemas.microsoft.com/office/drawing/2014/main" id="{4D625339-73C3-4494-A22D-F90A3C8EFD2D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E9D21663-D56F-4534-94FD-CB76E40DCD1C}"/>
              </a:ext>
            </a:extLst>
          </p:cNvPr>
          <p:cNvSpPr/>
          <p:nvPr/>
        </p:nvSpPr>
        <p:spPr>
          <a:xfrm>
            <a:off x="911225" y="2997185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AA365412-8571-461A-9A09-DF804F1428EA}"/>
              </a:ext>
            </a:extLst>
          </p:cNvPr>
          <p:cNvGrpSpPr/>
          <p:nvPr/>
        </p:nvGrpSpPr>
        <p:grpSpPr>
          <a:xfrm>
            <a:off x="1035416" y="3098545"/>
            <a:ext cx="7201648" cy="780140"/>
            <a:chOff x="1035416" y="3098545"/>
            <a:chExt cx="7201648" cy="780140"/>
          </a:xfrm>
        </p:grpSpPr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91767BB3-1D74-43B5-967D-6FCBF4CC2B15}"/>
                </a:ext>
              </a:extLst>
            </p:cNvPr>
            <p:cNvGrpSpPr/>
            <p:nvPr/>
          </p:nvGrpSpPr>
          <p:grpSpPr>
            <a:xfrm>
              <a:off x="1095051" y="3098545"/>
              <a:ext cx="3059779" cy="191821"/>
              <a:chOff x="839416" y="2801113"/>
              <a:chExt cx="3059779" cy="191821"/>
            </a:xfrm>
          </p:grpSpPr>
          <p:sp>
            <p:nvSpPr>
              <p:cNvPr id="85" name="사각형: 둥근 모서리 84">
                <a:extLst>
                  <a:ext uri="{FF2B5EF4-FFF2-40B4-BE49-F238E27FC236}">
                    <a16:creationId xmlns:a16="http://schemas.microsoft.com/office/drawing/2014/main" id="{67B09B70-89D7-4B9D-ADA2-25DB60299D79}"/>
                  </a:ext>
                </a:extLst>
              </p:cNvPr>
              <p:cNvSpPr/>
              <p:nvPr/>
            </p:nvSpPr>
            <p:spPr>
              <a:xfrm>
                <a:off x="839416" y="2801113"/>
                <a:ext cx="3059779" cy="191821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 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&gt; 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환경과제 </a:t>
                </a:r>
                <a:r>
                  <a:rPr lang="ko-KR" altLang="en-US" sz="1100" b="1" strike="sngStrike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이행</a:t>
                </a:r>
              </a:p>
            </p:txBody>
          </p:sp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030003D5-44DF-4655-9483-90A17B5FAA85}"/>
                  </a:ext>
                </a:extLst>
              </p:cNvPr>
              <p:cNvSpPr/>
              <p:nvPr/>
            </p:nvSpPr>
            <p:spPr>
              <a:xfrm>
                <a:off x="839416" y="2801113"/>
                <a:ext cx="45719" cy="19182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B1D2A747-BC61-4691-9321-41FA51BF973D}"/>
                </a:ext>
              </a:extLst>
            </p:cNvPr>
            <p:cNvGrpSpPr/>
            <p:nvPr/>
          </p:nvGrpSpPr>
          <p:grpSpPr>
            <a:xfrm>
              <a:off x="1035416" y="3284984"/>
              <a:ext cx="7201648" cy="593701"/>
              <a:chOff x="839417" y="3011956"/>
              <a:chExt cx="7201648" cy="593701"/>
            </a:xfrm>
          </p:grpSpPr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BD547957-7080-41CA-8A0B-AC6C078EF8DC}"/>
                  </a:ext>
                </a:extLst>
              </p:cNvPr>
              <p:cNvSpPr/>
              <p:nvPr/>
            </p:nvSpPr>
            <p:spPr>
              <a:xfrm>
                <a:off x="839417" y="3011956"/>
                <a:ext cx="7201648" cy="3938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77172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##.</a:t>
                </a:r>
                <a:r>
                  <a:rPr kumimoji="0" lang="en-US" altLang="ko-K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 </a:t>
                </a:r>
                <a:r>
                  <a:rPr kumimoji="0" lang="ko-KR" alt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질의사항</a:t>
                </a:r>
                <a:endParaRPr kumimoji="0" lang="ko-KR" altLang="en-US" sz="10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endParaRPr>
              </a:p>
            </p:txBody>
          </p:sp>
          <p:grpSp>
            <p:nvGrpSpPr>
              <p:cNvPr id="82" name="그룹 81">
                <a:extLst>
                  <a:ext uri="{FF2B5EF4-FFF2-40B4-BE49-F238E27FC236}">
                    <a16:creationId xmlns:a16="http://schemas.microsoft.com/office/drawing/2014/main" id="{4F22C0B5-523D-4DC5-A88D-44903ACAB0C9}"/>
                  </a:ext>
                </a:extLst>
              </p:cNvPr>
              <p:cNvGrpSpPr/>
              <p:nvPr/>
            </p:nvGrpSpPr>
            <p:grpSpPr>
              <a:xfrm>
                <a:off x="3103885" y="3389434"/>
                <a:ext cx="2531435" cy="216223"/>
                <a:chOff x="3687774" y="3688751"/>
                <a:chExt cx="2531435" cy="216223"/>
              </a:xfrm>
            </p:grpSpPr>
            <p:sp>
              <p:nvSpPr>
                <p:cNvPr id="83" name="사각형: 둥근 모서리 82">
                  <a:extLst>
                    <a:ext uri="{FF2B5EF4-FFF2-40B4-BE49-F238E27FC236}">
                      <a16:creationId xmlns:a16="http://schemas.microsoft.com/office/drawing/2014/main" id="{B085F47D-772F-438D-B5FF-7FE8AC925DD1}"/>
                    </a:ext>
                  </a:extLst>
                </p:cNvPr>
                <p:cNvSpPr/>
                <p:nvPr/>
              </p:nvSpPr>
              <p:spPr>
                <a:xfrm>
                  <a:off x="3687774" y="3688751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답변 </a:t>
                  </a:r>
                  <a:r>
                    <a:rPr lang="en-US" altLang="ko-KR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option 1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  <p:sp>
              <p:nvSpPr>
                <p:cNvPr id="84" name="사각형: 둥근 모서리 83">
                  <a:extLst>
                    <a:ext uri="{FF2B5EF4-FFF2-40B4-BE49-F238E27FC236}">
                      <a16:creationId xmlns:a16="http://schemas.microsoft.com/office/drawing/2014/main" id="{ECFC3251-7652-48B7-882B-D3B07EBDE005}"/>
                    </a:ext>
                  </a:extLst>
                </p:cNvPr>
                <p:cNvSpPr/>
                <p:nvPr/>
              </p:nvSpPr>
              <p:spPr>
                <a:xfrm>
                  <a:off x="5139209" y="3688751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답변 </a:t>
                  </a:r>
                  <a:r>
                    <a:rPr lang="en-US" altLang="ko-KR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option 2 …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</p:grpSp>
        </p:grpSp>
      </p:grp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DA5EF258-1AEB-4CB6-A326-2217C572760D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CA9C3C61-ED98-467A-9762-59666C897937}"/>
              </a:ext>
            </a:extLst>
          </p:cNvPr>
          <p:cNvSpPr/>
          <p:nvPr/>
        </p:nvSpPr>
        <p:spPr>
          <a:xfrm>
            <a:off x="999566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◀ 이전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9730ED4D-0D0C-4964-8CA6-8AEA00E21182}"/>
              </a:ext>
            </a:extLst>
          </p:cNvPr>
          <p:cNvGrpSpPr/>
          <p:nvPr/>
        </p:nvGrpSpPr>
        <p:grpSpPr>
          <a:xfrm>
            <a:off x="8272333" y="3000146"/>
            <a:ext cx="131967" cy="2777953"/>
            <a:chOff x="9201470" y="1601344"/>
            <a:chExt cx="188140" cy="4198758"/>
          </a:xfrm>
        </p:grpSpPr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CABAD9EF-00BD-477C-A9A6-B5FF765F9609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93" name="그룹 92">
              <a:extLst>
                <a:ext uri="{FF2B5EF4-FFF2-40B4-BE49-F238E27FC236}">
                  <a16:creationId xmlns:a16="http://schemas.microsoft.com/office/drawing/2014/main" id="{7C7F37AE-A241-46D5-803E-EA0B140C40A1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95" name="직사각형 94">
                <a:extLst>
                  <a:ext uri="{FF2B5EF4-FFF2-40B4-BE49-F238E27FC236}">
                    <a16:creationId xmlns:a16="http://schemas.microsoft.com/office/drawing/2014/main" id="{AD6EF71A-487E-4342-B1E5-8D94B63A7D8F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2CEE4258-619E-4ECA-B6CC-D4B70A6B7E05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82A2DD78-DF31-46CA-B382-1E152031074F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E7895513-B824-4D3F-8408-A3AAEAD37A7D}"/>
              </a:ext>
            </a:extLst>
          </p:cNvPr>
          <p:cNvSpPr/>
          <p:nvPr/>
        </p:nvSpPr>
        <p:spPr>
          <a:xfrm>
            <a:off x="4798910" y="21504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324828E9-63EB-4042-A3CD-1B82216C29FF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2 - 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경영 자가진단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(2/6)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화면과 구성 동일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진단 문항 초안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</a:t>
            </a:r>
            <a:r>
              <a:rPr lang="ko-KR" altLang="en-US" sz="1100" b="1" dirty="0" err="1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로직구성안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수정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3_230825’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endParaRPr lang="en-US" altLang="ko-KR" sz="1100" b="1" dirty="0">
              <a:solidFill>
                <a:schemeClr val="tx1"/>
              </a:solidFill>
              <a:highlight>
                <a:srgbClr val="FFFF00"/>
              </a:highlight>
              <a:latin typeface="+mn-ea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8F6027CC-AF0F-4E2C-A37F-A81025AB368B}"/>
              </a:ext>
            </a:extLst>
          </p:cNvPr>
          <p:cNvSpPr/>
          <p:nvPr/>
        </p:nvSpPr>
        <p:spPr>
          <a:xfrm>
            <a:off x="2608012" y="3093163"/>
            <a:ext cx="319636" cy="19182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9FC089D3-80B3-4CE8-9C17-FF3744697724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2E78ED5A-2BCA-49ED-B211-984FB0FBFC61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14181390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6/6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88" name="그림 87">
            <a:extLst>
              <a:ext uri="{FF2B5EF4-FFF2-40B4-BE49-F238E27FC236}">
                <a16:creationId xmlns:a16="http://schemas.microsoft.com/office/drawing/2014/main" id="{F32AD885-3489-4BB0-9561-050EF68A3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4648" y="606168"/>
            <a:ext cx="8657070" cy="60843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4B97B4B-5879-4034-8E4E-ED901A62AF24}"/>
              </a:ext>
            </a:extLst>
          </p:cNvPr>
          <p:cNvSpPr/>
          <p:nvPr/>
        </p:nvSpPr>
        <p:spPr>
          <a:xfrm>
            <a:off x="720424" y="1649409"/>
            <a:ext cx="7914363" cy="45977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40404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900" b="1" dirty="0">
                <a:latin typeface="+mn-ea"/>
                <a:cs typeface="함초롬바탕" panose="02030604000101010101" pitchFamily="18" charset="-127"/>
              </a:rPr>
              <a:t>1</a:t>
            </a:r>
            <a:r>
              <a:rPr lang="ko-KR" altLang="en-US" sz="900" b="1" dirty="0">
                <a:latin typeface="+mn-ea"/>
                <a:cs typeface="함초롬바탕" panose="02030604000101010101" pitchFamily="18" charset="-127"/>
              </a:rPr>
              <a:t>단계</a:t>
            </a:r>
          </a:p>
        </p:txBody>
      </p: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194827D1-60E0-4C31-8660-E72625BA1DE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65068" y="1700808"/>
            <a:ext cx="3839732" cy="2734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</a:t>
            </a:r>
            <a:endParaRPr lang="en-US" altLang="ko-KR" sz="12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F2A1E07-F057-4359-A65D-7832A77C4D8C}"/>
              </a:ext>
            </a:extLst>
          </p:cNvPr>
          <p:cNvSpPr/>
          <p:nvPr/>
        </p:nvSpPr>
        <p:spPr>
          <a:xfrm>
            <a:off x="7610116" y="1715980"/>
            <a:ext cx="854552" cy="2743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료하기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EBDA8F1F-9723-45E7-A958-4BF2973A4405}"/>
              </a:ext>
            </a:extLst>
          </p:cNvPr>
          <p:cNvGrpSpPr/>
          <p:nvPr/>
        </p:nvGrpSpPr>
        <p:grpSpPr>
          <a:xfrm>
            <a:off x="1923078" y="2195169"/>
            <a:ext cx="5579938" cy="667560"/>
            <a:chOff x="1112775" y="1885833"/>
            <a:chExt cx="5579938" cy="667560"/>
          </a:xfrm>
        </p:grpSpPr>
        <p:grpSp>
          <p:nvGrpSpPr>
            <p:cNvPr id="101" name="그룹 100">
              <a:extLst>
                <a:ext uri="{FF2B5EF4-FFF2-40B4-BE49-F238E27FC236}">
                  <a16:creationId xmlns:a16="http://schemas.microsoft.com/office/drawing/2014/main" id="{40E48658-94DB-4B60-A6EA-E89A01006678}"/>
                </a:ext>
              </a:extLst>
            </p:cNvPr>
            <p:cNvGrpSpPr/>
            <p:nvPr/>
          </p:nvGrpSpPr>
          <p:grpSpPr>
            <a:xfrm>
              <a:off x="2673961" y="1885833"/>
              <a:ext cx="1202346" cy="667560"/>
              <a:chOff x="3815338" y="1988840"/>
              <a:chExt cx="974660" cy="796683"/>
            </a:xfrm>
          </p:grpSpPr>
          <p:sp>
            <p:nvSpPr>
              <p:cNvPr id="119" name="사각형: 둥근 모서리 118">
                <a:extLst>
                  <a:ext uri="{FF2B5EF4-FFF2-40B4-BE49-F238E27FC236}">
                    <a16:creationId xmlns:a16="http://schemas.microsoft.com/office/drawing/2014/main" id="{6B62F384-7136-4D80-AB83-39DB5321F530}"/>
                  </a:ext>
                </a:extLst>
              </p:cNvPr>
              <p:cNvSpPr/>
              <p:nvPr/>
            </p:nvSpPr>
            <p:spPr>
              <a:xfrm>
                <a:off x="3815338" y="2207163"/>
                <a:ext cx="974659" cy="453150"/>
              </a:xfrm>
              <a:prstGeom prst="roundRect">
                <a:avLst>
                  <a:gd name="adj" fmla="val 73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986DA4C7-8D92-4D4D-9209-FA6F2E37984E}"/>
                  </a:ext>
                </a:extLst>
              </p:cNvPr>
              <p:cNvSpPr/>
              <p:nvPr/>
            </p:nvSpPr>
            <p:spPr>
              <a:xfrm>
                <a:off x="3832951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전략 계획</a:t>
                </a:r>
              </a:p>
            </p:txBody>
          </p:sp>
          <p:sp>
            <p:nvSpPr>
              <p:cNvPr id="121" name="사각형: 둥근 모서리 120">
                <a:extLst>
                  <a:ext uri="{FF2B5EF4-FFF2-40B4-BE49-F238E27FC236}">
                    <a16:creationId xmlns:a16="http://schemas.microsoft.com/office/drawing/2014/main" id="{638D6DFC-C764-412D-AC8B-BEE542CFC12A}"/>
                  </a:ext>
                </a:extLst>
              </p:cNvPr>
              <p:cNvSpPr/>
              <p:nvPr/>
            </p:nvSpPr>
            <p:spPr>
              <a:xfrm>
                <a:off x="3815338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2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22" name="사각형: 둥근 모서리 121">
                <a:extLst>
                  <a:ext uri="{FF2B5EF4-FFF2-40B4-BE49-F238E27FC236}">
                    <a16:creationId xmlns:a16="http://schemas.microsoft.com/office/drawing/2014/main" id="{9593D7B1-4CBF-4AC1-9453-5BF3EF60D0E3}"/>
                  </a:ext>
                </a:extLst>
              </p:cNvPr>
              <p:cNvSpPr/>
              <p:nvPr/>
            </p:nvSpPr>
            <p:spPr>
              <a:xfrm>
                <a:off x="3815339" y="2713327"/>
                <a:ext cx="974659" cy="72196"/>
              </a:xfrm>
              <a:prstGeom prst="roundRect">
                <a:avLst/>
              </a:prstGeom>
              <a:solidFill>
                <a:srgbClr val="C8C8C8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69715F48-3D10-4E60-8F8C-925C4A453D18}"/>
                </a:ext>
              </a:extLst>
            </p:cNvPr>
            <p:cNvGrpSpPr/>
            <p:nvPr/>
          </p:nvGrpSpPr>
          <p:grpSpPr>
            <a:xfrm>
              <a:off x="4054668" y="1885833"/>
              <a:ext cx="1202345" cy="667559"/>
              <a:chOff x="5106141" y="1988840"/>
              <a:chExt cx="974659" cy="796682"/>
            </a:xfrm>
          </p:grpSpPr>
          <p:sp>
            <p:nvSpPr>
              <p:cNvPr id="115" name="사각형: 둥근 모서리 114">
                <a:extLst>
                  <a:ext uri="{FF2B5EF4-FFF2-40B4-BE49-F238E27FC236}">
                    <a16:creationId xmlns:a16="http://schemas.microsoft.com/office/drawing/2014/main" id="{7C5E9CA4-4AB4-47C3-82C4-B76FB4054957}"/>
                  </a:ext>
                </a:extLst>
              </p:cNvPr>
              <p:cNvSpPr/>
              <p:nvPr/>
            </p:nvSpPr>
            <p:spPr>
              <a:xfrm>
                <a:off x="5106141" y="2207163"/>
                <a:ext cx="974659" cy="453150"/>
              </a:xfrm>
              <a:prstGeom prst="roundRect">
                <a:avLst>
                  <a:gd name="adj" fmla="val 58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193C8CCD-CDCA-4045-BAEC-73B52505149F}"/>
                  </a:ext>
                </a:extLst>
              </p:cNvPr>
              <p:cNvSpPr/>
              <p:nvPr/>
            </p:nvSpPr>
            <p:spPr>
              <a:xfrm>
                <a:off x="5123754" y="2335653"/>
                <a:ext cx="938438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과제 이행</a:t>
                </a:r>
              </a:p>
            </p:txBody>
          </p:sp>
          <p:sp>
            <p:nvSpPr>
              <p:cNvPr id="117" name="사각형: 둥근 모서리 116">
                <a:extLst>
                  <a:ext uri="{FF2B5EF4-FFF2-40B4-BE49-F238E27FC236}">
                    <a16:creationId xmlns:a16="http://schemas.microsoft.com/office/drawing/2014/main" id="{8B849566-95B2-473C-9212-3C3BD94DFCE7}"/>
                  </a:ext>
                </a:extLst>
              </p:cNvPr>
              <p:cNvSpPr/>
              <p:nvPr/>
            </p:nvSpPr>
            <p:spPr>
              <a:xfrm>
                <a:off x="5106141" y="1988840"/>
                <a:ext cx="974659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3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8" name="사각형: 둥근 모서리 117">
                <a:extLst>
                  <a:ext uri="{FF2B5EF4-FFF2-40B4-BE49-F238E27FC236}">
                    <a16:creationId xmlns:a16="http://schemas.microsoft.com/office/drawing/2014/main" id="{8CFCC7CD-E5AB-4187-9D9F-B6540B6A4631}"/>
                  </a:ext>
                </a:extLst>
              </p:cNvPr>
              <p:cNvSpPr/>
              <p:nvPr/>
            </p:nvSpPr>
            <p:spPr>
              <a:xfrm>
                <a:off x="5106141" y="2713326"/>
                <a:ext cx="974659" cy="72196"/>
              </a:xfrm>
              <a:prstGeom prst="roundRect">
                <a:avLst/>
              </a:prstGeom>
              <a:solidFill>
                <a:srgbClr val="7D7D7D">
                  <a:alpha val="36000"/>
                </a:srgb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5C1D6A51-7E4A-4C0E-B6C5-28AC58D32349}"/>
                </a:ext>
              </a:extLst>
            </p:cNvPr>
            <p:cNvGrpSpPr/>
            <p:nvPr/>
          </p:nvGrpSpPr>
          <p:grpSpPr>
            <a:xfrm>
              <a:off x="5374974" y="1885833"/>
              <a:ext cx="1317739" cy="667559"/>
              <a:chOff x="6347982" y="1988840"/>
              <a:chExt cx="1068201" cy="796682"/>
            </a:xfrm>
          </p:grpSpPr>
          <p:sp>
            <p:nvSpPr>
              <p:cNvPr id="111" name="사각형: 둥근 모서리 110">
                <a:extLst>
                  <a:ext uri="{FF2B5EF4-FFF2-40B4-BE49-F238E27FC236}">
                    <a16:creationId xmlns:a16="http://schemas.microsoft.com/office/drawing/2014/main" id="{60C0F53C-054A-4AF2-AD11-39927261DF4D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619A8F72-DEC1-4AB0-B0AF-EBA03076BAFF}"/>
                  </a:ext>
                </a:extLst>
              </p:cNvPr>
              <p:cNvSpPr/>
              <p:nvPr/>
            </p:nvSpPr>
            <p:spPr>
              <a:xfrm>
                <a:off x="6347982" y="2335653"/>
                <a:ext cx="1068201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ESG </a:t>
                </a:r>
                <a:r>
                  <a:rPr lang="ko-KR" altLang="en-US" sz="10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highlight>
                      <a:srgbClr val="FFFF00"/>
                    </a:highlight>
                    <a:latin typeface="+mn-ea"/>
                    <a:cs typeface="Arial"/>
                  </a:rPr>
                  <a:t>공시∙인증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endParaRPr>
              </a:p>
            </p:txBody>
          </p:sp>
          <p:sp>
            <p:nvSpPr>
              <p:cNvPr id="113" name="사각형: 둥근 모서리 112">
                <a:extLst>
                  <a:ext uri="{FF2B5EF4-FFF2-40B4-BE49-F238E27FC236}">
                    <a16:creationId xmlns:a16="http://schemas.microsoft.com/office/drawing/2014/main" id="{71360B1B-9E09-4D38-9B99-02E7A760A93D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4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4" name="사각형: 둥근 모서리 113">
                <a:extLst>
                  <a:ext uri="{FF2B5EF4-FFF2-40B4-BE49-F238E27FC236}">
                    <a16:creationId xmlns:a16="http://schemas.microsoft.com/office/drawing/2014/main" id="{3178121F-F805-479F-8487-8BA64CA8CB6D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4C780AE1-8951-4E78-8707-1C4FC308A6B1}"/>
                </a:ext>
              </a:extLst>
            </p:cNvPr>
            <p:cNvGrpSpPr/>
            <p:nvPr/>
          </p:nvGrpSpPr>
          <p:grpSpPr>
            <a:xfrm>
              <a:off x="1112775" y="1885833"/>
              <a:ext cx="1382825" cy="667559"/>
              <a:chOff x="6322650" y="1988840"/>
              <a:chExt cx="1120962" cy="796682"/>
            </a:xfrm>
          </p:grpSpPr>
          <p:sp>
            <p:nvSpPr>
              <p:cNvPr id="107" name="사각형: 둥근 모서리 106">
                <a:extLst>
                  <a:ext uri="{FF2B5EF4-FFF2-40B4-BE49-F238E27FC236}">
                    <a16:creationId xmlns:a16="http://schemas.microsoft.com/office/drawing/2014/main" id="{79F0A54C-77C1-44A5-9361-17AF50AA0BBB}"/>
                  </a:ext>
                </a:extLst>
              </p:cNvPr>
              <p:cNvSpPr/>
              <p:nvPr/>
            </p:nvSpPr>
            <p:spPr>
              <a:xfrm>
                <a:off x="6396944" y="2207163"/>
                <a:ext cx="973664" cy="453150"/>
              </a:xfrm>
              <a:prstGeom prst="roundRect">
                <a:avLst>
                  <a:gd name="adj" fmla="val 804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latin typeface="+mn-ea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4901FCB1-34DC-41FD-B3E1-D387B48B0932}"/>
                  </a:ext>
                </a:extLst>
              </p:cNvPr>
              <p:cNvSpPr/>
              <p:nvPr/>
            </p:nvSpPr>
            <p:spPr>
              <a:xfrm>
                <a:off x="6322650" y="2335653"/>
                <a:ext cx="1120962" cy="1961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기업 정보 입력</a:t>
                </a:r>
              </a:p>
            </p:txBody>
          </p:sp>
          <p:sp>
            <p:nvSpPr>
              <p:cNvPr id="109" name="사각형: 둥근 모서리 108">
                <a:extLst>
                  <a:ext uri="{FF2B5EF4-FFF2-40B4-BE49-F238E27FC236}">
                    <a16:creationId xmlns:a16="http://schemas.microsoft.com/office/drawing/2014/main" id="{5D00DA3E-F343-48E4-9078-55E7DBEC5A70}"/>
                  </a:ext>
                </a:extLst>
              </p:cNvPr>
              <p:cNvSpPr/>
              <p:nvPr/>
            </p:nvSpPr>
            <p:spPr>
              <a:xfrm>
                <a:off x="6396944" y="1988840"/>
                <a:ext cx="973664" cy="196168"/>
              </a:xfrm>
              <a:prstGeom prst="roundRect">
                <a:avLst/>
              </a:prstGeom>
              <a:solidFill>
                <a:srgbClr val="7D7D7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1</a:t>
                </a:r>
                <a:r>
                  <a:rPr lang="ko-KR" altLang="en-US" sz="10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+mn-ea"/>
                    <a:cs typeface="Arial"/>
                  </a:rPr>
                  <a:t>단계</a:t>
                </a:r>
              </a:p>
            </p:txBody>
          </p:sp>
          <p:sp>
            <p:nvSpPr>
              <p:cNvPr id="110" name="사각형: 둥근 모서리 109">
                <a:extLst>
                  <a:ext uri="{FF2B5EF4-FFF2-40B4-BE49-F238E27FC236}">
                    <a16:creationId xmlns:a16="http://schemas.microsoft.com/office/drawing/2014/main" id="{F8D21080-B234-4BB9-9601-913B64DD5706}"/>
                  </a:ext>
                </a:extLst>
              </p:cNvPr>
              <p:cNvSpPr/>
              <p:nvPr/>
            </p:nvSpPr>
            <p:spPr>
              <a:xfrm>
                <a:off x="6396944" y="2713326"/>
                <a:ext cx="974659" cy="72196"/>
              </a:xfrm>
              <a:prstGeom prst="roundRect">
                <a:avLst/>
              </a:prstGeom>
              <a:solidFill>
                <a:srgbClr val="D0D0D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000" b="1" dirty="0">
                  <a:solidFill>
                    <a:schemeClr val="tx1"/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</p:grp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0098A72-54FE-49DC-BEA6-4B2B7AD47AC1}"/>
              </a:ext>
            </a:extLst>
          </p:cNvPr>
          <p:cNvSpPr/>
          <p:nvPr/>
        </p:nvSpPr>
        <p:spPr>
          <a:xfrm>
            <a:off x="911225" y="2997185"/>
            <a:ext cx="7489031" cy="2780914"/>
          </a:xfrm>
          <a:prstGeom prst="rect">
            <a:avLst/>
          </a:prstGeom>
          <a:solidFill>
            <a:srgbClr val="F2F2F2">
              <a:alpha val="50196"/>
            </a:srgb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DB2DB03D-3615-4D88-BA27-287EDAD82D41}"/>
              </a:ext>
            </a:extLst>
          </p:cNvPr>
          <p:cNvGrpSpPr/>
          <p:nvPr/>
        </p:nvGrpSpPr>
        <p:grpSpPr>
          <a:xfrm>
            <a:off x="1035416" y="3098545"/>
            <a:ext cx="7201648" cy="780140"/>
            <a:chOff x="1035416" y="3098545"/>
            <a:chExt cx="7201648" cy="780140"/>
          </a:xfrm>
        </p:grpSpPr>
        <p:grpSp>
          <p:nvGrpSpPr>
            <p:cNvPr id="125" name="그룹 124">
              <a:extLst>
                <a:ext uri="{FF2B5EF4-FFF2-40B4-BE49-F238E27FC236}">
                  <a16:creationId xmlns:a16="http://schemas.microsoft.com/office/drawing/2014/main" id="{99CD5ECF-6F9E-473E-AFFD-99699AE8D4E3}"/>
                </a:ext>
              </a:extLst>
            </p:cNvPr>
            <p:cNvGrpSpPr/>
            <p:nvPr/>
          </p:nvGrpSpPr>
          <p:grpSpPr>
            <a:xfrm>
              <a:off x="1095051" y="3098545"/>
              <a:ext cx="2415567" cy="191821"/>
              <a:chOff x="839416" y="2801113"/>
              <a:chExt cx="2415567" cy="191821"/>
            </a:xfrm>
          </p:grpSpPr>
          <p:sp>
            <p:nvSpPr>
              <p:cNvPr id="131" name="사각형: 둥근 모서리 130">
                <a:extLst>
                  <a:ext uri="{FF2B5EF4-FFF2-40B4-BE49-F238E27FC236}">
                    <a16:creationId xmlns:a16="http://schemas.microsoft.com/office/drawing/2014/main" id="{B7916CFC-9B63-487D-B51F-9CDDA88525AA}"/>
                  </a:ext>
                </a:extLst>
              </p:cNvPr>
              <p:cNvSpPr/>
              <p:nvPr/>
            </p:nvSpPr>
            <p:spPr>
              <a:xfrm>
                <a:off x="839417" y="2801113"/>
                <a:ext cx="2415566" cy="191821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공시 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· 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평가 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· 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인증 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&gt; ESG </a:t>
                </a: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  <a:cs typeface="Arial"/>
                  </a:rPr>
                  <a:t>공시</a:t>
                </a: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41EB0631-6EEC-47DC-9214-C51DB170432C}"/>
                  </a:ext>
                </a:extLst>
              </p:cNvPr>
              <p:cNvSpPr/>
              <p:nvPr/>
            </p:nvSpPr>
            <p:spPr>
              <a:xfrm>
                <a:off x="839416" y="2801113"/>
                <a:ext cx="45719" cy="19182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함초롬바탕" panose="02030604000101010101" pitchFamily="18" charset="-127"/>
                </a:endParaRPr>
              </a:p>
            </p:txBody>
          </p:sp>
        </p:grp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50C31124-B234-4681-B107-4FE19A942EC3}"/>
                </a:ext>
              </a:extLst>
            </p:cNvPr>
            <p:cNvGrpSpPr/>
            <p:nvPr/>
          </p:nvGrpSpPr>
          <p:grpSpPr>
            <a:xfrm>
              <a:off x="1035416" y="3284984"/>
              <a:ext cx="7201648" cy="593701"/>
              <a:chOff x="839417" y="3011956"/>
              <a:chExt cx="7201648" cy="593701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B3D52E0E-DE8B-464A-95AB-177E66C2D4AC}"/>
                  </a:ext>
                </a:extLst>
              </p:cNvPr>
              <p:cNvSpPr/>
              <p:nvPr/>
            </p:nvSpPr>
            <p:spPr>
              <a:xfrm>
                <a:off x="839417" y="3011956"/>
                <a:ext cx="7201648" cy="3938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</a:pPr>
                <a:r>
                  <a:rPr lang="en-US" altLang="ko-KR" sz="1400" b="1" dirty="0">
                    <a:solidFill>
                      <a:schemeClr val="bg1">
                        <a:lumMod val="50000"/>
                      </a:schemeClr>
                    </a:solidFill>
                    <a:latin typeface="+mn-ea"/>
                    <a:cs typeface="함초롬바탕" panose="02030604000101010101" pitchFamily="18" charset="-127"/>
                  </a:rPr>
                  <a:t>##.</a:t>
                </a:r>
                <a:r>
                  <a:rPr lang="en-US" altLang="ko-KR" sz="1000" b="1" dirty="0">
                    <a:solidFill>
                      <a:schemeClr val="tx1"/>
                    </a:solidFill>
                    <a:latin typeface="+mn-ea"/>
                    <a:cs typeface="함초롬바탕" panose="02030604000101010101" pitchFamily="18" charset="-127"/>
                  </a:rPr>
                  <a:t> </a:t>
                </a:r>
                <a:r>
                  <a:rPr lang="ko-KR" altLang="en-US" sz="1000" b="1" dirty="0">
                    <a:solidFill>
                      <a:schemeClr val="tx1"/>
                    </a:solidFill>
                    <a:latin typeface="+mn-ea"/>
                    <a:cs typeface="함초롬바탕" panose="02030604000101010101" pitchFamily="18" charset="-127"/>
                  </a:rPr>
                  <a:t>질의사항</a:t>
                </a:r>
                <a:endParaRPr lang="ko-KR" altLang="en-US" sz="10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endParaRPr>
              </a:p>
            </p:txBody>
          </p:sp>
          <p:grpSp>
            <p:nvGrpSpPr>
              <p:cNvPr id="128" name="그룹 127">
                <a:extLst>
                  <a:ext uri="{FF2B5EF4-FFF2-40B4-BE49-F238E27FC236}">
                    <a16:creationId xmlns:a16="http://schemas.microsoft.com/office/drawing/2014/main" id="{BF0A7A51-98A6-4966-A6B8-B42513759991}"/>
                  </a:ext>
                </a:extLst>
              </p:cNvPr>
              <p:cNvGrpSpPr/>
              <p:nvPr/>
            </p:nvGrpSpPr>
            <p:grpSpPr>
              <a:xfrm>
                <a:off x="3103885" y="3389434"/>
                <a:ext cx="2531435" cy="216223"/>
                <a:chOff x="3687774" y="3688751"/>
                <a:chExt cx="2531435" cy="216223"/>
              </a:xfrm>
            </p:grpSpPr>
            <p:sp>
              <p:nvSpPr>
                <p:cNvPr id="129" name="사각형: 둥근 모서리 128">
                  <a:extLst>
                    <a:ext uri="{FF2B5EF4-FFF2-40B4-BE49-F238E27FC236}">
                      <a16:creationId xmlns:a16="http://schemas.microsoft.com/office/drawing/2014/main" id="{F5E7AF17-D37B-4FD8-BA2A-ACF9B3B7E0A5}"/>
                    </a:ext>
                  </a:extLst>
                </p:cNvPr>
                <p:cNvSpPr/>
                <p:nvPr/>
              </p:nvSpPr>
              <p:spPr>
                <a:xfrm>
                  <a:off x="3687774" y="3688751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답변 </a:t>
                  </a:r>
                  <a:r>
                    <a:rPr lang="en-US" altLang="ko-KR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option 1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  <p:sp>
              <p:nvSpPr>
                <p:cNvPr id="130" name="사각형: 둥근 모서리 129">
                  <a:extLst>
                    <a:ext uri="{FF2B5EF4-FFF2-40B4-BE49-F238E27FC236}">
                      <a16:creationId xmlns:a16="http://schemas.microsoft.com/office/drawing/2014/main" id="{C2EBCE80-4757-4C5E-8FCE-8EF651F6E771}"/>
                    </a:ext>
                  </a:extLst>
                </p:cNvPr>
                <p:cNvSpPr/>
                <p:nvPr/>
              </p:nvSpPr>
              <p:spPr>
                <a:xfrm>
                  <a:off x="5139209" y="3688751"/>
                  <a:ext cx="1080000" cy="216223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답변 </a:t>
                  </a:r>
                  <a:r>
                    <a:rPr lang="en-US" altLang="ko-KR" sz="900" b="1" dirty="0">
                      <a:ln>
                        <a:solidFill>
                          <a:srgbClr val="C50017">
                            <a:alpha val="0"/>
                          </a:srgbClr>
                        </a:solidFill>
                      </a:ln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ea"/>
                      <a:cs typeface="Arial"/>
                    </a:rPr>
                    <a:t>option 2 …</a:t>
                  </a:r>
                  <a:endPara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ea"/>
                    <a:cs typeface="Arial"/>
                  </a:endParaRPr>
                </a:p>
              </p:txBody>
            </p:sp>
          </p:grpSp>
        </p:grpSp>
      </p:grp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36D74E15-2921-4754-AA9F-C216BE45E244}"/>
              </a:ext>
            </a:extLst>
          </p:cNvPr>
          <p:cNvSpPr/>
          <p:nvPr/>
        </p:nvSpPr>
        <p:spPr>
          <a:xfrm>
            <a:off x="7603793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▶</a:t>
            </a: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4C007FAB-5433-477C-BB71-797363C11427}"/>
              </a:ext>
            </a:extLst>
          </p:cNvPr>
          <p:cNvSpPr/>
          <p:nvPr/>
        </p:nvSpPr>
        <p:spPr>
          <a:xfrm>
            <a:off x="999566" y="5862677"/>
            <a:ext cx="804059" cy="2584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◀ 이전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FC0BF9FA-061B-4BE8-A0A5-35DA7D94ACAC}"/>
              </a:ext>
            </a:extLst>
          </p:cNvPr>
          <p:cNvGrpSpPr/>
          <p:nvPr/>
        </p:nvGrpSpPr>
        <p:grpSpPr>
          <a:xfrm>
            <a:off x="8272333" y="3000146"/>
            <a:ext cx="131967" cy="2777953"/>
            <a:chOff x="9201470" y="1601344"/>
            <a:chExt cx="188140" cy="4198758"/>
          </a:xfrm>
        </p:grpSpPr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F1CC6FA3-D7B8-44A2-8719-A1D04431FC47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37" name="그룹 136">
              <a:extLst>
                <a:ext uri="{FF2B5EF4-FFF2-40B4-BE49-F238E27FC236}">
                  <a16:creationId xmlns:a16="http://schemas.microsoft.com/office/drawing/2014/main" id="{DE212E23-308A-4BFF-A984-4D26BBF7CBB5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58E0FF06-9AF8-440C-B382-170520C34114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523C3312-0F4C-4799-B470-CB3EBF303380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8862E675-A62E-4733-91EC-F05F2FBFD22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41" name="사각형: 둥근 모서리 140">
            <a:extLst>
              <a:ext uri="{FF2B5EF4-FFF2-40B4-BE49-F238E27FC236}">
                <a16:creationId xmlns:a16="http://schemas.microsoft.com/office/drawing/2014/main" id="{017DFA90-2C1F-4149-B54E-4A97557268D1}"/>
              </a:ext>
            </a:extLst>
          </p:cNvPr>
          <p:cNvSpPr/>
          <p:nvPr/>
        </p:nvSpPr>
        <p:spPr>
          <a:xfrm>
            <a:off x="6167062" y="21504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사각형: 둥근 모서리 141">
            <a:extLst>
              <a:ext uri="{FF2B5EF4-FFF2-40B4-BE49-F238E27FC236}">
                <a16:creationId xmlns:a16="http://schemas.microsoft.com/office/drawing/2014/main" id="{E805BC82-5089-4BED-AD2F-292CB4AAEE91}"/>
              </a:ext>
            </a:extLst>
          </p:cNvPr>
          <p:cNvSpPr/>
          <p:nvPr/>
        </p:nvSpPr>
        <p:spPr>
          <a:xfrm>
            <a:off x="7536160" y="58409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43" name="표 10">
            <a:extLst>
              <a:ext uri="{FF2B5EF4-FFF2-40B4-BE49-F238E27FC236}">
                <a16:creationId xmlns:a16="http://schemas.microsoft.com/office/drawing/2014/main" id="{CCB98A7B-8395-4E4D-8E3D-AAE019D61AD8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602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∙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박스가 진한색으로 표시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‘임시 응답 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B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해당 탭에서 응답된 문항에 대한 응답 결과를 저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의 질문이 빨간색으로 변경되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팝업이 생성됨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응답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문항이 있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화면의 응답을 모두 완료하여 주시기 바랍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)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문항에 응답 완료 후 버튼 클릭 시 시스템 팝업 생성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응답을 완료하셨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응답하신 내용을 바탕으로 진단 결과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하시겠습니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?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팝업창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00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응답한 결과를 로직에 따라 처리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 완료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3 - 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 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직은 질의문항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3B806547-2839-4CA0-994F-159F949D4CE1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2 - 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경영 자가진단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(2/6)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화면과 구성 동일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진단 문항 초안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</a:t>
            </a:r>
            <a:r>
              <a:rPr lang="ko-KR" altLang="en-US" sz="1100" b="1" dirty="0" err="1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로직구성안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수정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3_230825’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endParaRPr lang="en-US" altLang="ko-KR" sz="1100" b="1" dirty="0">
              <a:solidFill>
                <a:schemeClr val="tx1"/>
              </a:solidFill>
              <a:highlight>
                <a:srgbClr val="FFFF00"/>
              </a:highlight>
              <a:latin typeface="+mn-ea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AFCF3204-9B8E-4638-A571-DACED7423408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통일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∙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‘ESG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공시∙인증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상세문항은 ‘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진단 문항 초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직구성안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_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_230825’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엑셀 파일 참고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14DB7C6-1245-48D8-8679-B987BDF1024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82795970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10E82A3C-390A-4818-BFCF-F4AC1947CEAF}"/>
              </a:ext>
            </a:extLst>
          </p:cNvPr>
          <p:cNvSpPr/>
          <p:nvPr/>
        </p:nvSpPr>
        <p:spPr>
          <a:xfrm>
            <a:off x="479425" y="1947121"/>
            <a:ext cx="8353424" cy="451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자가진단 결과</a:t>
            </a:r>
            <a:r>
              <a:rPr lang="en-US" altLang="ko-KR" sz="1000" dirty="0">
                <a:solidFill>
                  <a:schemeClr val="tx1"/>
                </a:solidFill>
              </a:rPr>
              <a:t>,</a:t>
            </a:r>
            <a:r>
              <a:rPr lang="ko-KR" altLang="en-US" sz="1000" dirty="0">
                <a:solidFill>
                  <a:schemeClr val="tx1"/>
                </a:solidFill>
              </a:rPr>
              <a:t> 귀사의 </a:t>
            </a:r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활동 준비도는 전체 </a:t>
            </a:r>
            <a:r>
              <a:rPr lang="en-US" altLang="ko-KR" sz="1000" dirty="0">
                <a:solidFill>
                  <a:schemeClr val="tx1"/>
                </a:solidFill>
              </a:rPr>
              <a:t>5</a:t>
            </a:r>
            <a:r>
              <a:rPr lang="ko-KR" altLang="en-US" sz="1000" dirty="0">
                <a:solidFill>
                  <a:schemeClr val="tx1"/>
                </a:solidFill>
              </a:rPr>
              <a:t>점 중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전략 계획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3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과제 이행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4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</a:t>
            </a:r>
            <a:r>
              <a:rPr lang="ko-KR" altLang="en-US" sz="1100" b="1" dirty="0">
                <a:solidFill>
                  <a:schemeClr val="tx1"/>
                </a:solidFill>
              </a:rPr>
              <a:t>공시 ∙ 인증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1.5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ko-KR" altLang="en-US" sz="1000" dirty="0">
                <a:solidFill>
                  <a:schemeClr val="tx1"/>
                </a:solidFill>
              </a:rPr>
              <a:t>입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r>
              <a:rPr lang="ko-KR" altLang="en-US" sz="1000" dirty="0">
                <a:solidFill>
                  <a:schemeClr val="tx1"/>
                </a:solidFill>
              </a:rPr>
              <a:t>추가적으로 고려해야 할 경영활동</a:t>
            </a:r>
            <a:r>
              <a:rPr lang="en-US" altLang="ko-KR" sz="1000" dirty="0">
                <a:solidFill>
                  <a:schemeClr val="tx1"/>
                </a:solidFill>
              </a:rPr>
              <a:t>(       )</a:t>
            </a:r>
            <a:r>
              <a:rPr lang="ko-KR" altLang="en-US" sz="1000" dirty="0">
                <a:solidFill>
                  <a:schemeClr val="tx1"/>
                </a:solidFill>
              </a:rPr>
              <a:t>을 확인하시고</a:t>
            </a:r>
            <a:r>
              <a:rPr lang="en-US" altLang="ko-KR" sz="1000" dirty="0">
                <a:solidFill>
                  <a:schemeClr val="tx1"/>
                </a:solidFill>
              </a:rPr>
              <a:t>,       </a:t>
            </a:r>
            <a:r>
              <a:rPr lang="ko-KR" altLang="en-US" sz="1000" dirty="0">
                <a:solidFill>
                  <a:schemeClr val="tx1"/>
                </a:solidFill>
              </a:rPr>
              <a:t>버튼을 클릭하여 해당 활동에 대한 세부 경영 가이드를 확인하시기 바랍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∙ 평가 및 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단위별로 사전에 설정된 로직에 따라 산정된 점수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정된 점수에 해당하는 위치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킹하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점수를 시각적으로 보여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동일 활동분류에 대한 경영가이드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수립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~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결과 미수행 활동은 경고 아이콘과 함께 붉은색 텍스트로 표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직은 질의항목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일 및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간이 표시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9072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4" name="화살표: 오각형 93">
            <a:extLst>
              <a:ext uri="{FF2B5EF4-FFF2-40B4-BE49-F238E27FC236}">
                <a16:creationId xmlns:a16="http://schemas.microsoft.com/office/drawing/2014/main" id="{389C4E8F-3087-4CAB-8AB0-6B2088328DA9}"/>
              </a:ext>
            </a:extLst>
          </p:cNvPr>
          <p:cNvSpPr/>
          <p:nvPr/>
        </p:nvSpPr>
        <p:spPr>
          <a:xfrm>
            <a:off x="481805" y="2712157"/>
            <a:ext cx="2700000" cy="241685"/>
          </a:xfrm>
          <a:prstGeom prst="homePlate">
            <a:avLst>
              <a:gd name="adj" fmla="val 32301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</a:p>
        </p:txBody>
      </p:sp>
      <p:sp>
        <p:nvSpPr>
          <p:cNvPr id="100" name="화살표: 오각형 99">
            <a:extLst>
              <a:ext uri="{FF2B5EF4-FFF2-40B4-BE49-F238E27FC236}">
                <a16:creationId xmlns:a16="http://schemas.microsoft.com/office/drawing/2014/main" id="{A4FD988F-FE7C-4D2A-BAC4-86466122025E}"/>
              </a:ext>
            </a:extLst>
          </p:cNvPr>
          <p:cNvSpPr/>
          <p:nvPr/>
        </p:nvSpPr>
        <p:spPr>
          <a:xfrm>
            <a:off x="3275076" y="2712157"/>
            <a:ext cx="2700000" cy="241685"/>
          </a:xfrm>
          <a:prstGeom prst="homePlate">
            <a:avLst>
              <a:gd name="adj" fmla="val 2851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 이행</a:t>
            </a:r>
          </a:p>
        </p:txBody>
      </p:sp>
      <p:sp>
        <p:nvSpPr>
          <p:cNvPr id="101" name="화살표: 오각형 100">
            <a:extLst>
              <a:ext uri="{FF2B5EF4-FFF2-40B4-BE49-F238E27FC236}">
                <a16:creationId xmlns:a16="http://schemas.microsoft.com/office/drawing/2014/main" id="{D85A3FF2-AC91-4495-8314-FFB8B2B2642C}"/>
              </a:ext>
            </a:extLst>
          </p:cNvPr>
          <p:cNvSpPr/>
          <p:nvPr/>
        </p:nvSpPr>
        <p:spPr>
          <a:xfrm>
            <a:off x="6068348" y="2712157"/>
            <a:ext cx="2700000" cy="241685"/>
          </a:xfrm>
          <a:prstGeom prst="homePlate">
            <a:avLst>
              <a:gd name="adj" fmla="val 35315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30575515-7CA0-4341-A761-272282523FBA}"/>
              </a:ext>
            </a:extLst>
          </p:cNvPr>
          <p:cNvGrpSpPr/>
          <p:nvPr/>
        </p:nvGrpSpPr>
        <p:grpSpPr>
          <a:xfrm>
            <a:off x="479426" y="3002305"/>
            <a:ext cx="2620800" cy="241685"/>
            <a:chOff x="989931" y="2700337"/>
            <a:chExt cx="2485918" cy="241685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09408143-C2F2-4783-9D92-F10A816229B9}"/>
                </a:ext>
              </a:extLst>
            </p:cNvPr>
            <p:cNvSpPr/>
            <p:nvPr/>
          </p:nvSpPr>
          <p:spPr>
            <a:xfrm>
              <a:off x="989931" y="2700337"/>
              <a:ext cx="2485918" cy="24168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endParaRPr>
            </a:p>
          </p:txBody>
        </p:sp>
        <p:cxnSp>
          <p:nvCxnSpPr>
            <p:cNvPr id="155" name="직선 연결선 154">
              <a:extLst>
                <a:ext uri="{FF2B5EF4-FFF2-40B4-BE49-F238E27FC236}">
                  <a16:creationId xmlns:a16="http://schemas.microsoft.com/office/drawing/2014/main" id="{6D3D1E40-C472-4155-95B1-FDFD4D1AB4D0}"/>
                </a:ext>
              </a:extLst>
            </p:cNvPr>
            <p:cNvCxnSpPr>
              <a:cxnSpLocks/>
              <a:stCxn id="156" idx="6"/>
              <a:endCxn id="157" idx="2"/>
            </p:cNvCxnSpPr>
            <p:nvPr/>
          </p:nvCxnSpPr>
          <p:spPr>
            <a:xfrm>
              <a:off x="1180378" y="2821179"/>
              <a:ext cx="2097637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6" name="타원 155">
              <a:extLst>
                <a:ext uri="{FF2B5EF4-FFF2-40B4-BE49-F238E27FC236}">
                  <a16:creationId xmlns:a16="http://schemas.microsoft.com/office/drawing/2014/main" id="{C3CE502C-F3FE-4700-A8C8-B4E641311BC7}"/>
                </a:ext>
              </a:extLst>
            </p:cNvPr>
            <p:cNvSpPr/>
            <p:nvPr/>
          </p:nvSpPr>
          <p:spPr>
            <a:xfrm>
              <a:off x="104378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1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157" name="타원 156">
              <a:extLst>
                <a:ext uri="{FF2B5EF4-FFF2-40B4-BE49-F238E27FC236}">
                  <a16:creationId xmlns:a16="http://schemas.microsoft.com/office/drawing/2014/main" id="{B5E0C954-BE55-4CBC-81EF-FC195492343C}"/>
                </a:ext>
              </a:extLst>
            </p:cNvPr>
            <p:cNvSpPr/>
            <p:nvPr/>
          </p:nvSpPr>
          <p:spPr>
            <a:xfrm>
              <a:off x="327801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5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158" name="타원 157">
              <a:extLst>
                <a:ext uri="{FF2B5EF4-FFF2-40B4-BE49-F238E27FC236}">
                  <a16:creationId xmlns:a16="http://schemas.microsoft.com/office/drawing/2014/main" id="{70F1D2D9-D1C1-4B11-BBC5-483602AA0D64}"/>
                </a:ext>
              </a:extLst>
            </p:cNvPr>
            <p:cNvSpPr/>
            <p:nvPr/>
          </p:nvSpPr>
          <p:spPr>
            <a:xfrm>
              <a:off x="160234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2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625FEE40-F370-4793-A760-5DB3BF74B5A4}"/>
                </a:ext>
              </a:extLst>
            </p:cNvPr>
            <p:cNvSpPr/>
            <p:nvPr/>
          </p:nvSpPr>
          <p:spPr>
            <a:xfrm>
              <a:off x="271945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4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160" name="타원 159">
              <a:extLst>
                <a:ext uri="{FF2B5EF4-FFF2-40B4-BE49-F238E27FC236}">
                  <a16:creationId xmlns:a16="http://schemas.microsoft.com/office/drawing/2014/main" id="{1B498EB2-E78C-42CA-8A8E-B8F89F8608EA}"/>
                </a:ext>
              </a:extLst>
            </p:cNvPr>
            <p:cNvSpPr/>
            <p:nvPr/>
          </p:nvSpPr>
          <p:spPr>
            <a:xfrm>
              <a:off x="2160902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3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</p:grpSp>
      <p:graphicFrame>
        <p:nvGraphicFramePr>
          <p:cNvPr id="2" name="표 3">
            <a:extLst>
              <a:ext uri="{FF2B5EF4-FFF2-40B4-BE49-F238E27FC236}">
                <a16:creationId xmlns:a16="http://schemas.microsoft.com/office/drawing/2014/main" id="{37B7EAC2-1950-45AB-8568-32DDB4D329F1}"/>
              </a:ext>
            </a:extLst>
          </p:cNvPr>
          <p:cNvGraphicFramePr>
            <a:graphicFrameLocks noGrp="1"/>
          </p:cNvGraphicFramePr>
          <p:nvPr/>
        </p:nvGraphicFramePr>
        <p:xfrm>
          <a:off x="470968" y="3326446"/>
          <a:ext cx="2619940" cy="230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04">
                  <a:extLst>
                    <a:ext uri="{9D8B030D-6E8A-4147-A177-3AD203B41FA5}">
                      <a16:colId xmlns:a16="http://schemas.microsoft.com/office/drawing/2014/main" val="2228731743"/>
                    </a:ext>
                  </a:extLst>
                </a:gridCol>
                <a:gridCol w="2414436">
                  <a:extLst>
                    <a:ext uri="{9D8B030D-6E8A-4147-A177-3AD203B41FA5}">
                      <a16:colId xmlns:a16="http://schemas.microsoft.com/office/drawing/2014/main" val="40192240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전략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09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사 비전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0777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중장기 목표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0812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실행과제 및 계획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318967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체계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0440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의사결정체계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839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영관리체계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194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영역별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KPI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정의 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23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영역별 </a:t>
                      </a:r>
                      <a:r>
                        <a:rPr lang="ko-KR" altLang="en-US" sz="900" b="1" dirty="0" err="1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규정∙지침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작성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1234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리스크</a:t>
                      </a:r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관리체계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113592"/>
                  </a:ext>
                </a:extLst>
              </a:tr>
            </a:tbl>
          </a:graphicData>
        </a:graphic>
      </p:graphicFrame>
      <p:pic>
        <p:nvPicPr>
          <p:cNvPr id="93" name="Picture 8" descr="외부 링크 ">
            <a:extLst>
              <a:ext uri="{FF2B5EF4-FFF2-40B4-BE49-F238E27FC236}">
                <a16:creationId xmlns:a16="http://schemas.microsoft.com/office/drawing/2014/main" id="{4239F072-4528-443D-BA76-5BA900B979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453" y="3371852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8" descr="외부 링크 ">
            <a:extLst>
              <a:ext uri="{FF2B5EF4-FFF2-40B4-BE49-F238E27FC236}">
                <a16:creationId xmlns:a16="http://schemas.microsoft.com/office/drawing/2014/main" id="{11911F0A-6FAA-4125-881B-3B6C3D8BEA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453" y="4308491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6" name="표 3">
            <a:extLst>
              <a:ext uri="{FF2B5EF4-FFF2-40B4-BE49-F238E27FC236}">
                <a16:creationId xmlns:a16="http://schemas.microsoft.com/office/drawing/2014/main" id="{5D2B6513-9FA9-49B5-B14C-7A703C75BDFA}"/>
              </a:ext>
            </a:extLst>
          </p:cNvPr>
          <p:cNvGraphicFramePr>
            <a:graphicFrameLocks noGrp="1"/>
          </p:cNvGraphicFramePr>
          <p:nvPr/>
        </p:nvGraphicFramePr>
        <p:xfrm>
          <a:off x="3275076" y="3317831"/>
          <a:ext cx="2619940" cy="323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03">
                  <a:extLst>
                    <a:ext uri="{9D8B030D-6E8A-4147-A177-3AD203B41FA5}">
                      <a16:colId xmlns:a16="http://schemas.microsoft.com/office/drawing/2014/main" val="2228731743"/>
                    </a:ext>
                  </a:extLst>
                </a:gridCol>
                <a:gridCol w="2414437">
                  <a:extLst>
                    <a:ext uri="{9D8B030D-6E8A-4147-A177-3AD203B41FA5}">
                      <a16:colId xmlns:a16="http://schemas.microsoft.com/office/drawing/2014/main" val="40192240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과제 이행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759009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온실가스 배출량 측정 및 개선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0777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친환경 </a:t>
                      </a:r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품∙서비스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개발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0812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생물다양성 보전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318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에너지 및 자원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295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폐기물 및 오염물질 처리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775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276102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과제 이행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0440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급망 </a:t>
                      </a:r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839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인권 이슈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194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인적자본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140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지역사회 공헌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29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비자 보호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23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123468"/>
                  </a:ext>
                </a:extLst>
              </a:tr>
            </a:tbl>
          </a:graphicData>
        </a:graphic>
      </p:graphicFrame>
      <p:pic>
        <p:nvPicPr>
          <p:cNvPr id="97" name="Picture 8" descr="외부 링크 ">
            <a:extLst>
              <a:ext uri="{FF2B5EF4-FFF2-40B4-BE49-F238E27FC236}">
                <a16:creationId xmlns:a16="http://schemas.microsoft.com/office/drawing/2014/main" id="{D9528310-32ED-4EAC-9D7C-29148C76E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946" y="3371852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외부 링크 ">
            <a:extLst>
              <a:ext uri="{FF2B5EF4-FFF2-40B4-BE49-F238E27FC236}">
                <a16:creationId xmlns:a16="http://schemas.microsoft.com/office/drawing/2014/main" id="{3DEDB634-8EE6-4A30-8D83-771F6483F4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946" y="475575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2" name="표 3">
            <a:extLst>
              <a:ext uri="{FF2B5EF4-FFF2-40B4-BE49-F238E27FC236}">
                <a16:creationId xmlns:a16="http://schemas.microsoft.com/office/drawing/2014/main" id="{39576EF5-B8A9-49E6-A479-3123C4644FB2}"/>
              </a:ext>
            </a:extLst>
          </p:cNvPr>
          <p:cNvGraphicFramePr>
            <a:graphicFrameLocks noGrp="1"/>
          </p:cNvGraphicFramePr>
          <p:nvPr/>
        </p:nvGraphicFramePr>
        <p:xfrm>
          <a:off x="6068348" y="3326446"/>
          <a:ext cx="2619940" cy="160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03">
                  <a:extLst>
                    <a:ext uri="{9D8B030D-6E8A-4147-A177-3AD203B41FA5}">
                      <a16:colId xmlns:a16="http://schemas.microsoft.com/office/drawing/2014/main" val="2228731743"/>
                    </a:ext>
                  </a:extLst>
                </a:gridCol>
                <a:gridCol w="2414437">
                  <a:extLst>
                    <a:ext uri="{9D8B030D-6E8A-4147-A177-3AD203B41FA5}">
                      <a16:colId xmlns:a16="http://schemas.microsoft.com/office/drawing/2014/main" val="40192240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시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90090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공시 보고서 작성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077762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0440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평가기관 등급 관리 및 개선활동 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839455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068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제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자 인증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4246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채권 외부 기관 검증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694131"/>
                  </a:ext>
                </a:extLst>
              </a:tr>
            </a:tbl>
          </a:graphicData>
        </a:graphic>
      </p:graphicFrame>
      <p:grpSp>
        <p:nvGrpSpPr>
          <p:cNvPr id="69" name="그룹 68">
            <a:extLst>
              <a:ext uri="{FF2B5EF4-FFF2-40B4-BE49-F238E27FC236}">
                <a16:creationId xmlns:a16="http://schemas.microsoft.com/office/drawing/2014/main" id="{CB5062DC-B74A-460B-9562-BD0CDD9F544B}"/>
              </a:ext>
            </a:extLst>
          </p:cNvPr>
          <p:cNvGrpSpPr/>
          <p:nvPr/>
        </p:nvGrpSpPr>
        <p:grpSpPr>
          <a:xfrm>
            <a:off x="3275076" y="3002305"/>
            <a:ext cx="2620800" cy="241685"/>
            <a:chOff x="989931" y="2700337"/>
            <a:chExt cx="2485918" cy="241685"/>
          </a:xfrm>
        </p:grpSpPr>
        <p:sp>
          <p:nvSpPr>
            <p:cNvPr id="73" name="사각형: 둥근 모서리 72">
              <a:extLst>
                <a:ext uri="{FF2B5EF4-FFF2-40B4-BE49-F238E27FC236}">
                  <a16:creationId xmlns:a16="http://schemas.microsoft.com/office/drawing/2014/main" id="{0792A675-ABBA-47E6-BAF2-9F4EB994A06A}"/>
                </a:ext>
              </a:extLst>
            </p:cNvPr>
            <p:cNvSpPr/>
            <p:nvPr/>
          </p:nvSpPr>
          <p:spPr>
            <a:xfrm>
              <a:off x="989931" y="2700337"/>
              <a:ext cx="2485918" cy="24168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endParaRPr>
            </a:p>
          </p:txBody>
        </p:sp>
        <p:cxnSp>
          <p:nvCxnSpPr>
            <p:cNvPr id="75" name="직선 연결선 74">
              <a:extLst>
                <a:ext uri="{FF2B5EF4-FFF2-40B4-BE49-F238E27FC236}">
                  <a16:creationId xmlns:a16="http://schemas.microsoft.com/office/drawing/2014/main" id="{7BE5D115-A36C-4085-9648-7C90230D631B}"/>
                </a:ext>
              </a:extLst>
            </p:cNvPr>
            <p:cNvCxnSpPr>
              <a:cxnSpLocks/>
              <a:stCxn id="76" idx="6"/>
              <a:endCxn id="77" idx="2"/>
            </p:cNvCxnSpPr>
            <p:nvPr/>
          </p:nvCxnSpPr>
          <p:spPr>
            <a:xfrm>
              <a:off x="1180378" y="2821179"/>
              <a:ext cx="2097637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6" name="타원 75">
              <a:extLst>
                <a:ext uri="{FF2B5EF4-FFF2-40B4-BE49-F238E27FC236}">
                  <a16:creationId xmlns:a16="http://schemas.microsoft.com/office/drawing/2014/main" id="{918A7E95-8FFD-49DF-BB3F-EB8890685E81}"/>
                </a:ext>
              </a:extLst>
            </p:cNvPr>
            <p:cNvSpPr/>
            <p:nvPr/>
          </p:nvSpPr>
          <p:spPr>
            <a:xfrm>
              <a:off x="104378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1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77" name="타원 76">
              <a:extLst>
                <a:ext uri="{FF2B5EF4-FFF2-40B4-BE49-F238E27FC236}">
                  <a16:creationId xmlns:a16="http://schemas.microsoft.com/office/drawing/2014/main" id="{0C91A82D-B4D4-4531-9267-A39079709E9D}"/>
                </a:ext>
              </a:extLst>
            </p:cNvPr>
            <p:cNvSpPr/>
            <p:nvPr/>
          </p:nvSpPr>
          <p:spPr>
            <a:xfrm>
              <a:off x="327801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5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79" name="타원 78">
              <a:extLst>
                <a:ext uri="{FF2B5EF4-FFF2-40B4-BE49-F238E27FC236}">
                  <a16:creationId xmlns:a16="http://schemas.microsoft.com/office/drawing/2014/main" id="{9DC2E63B-B71F-483B-865A-2FD2C9E4417B}"/>
                </a:ext>
              </a:extLst>
            </p:cNvPr>
            <p:cNvSpPr/>
            <p:nvPr/>
          </p:nvSpPr>
          <p:spPr>
            <a:xfrm>
              <a:off x="160234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2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0" name="타원 79">
              <a:extLst>
                <a:ext uri="{FF2B5EF4-FFF2-40B4-BE49-F238E27FC236}">
                  <a16:creationId xmlns:a16="http://schemas.microsoft.com/office/drawing/2014/main" id="{1C7704E4-2767-4EE7-89FF-3A1FC08EA4F9}"/>
                </a:ext>
              </a:extLst>
            </p:cNvPr>
            <p:cNvSpPr/>
            <p:nvPr/>
          </p:nvSpPr>
          <p:spPr>
            <a:xfrm>
              <a:off x="271945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4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1" name="타원 80">
              <a:extLst>
                <a:ext uri="{FF2B5EF4-FFF2-40B4-BE49-F238E27FC236}">
                  <a16:creationId xmlns:a16="http://schemas.microsoft.com/office/drawing/2014/main" id="{692494E5-EF4E-4FBE-90EE-5D94DF871723}"/>
                </a:ext>
              </a:extLst>
            </p:cNvPr>
            <p:cNvSpPr/>
            <p:nvPr/>
          </p:nvSpPr>
          <p:spPr>
            <a:xfrm>
              <a:off x="2160902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3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</p:grpSp>
      <p:grpSp>
        <p:nvGrpSpPr>
          <p:cNvPr id="82" name="그룹 81">
            <a:extLst>
              <a:ext uri="{FF2B5EF4-FFF2-40B4-BE49-F238E27FC236}">
                <a16:creationId xmlns:a16="http://schemas.microsoft.com/office/drawing/2014/main" id="{FFD318C7-6274-4569-83FE-65C91B54AC13}"/>
              </a:ext>
            </a:extLst>
          </p:cNvPr>
          <p:cNvGrpSpPr/>
          <p:nvPr/>
        </p:nvGrpSpPr>
        <p:grpSpPr>
          <a:xfrm>
            <a:off x="6068348" y="3002305"/>
            <a:ext cx="2620800" cy="241685"/>
            <a:chOff x="989931" y="2700337"/>
            <a:chExt cx="2485918" cy="241685"/>
          </a:xfrm>
        </p:grpSpPr>
        <p:sp>
          <p:nvSpPr>
            <p:cNvPr id="83" name="사각형: 둥근 모서리 82">
              <a:extLst>
                <a:ext uri="{FF2B5EF4-FFF2-40B4-BE49-F238E27FC236}">
                  <a16:creationId xmlns:a16="http://schemas.microsoft.com/office/drawing/2014/main" id="{C0F4EA2F-ACCC-4382-9701-9EDB9C9EEC1B}"/>
                </a:ext>
              </a:extLst>
            </p:cNvPr>
            <p:cNvSpPr/>
            <p:nvPr/>
          </p:nvSpPr>
          <p:spPr>
            <a:xfrm>
              <a:off x="989931" y="2700337"/>
              <a:ext cx="2485918" cy="24168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  <a:cs typeface="함초롬바탕" panose="02030604000101010101" pitchFamily="18" charset="-127"/>
              </a:endParaRPr>
            </a:p>
          </p:txBody>
        </p:sp>
        <p:cxnSp>
          <p:nvCxnSpPr>
            <p:cNvPr id="84" name="직선 연결선 83">
              <a:extLst>
                <a:ext uri="{FF2B5EF4-FFF2-40B4-BE49-F238E27FC236}">
                  <a16:creationId xmlns:a16="http://schemas.microsoft.com/office/drawing/2014/main" id="{CD8424DA-190B-45EA-9B9E-0093031D6E3F}"/>
                </a:ext>
              </a:extLst>
            </p:cNvPr>
            <p:cNvCxnSpPr>
              <a:cxnSpLocks/>
              <a:stCxn id="85" idx="6"/>
              <a:endCxn id="86" idx="2"/>
            </p:cNvCxnSpPr>
            <p:nvPr/>
          </p:nvCxnSpPr>
          <p:spPr>
            <a:xfrm>
              <a:off x="1180378" y="2821179"/>
              <a:ext cx="2097637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5" name="타원 84">
              <a:extLst>
                <a:ext uri="{FF2B5EF4-FFF2-40B4-BE49-F238E27FC236}">
                  <a16:creationId xmlns:a16="http://schemas.microsoft.com/office/drawing/2014/main" id="{EA2DDC3F-9D86-4664-B600-82BD700675FE}"/>
                </a:ext>
              </a:extLst>
            </p:cNvPr>
            <p:cNvSpPr/>
            <p:nvPr/>
          </p:nvSpPr>
          <p:spPr>
            <a:xfrm>
              <a:off x="104378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1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6" name="타원 85">
              <a:extLst>
                <a:ext uri="{FF2B5EF4-FFF2-40B4-BE49-F238E27FC236}">
                  <a16:creationId xmlns:a16="http://schemas.microsoft.com/office/drawing/2014/main" id="{28630584-E552-4F14-903B-1E8FDC019D14}"/>
                </a:ext>
              </a:extLst>
            </p:cNvPr>
            <p:cNvSpPr/>
            <p:nvPr/>
          </p:nvSpPr>
          <p:spPr>
            <a:xfrm>
              <a:off x="327801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5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7" name="타원 86">
              <a:extLst>
                <a:ext uri="{FF2B5EF4-FFF2-40B4-BE49-F238E27FC236}">
                  <a16:creationId xmlns:a16="http://schemas.microsoft.com/office/drawing/2014/main" id="{B0719636-A712-47C4-91DC-BCB258567F81}"/>
                </a:ext>
              </a:extLst>
            </p:cNvPr>
            <p:cNvSpPr/>
            <p:nvPr/>
          </p:nvSpPr>
          <p:spPr>
            <a:xfrm>
              <a:off x="1602345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2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8" name="타원 87">
              <a:extLst>
                <a:ext uri="{FF2B5EF4-FFF2-40B4-BE49-F238E27FC236}">
                  <a16:creationId xmlns:a16="http://schemas.microsoft.com/office/drawing/2014/main" id="{C59CF6B5-EC67-488F-9617-1AABF1E1A97E}"/>
                </a:ext>
              </a:extLst>
            </p:cNvPr>
            <p:cNvSpPr/>
            <p:nvPr/>
          </p:nvSpPr>
          <p:spPr>
            <a:xfrm>
              <a:off x="2719459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4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sp>
          <p:nvSpPr>
            <p:cNvPr id="89" name="타원 88">
              <a:extLst>
                <a:ext uri="{FF2B5EF4-FFF2-40B4-BE49-F238E27FC236}">
                  <a16:creationId xmlns:a16="http://schemas.microsoft.com/office/drawing/2014/main" id="{0D604252-3E32-499F-9F5A-59DE98954AEE}"/>
                </a:ext>
              </a:extLst>
            </p:cNvPr>
            <p:cNvSpPr/>
            <p:nvPr/>
          </p:nvSpPr>
          <p:spPr>
            <a:xfrm>
              <a:off x="2160902" y="2749179"/>
              <a:ext cx="136589" cy="14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altLang="ko-KR" sz="7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3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</p:grpSp>
      <p:pic>
        <p:nvPicPr>
          <p:cNvPr id="90" name="Picture 8" descr="외부 링크 ">
            <a:extLst>
              <a:ext uri="{FF2B5EF4-FFF2-40B4-BE49-F238E27FC236}">
                <a16:creationId xmlns:a16="http://schemas.microsoft.com/office/drawing/2014/main" id="{07A23135-BC44-454D-A9B2-09501FC3B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6595" y="3371777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8" descr="외부 링크 ">
            <a:extLst>
              <a:ext uri="{FF2B5EF4-FFF2-40B4-BE49-F238E27FC236}">
                <a16:creationId xmlns:a16="http://schemas.microsoft.com/office/drawing/2014/main" id="{83B446B3-928A-44B7-876A-79D1587BA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0579" y="383915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8" descr="외부 링크 ">
            <a:extLst>
              <a:ext uri="{FF2B5EF4-FFF2-40B4-BE49-F238E27FC236}">
                <a16:creationId xmlns:a16="http://schemas.microsoft.com/office/drawing/2014/main" id="{CF90B573-0EA6-4494-B471-2138BEBAD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0579" y="4285132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그룹 5">
            <a:extLst>
              <a:ext uri="{FF2B5EF4-FFF2-40B4-BE49-F238E27FC236}">
                <a16:creationId xmlns:a16="http://schemas.microsoft.com/office/drawing/2014/main" id="{7BEDAA82-22C0-4BB6-9F17-882C5B799A85}"/>
              </a:ext>
            </a:extLst>
          </p:cNvPr>
          <p:cNvGrpSpPr/>
          <p:nvPr/>
        </p:nvGrpSpPr>
        <p:grpSpPr>
          <a:xfrm>
            <a:off x="7250783" y="2483727"/>
            <a:ext cx="1646049" cy="220810"/>
            <a:chOff x="537340" y="1205649"/>
            <a:chExt cx="1646049" cy="220810"/>
          </a:xfrm>
        </p:grpSpPr>
        <p:pic>
          <p:nvPicPr>
            <p:cNvPr id="5" name="그래픽 4" descr="경고 단색으로 채워진">
              <a:extLst>
                <a:ext uri="{FF2B5EF4-FFF2-40B4-BE49-F238E27FC236}">
                  <a16:creationId xmlns:a16="http://schemas.microsoft.com/office/drawing/2014/main" id="{B28503D3-2E4C-44EA-84C4-A86AFA822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7340" y="1221342"/>
              <a:ext cx="180000" cy="180000"/>
            </a:xfrm>
            <a:prstGeom prst="rect">
              <a:avLst/>
            </a:prstGeom>
          </p:spPr>
        </p:pic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4427EB0C-12BE-4C7E-9458-C54EB3F7E5FC}"/>
                </a:ext>
              </a:extLst>
            </p:cNvPr>
            <p:cNvSpPr/>
            <p:nvPr/>
          </p:nvSpPr>
          <p:spPr>
            <a:xfrm>
              <a:off x="604512" y="1205649"/>
              <a:ext cx="1578877" cy="220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ko-KR" altLang="en-US" sz="900" dirty="0">
                  <a:solidFill>
                    <a:srgbClr val="FF0000"/>
                  </a:solidFill>
                </a:rPr>
                <a:t>조금 더 신경을 써야해요</a:t>
              </a:r>
              <a:r>
                <a:rPr lang="en-US" altLang="ko-KR" sz="900" dirty="0">
                  <a:solidFill>
                    <a:srgbClr val="FF0000"/>
                  </a:solidFill>
                </a:rPr>
                <a:t>!</a:t>
              </a:r>
              <a:endParaRPr lang="ko-KR" altLang="en-US" sz="900" dirty="0">
                <a:solidFill>
                  <a:srgbClr val="FF0000"/>
                </a:solidFill>
              </a:endParaRPr>
            </a:p>
          </p:txBody>
        </p:sp>
      </p:grpSp>
      <p:pic>
        <p:nvPicPr>
          <p:cNvPr id="64" name="그래픽 63" descr="경고 단색으로 채워진">
            <a:extLst>
              <a:ext uri="{FF2B5EF4-FFF2-40B4-BE49-F238E27FC236}">
                <a16:creationId xmlns:a16="http://schemas.microsoft.com/office/drawing/2014/main" id="{FA064271-F0BA-4F7A-85ED-E96D634D42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95600" y="2153340"/>
            <a:ext cx="169288" cy="169288"/>
          </a:xfrm>
          <a:prstGeom prst="rect">
            <a:avLst/>
          </a:prstGeom>
        </p:spPr>
      </p:pic>
      <p:pic>
        <p:nvPicPr>
          <p:cNvPr id="68" name="그래픽 67" descr="경고 단색으로 채워진">
            <a:extLst>
              <a:ext uri="{FF2B5EF4-FFF2-40B4-BE49-F238E27FC236}">
                <a16:creationId xmlns:a16="http://schemas.microsoft.com/office/drawing/2014/main" id="{78272BEE-9AA4-4DC3-82ED-AFFF53B9CE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862" y="3822148"/>
            <a:ext cx="144000" cy="144000"/>
          </a:xfrm>
          <a:prstGeom prst="rect">
            <a:avLst/>
          </a:prstGeom>
        </p:spPr>
      </p:pic>
      <p:pic>
        <p:nvPicPr>
          <p:cNvPr id="70" name="그래픽 69" descr="경고 단색으로 채워진">
            <a:extLst>
              <a:ext uri="{FF2B5EF4-FFF2-40B4-BE49-F238E27FC236}">
                <a16:creationId xmlns:a16="http://schemas.microsoft.com/office/drawing/2014/main" id="{40D53202-13EB-4574-BE50-E79EA8EB9B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862" y="4972738"/>
            <a:ext cx="144000" cy="144000"/>
          </a:xfrm>
          <a:prstGeom prst="rect">
            <a:avLst/>
          </a:prstGeom>
        </p:spPr>
      </p:pic>
      <p:pic>
        <p:nvPicPr>
          <p:cNvPr id="72" name="그래픽 71" descr="경고 단색으로 채워진">
            <a:extLst>
              <a:ext uri="{FF2B5EF4-FFF2-40B4-BE49-F238E27FC236}">
                <a16:creationId xmlns:a16="http://schemas.microsoft.com/office/drawing/2014/main" id="{DE474EE3-43A8-4FC4-9222-4DBCD02712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862" y="5207264"/>
            <a:ext cx="144000" cy="144000"/>
          </a:xfrm>
          <a:prstGeom prst="rect">
            <a:avLst/>
          </a:prstGeom>
        </p:spPr>
      </p:pic>
      <p:pic>
        <p:nvPicPr>
          <p:cNvPr id="104" name="그래픽 103" descr="경고 단색으로 채워진">
            <a:extLst>
              <a:ext uri="{FF2B5EF4-FFF2-40B4-BE49-F238E27FC236}">
                <a16:creationId xmlns:a16="http://schemas.microsoft.com/office/drawing/2014/main" id="{AB4043D2-1F4A-45CF-A7F5-C62CE33E5B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15871" y="5207264"/>
            <a:ext cx="144000" cy="144000"/>
          </a:xfrm>
          <a:prstGeom prst="rect">
            <a:avLst/>
          </a:prstGeom>
        </p:spPr>
      </p:pic>
      <p:pic>
        <p:nvPicPr>
          <p:cNvPr id="105" name="그래픽 104" descr="경고 단색으로 채워진">
            <a:extLst>
              <a:ext uri="{FF2B5EF4-FFF2-40B4-BE49-F238E27FC236}">
                <a16:creationId xmlns:a16="http://schemas.microsoft.com/office/drawing/2014/main" id="{EC10F085-0F5A-4502-8624-8AF1E9206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15871" y="4269009"/>
            <a:ext cx="144000" cy="144000"/>
          </a:xfrm>
          <a:prstGeom prst="rect">
            <a:avLst/>
          </a:prstGeom>
        </p:spPr>
      </p:pic>
      <p:pic>
        <p:nvPicPr>
          <p:cNvPr id="106" name="그래픽 105" descr="경고 단색으로 채워진">
            <a:extLst>
              <a:ext uri="{FF2B5EF4-FFF2-40B4-BE49-F238E27FC236}">
                <a16:creationId xmlns:a16="http://schemas.microsoft.com/office/drawing/2014/main" id="{C771A77D-F43D-467B-A98A-01669633C0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15871" y="4048024"/>
            <a:ext cx="144000" cy="144000"/>
          </a:xfrm>
          <a:prstGeom prst="rect">
            <a:avLst/>
          </a:prstGeom>
        </p:spPr>
      </p:pic>
      <p:pic>
        <p:nvPicPr>
          <p:cNvPr id="107" name="그래픽 106" descr="경고 단색으로 채워진">
            <a:extLst>
              <a:ext uri="{FF2B5EF4-FFF2-40B4-BE49-F238E27FC236}">
                <a16:creationId xmlns:a16="http://schemas.microsoft.com/office/drawing/2014/main" id="{85C07308-2566-45E2-A781-5B4F3A5608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46783" y="4048024"/>
            <a:ext cx="144000" cy="144000"/>
          </a:xfrm>
          <a:prstGeom prst="rect">
            <a:avLst/>
          </a:prstGeom>
        </p:spPr>
      </p:pic>
      <p:pic>
        <p:nvPicPr>
          <p:cNvPr id="108" name="그래픽 107" descr="경고 단색으로 채워진">
            <a:extLst>
              <a:ext uri="{FF2B5EF4-FFF2-40B4-BE49-F238E27FC236}">
                <a16:creationId xmlns:a16="http://schemas.microsoft.com/office/drawing/2014/main" id="{BD7122D9-B22A-4D82-9049-3C1440BB01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46783" y="3577595"/>
            <a:ext cx="144000" cy="144000"/>
          </a:xfrm>
          <a:prstGeom prst="rect">
            <a:avLst/>
          </a:prstGeom>
        </p:spPr>
      </p:pic>
      <p:pic>
        <p:nvPicPr>
          <p:cNvPr id="109" name="그래픽 108" descr="경고 단색으로 채워진">
            <a:extLst>
              <a:ext uri="{FF2B5EF4-FFF2-40B4-BE49-F238E27FC236}">
                <a16:creationId xmlns:a16="http://schemas.microsoft.com/office/drawing/2014/main" id="{8357EC2E-64F9-4A2A-B11A-00A24EC4EB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46783" y="4508438"/>
            <a:ext cx="144000" cy="144000"/>
          </a:xfrm>
          <a:prstGeom prst="rect">
            <a:avLst/>
          </a:prstGeom>
        </p:spPr>
      </p:pic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B2229931-1A42-4A32-837E-C4D0924565B5}"/>
              </a:ext>
            </a:extLst>
          </p:cNvPr>
          <p:cNvSpPr/>
          <p:nvPr/>
        </p:nvSpPr>
        <p:spPr>
          <a:xfrm>
            <a:off x="9479922" y="4034310"/>
            <a:ext cx="2442468" cy="3894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accent1">
                    <a:lumMod val="75000"/>
                  </a:schemeClr>
                </a:solidFill>
              </a:rPr>
              <a:t>* </a:t>
            </a:r>
            <a:r>
              <a:rPr lang="ko-KR" altLang="en-US" sz="1600" dirty="0" err="1">
                <a:solidFill>
                  <a:schemeClr val="accent1">
                    <a:lumMod val="75000"/>
                  </a:schemeClr>
                </a:solidFill>
              </a:rPr>
              <a:t>뒷페이지와</a:t>
            </a:r>
            <a:r>
              <a:rPr lang="ko-KR" altLang="en-US" sz="1600" dirty="0">
                <a:solidFill>
                  <a:schemeClr val="accent1">
                    <a:lumMod val="75000"/>
                  </a:schemeClr>
                </a:solidFill>
              </a:rPr>
              <a:t> 한 뷰에 보여야 함 </a:t>
            </a:r>
            <a:endParaRPr lang="en-US" altLang="ko-KR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17" name="Picture 8" descr="외부 링크 ">
            <a:extLst>
              <a:ext uri="{FF2B5EF4-FFF2-40B4-BE49-F238E27FC236}">
                <a16:creationId xmlns:a16="http://schemas.microsoft.com/office/drawing/2014/main" id="{A1F97550-EF08-4731-9377-5E0105B8C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972" y="220758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7D6C6F1-B555-40A4-A92C-5031E0C108C6}"/>
              </a:ext>
            </a:extLst>
          </p:cNvPr>
          <p:cNvCxnSpPr>
            <a:endCxn id="160" idx="2"/>
          </p:cNvCxnSpPr>
          <p:nvPr/>
        </p:nvCxnSpPr>
        <p:spPr>
          <a:xfrm>
            <a:off x="680206" y="3123147"/>
            <a:ext cx="1033726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타원 117">
            <a:extLst>
              <a:ext uri="{FF2B5EF4-FFF2-40B4-BE49-F238E27FC236}">
                <a16:creationId xmlns:a16="http://schemas.microsoft.com/office/drawing/2014/main" id="{A8BD7FBE-0F19-4798-AC77-7C761B0AE733}"/>
              </a:ext>
            </a:extLst>
          </p:cNvPr>
          <p:cNvSpPr/>
          <p:nvPr/>
        </p:nvSpPr>
        <p:spPr>
          <a:xfrm>
            <a:off x="542240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0" name="타원 119">
            <a:extLst>
              <a:ext uri="{FF2B5EF4-FFF2-40B4-BE49-F238E27FC236}">
                <a16:creationId xmlns:a16="http://schemas.microsoft.com/office/drawing/2014/main" id="{6E54357F-1CF7-48E9-B5F3-3203239A2D59}"/>
              </a:ext>
            </a:extLst>
          </p:cNvPr>
          <p:cNvSpPr/>
          <p:nvPr/>
        </p:nvSpPr>
        <p:spPr>
          <a:xfrm>
            <a:off x="1133905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1" name="타원 120">
            <a:extLst>
              <a:ext uri="{FF2B5EF4-FFF2-40B4-BE49-F238E27FC236}">
                <a16:creationId xmlns:a16="http://schemas.microsoft.com/office/drawing/2014/main" id="{A10DFD7C-883F-4612-B190-6D0BA0B6287B}"/>
              </a:ext>
            </a:extLst>
          </p:cNvPr>
          <p:cNvSpPr/>
          <p:nvPr/>
        </p:nvSpPr>
        <p:spPr>
          <a:xfrm>
            <a:off x="1709002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22" name="직선 연결선 121">
            <a:extLst>
              <a:ext uri="{FF2B5EF4-FFF2-40B4-BE49-F238E27FC236}">
                <a16:creationId xmlns:a16="http://schemas.microsoft.com/office/drawing/2014/main" id="{4993E0BC-73DA-4473-B3BC-D11306D21EAC}"/>
              </a:ext>
            </a:extLst>
          </p:cNvPr>
          <p:cNvCxnSpPr>
            <a:cxnSpLocks/>
          </p:cNvCxnSpPr>
          <p:nvPr/>
        </p:nvCxnSpPr>
        <p:spPr>
          <a:xfrm flipV="1">
            <a:off x="3478423" y="3131816"/>
            <a:ext cx="1623840" cy="47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타원 122">
            <a:extLst>
              <a:ext uri="{FF2B5EF4-FFF2-40B4-BE49-F238E27FC236}">
                <a16:creationId xmlns:a16="http://schemas.microsoft.com/office/drawing/2014/main" id="{55F05311-E440-4D8F-A4A8-5CC139FA85BE}"/>
              </a:ext>
            </a:extLst>
          </p:cNvPr>
          <p:cNvSpPr/>
          <p:nvPr/>
        </p:nvSpPr>
        <p:spPr>
          <a:xfrm>
            <a:off x="3340457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4" name="타원 123">
            <a:extLst>
              <a:ext uri="{FF2B5EF4-FFF2-40B4-BE49-F238E27FC236}">
                <a16:creationId xmlns:a16="http://schemas.microsoft.com/office/drawing/2014/main" id="{2EFD6715-84C1-4D2D-B8AF-0CBEE876A813}"/>
              </a:ext>
            </a:extLst>
          </p:cNvPr>
          <p:cNvSpPr/>
          <p:nvPr/>
        </p:nvSpPr>
        <p:spPr>
          <a:xfrm>
            <a:off x="3932122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5" name="타원 124">
            <a:extLst>
              <a:ext uri="{FF2B5EF4-FFF2-40B4-BE49-F238E27FC236}">
                <a16:creationId xmlns:a16="http://schemas.microsoft.com/office/drawing/2014/main" id="{832B5EFD-1851-44BB-878A-CB8FFB233DFE}"/>
              </a:ext>
            </a:extLst>
          </p:cNvPr>
          <p:cNvSpPr/>
          <p:nvPr/>
        </p:nvSpPr>
        <p:spPr>
          <a:xfrm>
            <a:off x="4507219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6" name="타원 125">
            <a:extLst>
              <a:ext uri="{FF2B5EF4-FFF2-40B4-BE49-F238E27FC236}">
                <a16:creationId xmlns:a16="http://schemas.microsoft.com/office/drawing/2014/main" id="{73B8FD70-3A1E-4AF0-8398-45E4841D5AF5}"/>
              </a:ext>
            </a:extLst>
          </p:cNvPr>
          <p:cNvSpPr/>
          <p:nvPr/>
        </p:nvSpPr>
        <p:spPr>
          <a:xfrm>
            <a:off x="5102263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27" name="직선 연결선 126">
            <a:extLst>
              <a:ext uri="{FF2B5EF4-FFF2-40B4-BE49-F238E27FC236}">
                <a16:creationId xmlns:a16="http://schemas.microsoft.com/office/drawing/2014/main" id="{A4E03A5E-6949-4579-BD6B-889315CD91B1}"/>
              </a:ext>
            </a:extLst>
          </p:cNvPr>
          <p:cNvCxnSpPr>
            <a:cxnSpLocks/>
          </p:cNvCxnSpPr>
          <p:nvPr/>
        </p:nvCxnSpPr>
        <p:spPr>
          <a:xfrm flipV="1">
            <a:off x="6250076" y="3131816"/>
            <a:ext cx="216000" cy="47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타원 127">
            <a:extLst>
              <a:ext uri="{FF2B5EF4-FFF2-40B4-BE49-F238E27FC236}">
                <a16:creationId xmlns:a16="http://schemas.microsoft.com/office/drawing/2014/main" id="{B45AEC45-D2C8-41BA-9EEB-8BEFE5DD6D9F}"/>
              </a:ext>
            </a:extLst>
          </p:cNvPr>
          <p:cNvSpPr/>
          <p:nvPr/>
        </p:nvSpPr>
        <p:spPr>
          <a:xfrm>
            <a:off x="6139542" y="3050672"/>
            <a:ext cx="144000" cy="144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2E677B-704F-401B-AF34-00771634322E}"/>
              </a:ext>
            </a:extLst>
          </p:cNvPr>
          <p:cNvSpPr/>
          <p:nvPr/>
        </p:nvSpPr>
        <p:spPr>
          <a:xfrm>
            <a:off x="4304485" y="1970455"/>
            <a:ext cx="3879748" cy="21400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4D43116-36AD-437B-89E6-E1C463FC84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결과                                                                                                        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7-12  10:00]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5EC5FCC3-A235-4E8D-A9E7-00C4005F809C}"/>
              </a:ext>
            </a:extLst>
          </p:cNvPr>
          <p:cNvSpPr/>
          <p:nvPr/>
        </p:nvSpPr>
        <p:spPr>
          <a:xfrm>
            <a:off x="6960096" y="162978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258CDD36-53E7-4684-A52B-F419C776B06D}"/>
              </a:ext>
            </a:extLst>
          </p:cNvPr>
          <p:cNvSpPr/>
          <p:nvPr/>
        </p:nvSpPr>
        <p:spPr>
          <a:xfrm>
            <a:off x="4223518" y="18969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8B6CF07B-7E98-4204-A582-3438E1F6A44D}"/>
              </a:ext>
            </a:extLst>
          </p:cNvPr>
          <p:cNvSpPr/>
          <p:nvPr/>
        </p:nvSpPr>
        <p:spPr>
          <a:xfrm>
            <a:off x="1572951" y="29481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54074B7B-3A3B-4806-A4D5-BFFF6E949BCE}"/>
              </a:ext>
            </a:extLst>
          </p:cNvPr>
          <p:cNvSpPr/>
          <p:nvPr/>
        </p:nvSpPr>
        <p:spPr>
          <a:xfrm>
            <a:off x="292500" y="38425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468AA8D5-8AEA-4DC4-8342-3B5EA1F3149E}"/>
              </a:ext>
            </a:extLst>
          </p:cNvPr>
          <p:cNvSpPr/>
          <p:nvPr/>
        </p:nvSpPr>
        <p:spPr>
          <a:xfrm>
            <a:off x="2723651" y="33608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4" name="그룹 133">
            <a:extLst>
              <a:ext uri="{FF2B5EF4-FFF2-40B4-BE49-F238E27FC236}">
                <a16:creationId xmlns:a16="http://schemas.microsoft.com/office/drawing/2014/main" id="{27E98C5B-507D-4E43-BF53-B52822A16C6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35" name="그림 134">
              <a:extLst>
                <a:ext uri="{FF2B5EF4-FFF2-40B4-BE49-F238E27FC236}">
                  <a16:creationId xmlns:a16="http://schemas.microsoft.com/office/drawing/2014/main" id="{2285F583-85C7-41B9-A73F-D840FF92A7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A9F15B62-5C30-46C3-9B97-46603E919FD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38" name="그림 137">
              <a:extLst>
                <a:ext uri="{FF2B5EF4-FFF2-40B4-BE49-F238E27FC236}">
                  <a16:creationId xmlns:a16="http://schemas.microsoft.com/office/drawing/2014/main" id="{1F9D75C0-07F6-4BF7-8792-3AF85667E4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C7F08370-2DC9-4CE0-B720-664F3E8E8998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5BC166D1-7FF3-4CE3-9F23-BAB82D03EFAE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2</a:t>
            </a:r>
            <a:r>
              <a:rPr kumimoji="0" lang="en-US" altLang="ko-KR" sz="800" b="1" i="0" u="none" strike="noStrike" kern="0" cap="none" spc="0" normalizeH="0" baseline="0" noProof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456A2D4E-1B5C-4B28-BCBC-D8BBFFA4848A}"/>
              </a:ext>
            </a:extLst>
          </p:cNvPr>
          <p:cNvSpPr/>
          <p:nvPr/>
        </p:nvSpPr>
        <p:spPr>
          <a:xfrm>
            <a:off x="1191550" y="1738163"/>
            <a:ext cx="7285901" cy="451134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/>
              <a:t>OLD</a:t>
            </a:r>
            <a:endParaRPr lang="ko-KR" altLang="en-US" dirty="0"/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ABADEB8E-2BDE-4231-8241-0F260699F7B0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94159269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9072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E560F046-0CD8-4E56-AD6F-2B85A7300A13}"/>
              </a:ext>
            </a:extLst>
          </p:cNvPr>
          <p:cNvGraphicFramePr>
            <a:graphicFrameLocks noGrp="1"/>
          </p:cNvGraphicFramePr>
          <p:nvPr/>
        </p:nvGraphicFramePr>
        <p:xfrm>
          <a:off x="3275076" y="2492896"/>
          <a:ext cx="2619940" cy="3913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03">
                  <a:extLst>
                    <a:ext uri="{9D8B030D-6E8A-4147-A177-3AD203B41FA5}">
                      <a16:colId xmlns:a16="http://schemas.microsoft.com/office/drawing/2014/main" val="3095002624"/>
                    </a:ext>
                  </a:extLst>
                </a:gridCol>
                <a:gridCol w="2414437">
                  <a:extLst>
                    <a:ext uri="{9D8B030D-6E8A-4147-A177-3AD203B41FA5}">
                      <a16:colId xmlns:a16="http://schemas.microsoft.com/office/drawing/2014/main" val="298906031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버넌스과제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이행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4336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이사회 구성 및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R&amp;R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분담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474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통제 및 감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9914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윤리경영 정책 준수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1979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주권리 보장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4521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버넌스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680339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지속가능 금융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230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채권 발행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41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투자 및 심사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06107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영향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1628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후리스크에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따른 재무적 영향 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37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환경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사회 영향 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30299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 운영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159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∙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지표 측정 및 모니터링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4323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전사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데이터 통합관리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1683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요 </a:t>
                      </a:r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시∙보고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1503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보 기반 경영관리시스템 고도화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487410"/>
                  </a:ext>
                </a:extLst>
              </a:tr>
            </a:tbl>
          </a:graphicData>
        </a:graphic>
      </p:graphicFrame>
      <p:pic>
        <p:nvPicPr>
          <p:cNvPr id="120" name="Picture 8" descr="외부 링크 ">
            <a:extLst>
              <a:ext uri="{FF2B5EF4-FFF2-40B4-BE49-F238E27FC236}">
                <a16:creationId xmlns:a16="http://schemas.microsoft.com/office/drawing/2014/main" id="{9D7551BF-A68E-4656-94DF-D5C4DA7B23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546" y="2543084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8" descr="외부 링크 ">
            <a:extLst>
              <a:ext uri="{FF2B5EF4-FFF2-40B4-BE49-F238E27FC236}">
                <a16:creationId xmlns:a16="http://schemas.microsoft.com/office/drawing/2014/main" id="{681954B9-50E1-46CC-8957-AE4E0C43C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545" y="391091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8" descr="외부 링크 ">
            <a:extLst>
              <a:ext uri="{FF2B5EF4-FFF2-40B4-BE49-F238E27FC236}">
                <a16:creationId xmlns:a16="http://schemas.microsoft.com/office/drawing/2014/main" id="{C572AFC6-82B6-4CEC-8C17-D44C1C2EA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545" y="4620596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8" descr="외부 링크 ">
            <a:extLst>
              <a:ext uri="{FF2B5EF4-FFF2-40B4-BE49-F238E27FC236}">
                <a16:creationId xmlns:a16="http://schemas.microsoft.com/office/drawing/2014/main" id="{19332F22-E595-46A7-A30B-FD6B7CA6F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545" y="5311939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그래픽 123" descr="경고 단색으로 채워진">
            <a:extLst>
              <a:ext uri="{FF2B5EF4-FFF2-40B4-BE49-F238E27FC236}">
                <a16:creationId xmlns:a16="http://schemas.microsoft.com/office/drawing/2014/main" id="{0346F737-1D81-4820-B864-DACB233DAD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15368" y="2749897"/>
            <a:ext cx="144000" cy="144000"/>
          </a:xfrm>
          <a:prstGeom prst="rect">
            <a:avLst/>
          </a:prstGeom>
        </p:spPr>
      </p:pic>
      <p:pic>
        <p:nvPicPr>
          <p:cNvPr id="125" name="그래픽 124" descr="경고 단색으로 채워진">
            <a:extLst>
              <a:ext uri="{FF2B5EF4-FFF2-40B4-BE49-F238E27FC236}">
                <a16:creationId xmlns:a16="http://schemas.microsoft.com/office/drawing/2014/main" id="{DEFF43B4-4598-4821-B593-1891FB65C7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15368" y="4152065"/>
            <a:ext cx="144000" cy="144000"/>
          </a:xfrm>
          <a:prstGeom prst="rect">
            <a:avLst/>
          </a:prstGeom>
        </p:spPr>
      </p:pic>
      <p:pic>
        <p:nvPicPr>
          <p:cNvPr id="126" name="그래픽 125" descr="경고 단색으로 채워진">
            <a:extLst>
              <a:ext uri="{FF2B5EF4-FFF2-40B4-BE49-F238E27FC236}">
                <a16:creationId xmlns:a16="http://schemas.microsoft.com/office/drawing/2014/main" id="{8879D1C0-8297-4FC6-998F-A5A815222F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20966" y="5052939"/>
            <a:ext cx="144000" cy="144000"/>
          </a:xfrm>
          <a:prstGeom prst="rect">
            <a:avLst/>
          </a:prstGeom>
        </p:spPr>
      </p:pic>
      <p:pic>
        <p:nvPicPr>
          <p:cNvPr id="127" name="그래픽 126" descr="경고 단색으로 채워진">
            <a:extLst>
              <a:ext uri="{FF2B5EF4-FFF2-40B4-BE49-F238E27FC236}">
                <a16:creationId xmlns:a16="http://schemas.microsoft.com/office/drawing/2014/main" id="{14DB70D0-1CD6-4603-8D75-B592EBCA91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20966" y="5764449"/>
            <a:ext cx="144000" cy="144000"/>
          </a:xfrm>
          <a:prstGeom prst="rect">
            <a:avLst/>
          </a:prstGeom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FCBC21B1-6D1A-4D2F-8F71-F3113723B7C5}"/>
              </a:ext>
            </a:extLst>
          </p:cNvPr>
          <p:cNvSpPr/>
          <p:nvPr/>
        </p:nvSpPr>
        <p:spPr>
          <a:xfrm>
            <a:off x="479425" y="1947121"/>
            <a:ext cx="8353424" cy="451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자가진단 결과</a:t>
            </a:r>
            <a:r>
              <a:rPr lang="en-US" altLang="ko-KR" sz="1000" dirty="0">
                <a:solidFill>
                  <a:schemeClr val="tx1"/>
                </a:solidFill>
              </a:rPr>
              <a:t>,</a:t>
            </a:r>
            <a:r>
              <a:rPr lang="ko-KR" altLang="en-US" sz="1000" dirty="0">
                <a:solidFill>
                  <a:schemeClr val="tx1"/>
                </a:solidFill>
              </a:rPr>
              <a:t> 귀사의 </a:t>
            </a:r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활동 준비도는 전체 </a:t>
            </a:r>
            <a:r>
              <a:rPr lang="en-US" altLang="ko-KR" sz="1000" dirty="0">
                <a:solidFill>
                  <a:schemeClr val="tx1"/>
                </a:solidFill>
              </a:rPr>
              <a:t>5</a:t>
            </a:r>
            <a:r>
              <a:rPr lang="ko-KR" altLang="en-US" sz="1000" dirty="0">
                <a:solidFill>
                  <a:schemeClr val="tx1"/>
                </a:solidFill>
              </a:rPr>
              <a:t>점 중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전략 계획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3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과제 이행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4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</a:t>
            </a:r>
            <a:r>
              <a:rPr lang="ko-KR" altLang="en-US" sz="1100" b="1" dirty="0">
                <a:solidFill>
                  <a:schemeClr val="tx1"/>
                </a:solidFill>
              </a:rPr>
              <a:t>공시 ∙ 인증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1.5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ko-KR" altLang="en-US" sz="1000" dirty="0">
                <a:solidFill>
                  <a:schemeClr val="tx1"/>
                </a:solidFill>
              </a:rPr>
              <a:t>입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r>
              <a:rPr lang="ko-KR" altLang="en-US" sz="1000" dirty="0">
                <a:solidFill>
                  <a:schemeClr val="tx1"/>
                </a:solidFill>
              </a:rPr>
              <a:t>추가적으로 고려해야 할 경영활동</a:t>
            </a:r>
            <a:r>
              <a:rPr lang="en-US" altLang="ko-KR" sz="1000" dirty="0">
                <a:solidFill>
                  <a:schemeClr val="tx1"/>
                </a:solidFill>
              </a:rPr>
              <a:t>(       )</a:t>
            </a:r>
            <a:r>
              <a:rPr lang="ko-KR" altLang="en-US" sz="1000" dirty="0">
                <a:solidFill>
                  <a:schemeClr val="tx1"/>
                </a:solidFill>
              </a:rPr>
              <a:t>을 확인하시고</a:t>
            </a:r>
            <a:r>
              <a:rPr lang="en-US" altLang="ko-KR" sz="1000" dirty="0">
                <a:solidFill>
                  <a:schemeClr val="tx1"/>
                </a:solidFill>
              </a:rPr>
              <a:t>,       </a:t>
            </a:r>
            <a:r>
              <a:rPr lang="ko-KR" altLang="en-US" sz="1000" dirty="0">
                <a:solidFill>
                  <a:schemeClr val="tx1"/>
                </a:solidFill>
              </a:rPr>
              <a:t>버튼을 클릭하여 해당 활동에 대한 세부 경영 가이드를 확인하시기 바랍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3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A054E84A-C0D5-4FB2-9534-4948566C635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결과                                                                                                        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7-12  10:00]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CA4AE9E-2053-4FA8-8BE8-C4BCEAA846E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BB19CEDA-EBAE-44C4-AC34-EFDCE0DC5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81F86BD-36AD-4AE4-AB53-ACEACCD60B2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E87EFCB8-1941-41E5-94D6-DA7BF4BC4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pic>
        <p:nvPicPr>
          <p:cNvPr id="38" name="그래픽 37" descr="경고 단색으로 채워진">
            <a:extLst>
              <a:ext uri="{FF2B5EF4-FFF2-40B4-BE49-F238E27FC236}">
                <a16:creationId xmlns:a16="http://schemas.microsoft.com/office/drawing/2014/main" id="{2DF902EC-A3BB-4B2F-9990-5B69E67B3D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95600" y="2153340"/>
            <a:ext cx="169288" cy="169288"/>
          </a:xfrm>
          <a:prstGeom prst="rect">
            <a:avLst/>
          </a:prstGeom>
        </p:spPr>
      </p:pic>
      <p:pic>
        <p:nvPicPr>
          <p:cNvPr id="39" name="Picture 8" descr="외부 링크 ">
            <a:extLst>
              <a:ext uri="{FF2B5EF4-FFF2-40B4-BE49-F238E27FC236}">
                <a16:creationId xmlns:a16="http://schemas.microsoft.com/office/drawing/2014/main" id="{69C9D18B-6387-437F-B1FB-EFEA6B5CC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972" y="220758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직사각형 28">
            <a:extLst>
              <a:ext uri="{FF2B5EF4-FFF2-40B4-BE49-F238E27FC236}">
                <a16:creationId xmlns:a16="http://schemas.microsoft.com/office/drawing/2014/main" id="{90B94D58-F49D-480B-9166-E9F15E6F116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82A3DE2-0F32-4982-B567-C72D2D435412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2D734616-ACB3-488C-84CE-300706017D63}"/>
              </a:ext>
            </a:extLst>
          </p:cNvPr>
          <p:cNvSpPr/>
          <p:nvPr/>
        </p:nvSpPr>
        <p:spPr>
          <a:xfrm>
            <a:off x="1191550" y="1738163"/>
            <a:ext cx="7285901" cy="451134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/>
              <a:t>OLD</a:t>
            </a:r>
            <a:endParaRPr lang="ko-KR" altLang="en-US" dirty="0"/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31A93E2A-5C80-4AF8-A2C0-F2F795B5159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2296877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297846"/>
              </p:ext>
            </p:extLst>
          </p:nvPr>
        </p:nvGraphicFramePr>
        <p:xfrm>
          <a:off x="342860" y="871491"/>
          <a:ext cx="11511641" cy="53998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65200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00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32967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259628">
                <a:tc rowSpan="13"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om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소개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bout Us 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개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목적 및 기본 정보 소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71008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bout Us 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소개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과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PwC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설팅의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문 및 컨설팅 서비스 소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8952685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이트 구성 안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이트 메뉴 구성 및 세부 내용 안내</a:t>
                      </a:r>
                      <a:endParaRPr lang="ko-KR" altLang="en-US" sz="800" b="0" i="0" u="none" strike="noStrike" kern="1200" cap="none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9256392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bout Us - (</a:t>
                      </a:r>
                      <a:r>
                        <a:rPr lang="ko-KR" altLang="en-US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Contact Us</a:t>
                      </a:r>
                      <a:endParaRPr lang="ko-KR" altLang="en-US" sz="800" b="0" i="0" u="none" strike="noStrike" kern="1200" cap="none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설팅의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리스트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락처 안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3017006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0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사이트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 등으로 결과를 보여주는 결과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55101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0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endParaRPr lang="ko-KR" alt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컨텐츠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사이트 게시글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를 보여주는 결과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3732685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컨텐츠 결과를 보여주는 결과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265954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컨텐츠 결과를 보여주는 결과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530852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컨텐츠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를 보여주는 결과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16910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없음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 결과가 없을 경우 출력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826415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2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검색결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결과없음</a:t>
                      </a:r>
                      <a:endParaRPr lang="ko-KR" altLang="en-US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 선택 결과가 없을 경우 출력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493542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ESG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주요일정관리</a:t>
                      </a: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일정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일정을 보여주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504913"/>
                  </a:ext>
                </a:extLst>
              </a:tr>
              <a:tr h="25962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01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정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별 일정에 대해 상세 내용을 보여주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181964"/>
                  </a:ext>
                </a:extLst>
              </a:tr>
              <a:tr h="259628">
                <a:tc rowSpan="4"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∙계획</a:t>
                      </a: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가진단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 서비스 및 자가진단 문항 구성에 대해 소개하고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가진단 시작으로 연결되도록 하는 화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7779449"/>
                  </a:ext>
                </a:extLst>
              </a:tr>
              <a:tr h="466232">
                <a:tc vMerge="1"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을 위한 사용자 기본 정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elf-Check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항목 응답을 입력하고 저장하는 화면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 구성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자 정보입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항목 입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저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9516693"/>
                  </a:ext>
                </a:extLst>
              </a:tr>
              <a:tr h="466232">
                <a:tc vMerge="1"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 결과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ustomizing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된 진단 결과를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기준으로 보여주고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프레임워크 내에서 추가적으로 이행이 </a:t>
                      </a:r>
                      <a:endParaRPr lang="en-US" altLang="ko-KR" sz="8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한 활동에 대해 소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905065"/>
                  </a:ext>
                </a:extLst>
              </a:tr>
              <a:tr h="281264">
                <a:tc vMerge="1"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가이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요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가이드 소개 및 전체적인 구성에 대한 설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87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001487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95195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F2AA93AE-60EA-4E2C-AE84-6BCFCDF8CE5C}"/>
              </a:ext>
            </a:extLst>
          </p:cNvPr>
          <p:cNvSpPr/>
          <p:nvPr/>
        </p:nvSpPr>
        <p:spPr>
          <a:xfrm>
            <a:off x="481018" y="3037026"/>
            <a:ext cx="1887481" cy="1707225"/>
          </a:xfrm>
          <a:prstGeom prst="roundRect">
            <a:avLst>
              <a:gd name="adj" fmla="val 1146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10E82A3C-390A-4818-BFCF-F4AC1947CEAF}"/>
              </a:ext>
            </a:extLst>
          </p:cNvPr>
          <p:cNvSpPr/>
          <p:nvPr/>
        </p:nvSpPr>
        <p:spPr>
          <a:xfrm>
            <a:off x="479425" y="1947121"/>
            <a:ext cx="8353424" cy="451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자가진단 결과</a:t>
            </a:r>
            <a:r>
              <a:rPr lang="en-US" altLang="ko-KR" sz="1000" dirty="0">
                <a:solidFill>
                  <a:schemeClr val="tx1"/>
                </a:solidFill>
              </a:rPr>
              <a:t>,</a:t>
            </a:r>
            <a:r>
              <a:rPr lang="ko-KR" altLang="en-US" sz="1000" dirty="0">
                <a:solidFill>
                  <a:schemeClr val="tx1"/>
                </a:solidFill>
              </a:rPr>
              <a:t> 귀사의 </a:t>
            </a:r>
            <a:r>
              <a:rPr lang="en-US" altLang="ko-KR" sz="1000" dirty="0">
                <a:solidFill>
                  <a:schemeClr val="tx1"/>
                </a:solidFill>
              </a:rPr>
              <a:t>ESG </a:t>
            </a:r>
            <a:r>
              <a:rPr lang="ko-KR" altLang="en-US" sz="1000" dirty="0">
                <a:solidFill>
                  <a:schemeClr val="tx1"/>
                </a:solidFill>
              </a:rPr>
              <a:t>경영 활동 준비도는 전체 </a:t>
            </a:r>
            <a:r>
              <a:rPr lang="en-US" altLang="ko-KR" sz="1000" dirty="0">
                <a:solidFill>
                  <a:schemeClr val="tx1"/>
                </a:solidFill>
              </a:rPr>
              <a:t>5</a:t>
            </a:r>
            <a:r>
              <a:rPr lang="ko-KR" altLang="en-US" sz="1000" dirty="0">
                <a:solidFill>
                  <a:schemeClr val="tx1"/>
                </a:solidFill>
              </a:rPr>
              <a:t>점 중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전략 계획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3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ESG </a:t>
            </a:r>
            <a:r>
              <a:rPr lang="ko-KR" altLang="en-US" sz="1100" b="1" dirty="0">
                <a:solidFill>
                  <a:schemeClr val="tx1"/>
                </a:solidFill>
              </a:rPr>
              <a:t>과제 이행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4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en-US" altLang="ko-KR" sz="1100" b="1" dirty="0">
                <a:solidFill>
                  <a:schemeClr val="tx1"/>
                </a:solidFill>
              </a:rPr>
              <a:t>[</a:t>
            </a:r>
            <a:r>
              <a:rPr lang="ko-KR" altLang="en-US" sz="1100" b="1" dirty="0">
                <a:solidFill>
                  <a:schemeClr val="tx1"/>
                </a:solidFill>
              </a:rPr>
              <a:t>공시 ∙ 인증</a:t>
            </a:r>
            <a:r>
              <a:rPr lang="en-US" altLang="ko-KR" sz="1100" b="1" dirty="0">
                <a:solidFill>
                  <a:schemeClr val="tx1"/>
                </a:solidFill>
              </a:rPr>
              <a:t>]</a:t>
            </a:r>
            <a:r>
              <a:rPr lang="ko-KR" altLang="en-US" sz="1000" dirty="0">
                <a:solidFill>
                  <a:schemeClr val="tx1"/>
                </a:solidFill>
              </a:rPr>
              <a:t>은 </a:t>
            </a:r>
            <a:r>
              <a:rPr lang="en-US" altLang="ko-KR" sz="1100" b="1" dirty="0">
                <a:solidFill>
                  <a:schemeClr val="tx1"/>
                </a:solidFill>
              </a:rPr>
              <a:t>1.5</a:t>
            </a:r>
            <a:r>
              <a:rPr lang="ko-KR" altLang="en-US" sz="1100" b="1" dirty="0">
                <a:solidFill>
                  <a:schemeClr val="tx1"/>
                </a:solidFill>
              </a:rPr>
              <a:t>점</a:t>
            </a:r>
            <a:r>
              <a:rPr lang="ko-KR" altLang="en-US" sz="1000" dirty="0">
                <a:solidFill>
                  <a:schemeClr val="tx1"/>
                </a:solidFill>
              </a:rPr>
              <a:t>입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r>
              <a:rPr lang="ko-KR" altLang="en-US" sz="1000" dirty="0">
                <a:solidFill>
                  <a:schemeClr val="tx1"/>
                </a:solidFill>
              </a:rPr>
              <a:t>추가적으로 고려해야 할 경영활동</a:t>
            </a:r>
            <a:r>
              <a:rPr lang="en-US" altLang="ko-KR" sz="1000" dirty="0">
                <a:solidFill>
                  <a:schemeClr val="tx1"/>
                </a:solidFill>
              </a:rPr>
              <a:t>(       )</a:t>
            </a:r>
            <a:r>
              <a:rPr lang="ko-KR" altLang="en-US" sz="1000" dirty="0">
                <a:solidFill>
                  <a:schemeClr val="tx1"/>
                </a:solidFill>
              </a:rPr>
              <a:t>을 확인하시고</a:t>
            </a:r>
            <a:r>
              <a:rPr lang="en-US" altLang="ko-KR" sz="1000" dirty="0">
                <a:solidFill>
                  <a:schemeClr val="tx1"/>
                </a:solidFill>
              </a:rPr>
              <a:t>,       </a:t>
            </a:r>
            <a:r>
              <a:rPr lang="ko-KR" altLang="en-US" sz="1000" dirty="0">
                <a:solidFill>
                  <a:schemeClr val="tx1"/>
                </a:solidFill>
              </a:rPr>
              <a:t>버튼을 클릭하여 해당 활동에 대한 세부 경영 가이드를 확인하시기 바랍니다</a:t>
            </a:r>
            <a:r>
              <a:rPr lang="en-US" altLang="ko-KR" sz="1000" dirty="0">
                <a:solidFill>
                  <a:schemeClr val="tx1"/>
                </a:solidFill>
              </a:rPr>
              <a:t>. 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9859908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7327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∙ 평가 및 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단위별로 사전에 설정된 로직에 따라 산정된 점수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정된 점수에 해당하는 위치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킹하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점수를 시각적으로 보여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동일 활동분류에 대한 경영가이드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수립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~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결과 미수행 활동은 경고 아이콘과 함께 붉은색 텍스트로 표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직은 질의항목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일 및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간이 표시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시작 첫 단계에서 응답한 업종이 표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주요수행 과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매핑 테이블에 따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,S,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영역별 주요 수행 과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 테이블은 엑셀로 별도 전달 예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58698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94" name="화살표: 오각형 93">
            <a:extLst>
              <a:ext uri="{FF2B5EF4-FFF2-40B4-BE49-F238E27FC236}">
                <a16:creationId xmlns:a16="http://schemas.microsoft.com/office/drawing/2014/main" id="{389C4E8F-3087-4CAB-8AB0-6B2088328DA9}"/>
              </a:ext>
            </a:extLst>
          </p:cNvPr>
          <p:cNvSpPr/>
          <p:nvPr/>
        </p:nvSpPr>
        <p:spPr>
          <a:xfrm>
            <a:off x="481806" y="2460962"/>
            <a:ext cx="1988974" cy="241685"/>
          </a:xfrm>
          <a:prstGeom prst="homePlate">
            <a:avLst>
              <a:gd name="adj" fmla="val 3230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</a:p>
        </p:txBody>
      </p:sp>
      <p:pic>
        <p:nvPicPr>
          <p:cNvPr id="64" name="그래픽 63" descr="경고 단색으로 채워진">
            <a:extLst>
              <a:ext uri="{FF2B5EF4-FFF2-40B4-BE49-F238E27FC236}">
                <a16:creationId xmlns:a16="http://schemas.microsoft.com/office/drawing/2014/main" id="{FA064271-F0BA-4F7A-85ED-E96D634D42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95600" y="2153340"/>
            <a:ext cx="169288" cy="169288"/>
          </a:xfrm>
          <a:prstGeom prst="rect">
            <a:avLst/>
          </a:prstGeom>
        </p:spPr>
      </p:pic>
      <p:pic>
        <p:nvPicPr>
          <p:cNvPr id="117" name="Picture 8" descr="외부 링크 ">
            <a:extLst>
              <a:ext uri="{FF2B5EF4-FFF2-40B4-BE49-F238E27FC236}">
                <a16:creationId xmlns:a16="http://schemas.microsoft.com/office/drawing/2014/main" id="{A1F97550-EF08-4731-9377-5E0105B8C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972" y="220758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2E677B-704F-401B-AF34-00771634322E}"/>
              </a:ext>
            </a:extLst>
          </p:cNvPr>
          <p:cNvSpPr/>
          <p:nvPr/>
        </p:nvSpPr>
        <p:spPr>
          <a:xfrm>
            <a:off x="4304485" y="1970455"/>
            <a:ext cx="3879748" cy="21400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4D43116-36AD-437B-89E6-E1C463FC84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 결과                                                                                                        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일</a:t>
            </a: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7-12  10:00]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5EC5FCC3-A235-4E8D-A9E7-00C4005F809C}"/>
              </a:ext>
            </a:extLst>
          </p:cNvPr>
          <p:cNvSpPr/>
          <p:nvPr/>
        </p:nvSpPr>
        <p:spPr>
          <a:xfrm>
            <a:off x="6960096" y="162978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258CDD36-53E7-4684-A52B-F419C776B06D}"/>
              </a:ext>
            </a:extLst>
          </p:cNvPr>
          <p:cNvSpPr/>
          <p:nvPr/>
        </p:nvSpPr>
        <p:spPr>
          <a:xfrm>
            <a:off x="4223518" y="18969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4" name="그룹 133">
            <a:extLst>
              <a:ext uri="{FF2B5EF4-FFF2-40B4-BE49-F238E27FC236}">
                <a16:creationId xmlns:a16="http://schemas.microsoft.com/office/drawing/2014/main" id="{27E98C5B-507D-4E43-BF53-B52822A16C67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35" name="그림 134">
              <a:extLst>
                <a:ext uri="{FF2B5EF4-FFF2-40B4-BE49-F238E27FC236}">
                  <a16:creationId xmlns:a16="http://schemas.microsoft.com/office/drawing/2014/main" id="{2285F583-85C7-41B9-A73F-D840FF92A7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A9F15B62-5C30-46C3-9B97-46603E919FDF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38" name="그림 137">
              <a:extLst>
                <a:ext uri="{FF2B5EF4-FFF2-40B4-BE49-F238E27FC236}">
                  <a16:creationId xmlns:a16="http://schemas.microsoft.com/office/drawing/2014/main" id="{1F9D75C0-07F6-4BF7-8792-3AF85667E4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C7F08370-2DC9-4CE0-B720-664F3E8E8998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55416EF9-7713-4F72-B06A-D5D980AE9CBE}"/>
              </a:ext>
            </a:extLst>
          </p:cNvPr>
          <p:cNvGraphicFramePr>
            <a:graphicFrameLocks noGrp="1"/>
          </p:cNvGraphicFramePr>
          <p:nvPr/>
        </p:nvGraphicFramePr>
        <p:xfrm>
          <a:off x="548173" y="3453020"/>
          <a:ext cx="1785131" cy="696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88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570043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전사 비전 수립</a:t>
                      </a: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중장기 목표 수립</a:t>
                      </a: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실행과제 및 계획 수립</a:t>
                      </a: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47067"/>
                  </a:ext>
                </a:extLst>
              </a:tr>
            </a:tbl>
          </a:graphicData>
        </a:graphic>
      </p:graphicFrame>
      <p:sp>
        <p:nvSpPr>
          <p:cNvPr id="129" name="사각형: 둥근 위쪽 모서리 128">
            <a:extLst>
              <a:ext uri="{FF2B5EF4-FFF2-40B4-BE49-F238E27FC236}">
                <a16:creationId xmlns:a16="http://schemas.microsoft.com/office/drawing/2014/main" id="{F8F41E5F-A801-4A24-9912-74A7507C25CD}"/>
              </a:ext>
            </a:extLst>
          </p:cNvPr>
          <p:cNvSpPr/>
          <p:nvPr/>
        </p:nvSpPr>
        <p:spPr>
          <a:xfrm>
            <a:off x="481017" y="3037027"/>
            <a:ext cx="1887481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경영전략 수립</a:t>
            </a:r>
          </a:p>
        </p:txBody>
      </p:sp>
      <p:pic>
        <p:nvPicPr>
          <p:cNvPr id="20" name="그래픽 19" descr="확인 표시 단색으로 채워진">
            <a:extLst>
              <a:ext uri="{FF2B5EF4-FFF2-40B4-BE49-F238E27FC236}">
                <a16:creationId xmlns:a16="http://schemas.microsoft.com/office/drawing/2014/main" id="{28EAD486-AF44-4C47-AF70-9CDC80AC6C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2617" y="3508813"/>
            <a:ext cx="147376" cy="147376"/>
          </a:xfrm>
          <a:prstGeom prst="rect">
            <a:avLst/>
          </a:prstGeom>
        </p:spPr>
      </p:pic>
      <p:pic>
        <p:nvPicPr>
          <p:cNvPr id="68" name="그래픽 67" descr="경고 단색으로 채워진">
            <a:extLst>
              <a:ext uri="{FF2B5EF4-FFF2-40B4-BE49-F238E27FC236}">
                <a16:creationId xmlns:a16="http://schemas.microsoft.com/office/drawing/2014/main" id="{78272BEE-9AA4-4DC3-82ED-AFFF53B9CE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993" y="3756739"/>
            <a:ext cx="144000" cy="144000"/>
          </a:xfrm>
          <a:prstGeom prst="rect">
            <a:avLst/>
          </a:prstGeom>
        </p:spPr>
      </p:pic>
      <p:pic>
        <p:nvPicPr>
          <p:cNvPr id="130" name="그래픽 129" descr="확인 표시 단색으로 채워진">
            <a:extLst>
              <a:ext uri="{FF2B5EF4-FFF2-40B4-BE49-F238E27FC236}">
                <a16:creationId xmlns:a16="http://schemas.microsoft.com/office/drawing/2014/main" id="{472E20B6-5B58-4B9A-87D3-38B34C3673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2617" y="3993686"/>
            <a:ext cx="147376" cy="147376"/>
          </a:xfrm>
          <a:prstGeom prst="rect">
            <a:avLst/>
          </a:prstGeom>
        </p:spPr>
      </p:pic>
      <p:grpSp>
        <p:nvGrpSpPr>
          <p:cNvPr id="23" name="그룹 22">
            <a:extLst>
              <a:ext uri="{FF2B5EF4-FFF2-40B4-BE49-F238E27FC236}">
                <a16:creationId xmlns:a16="http://schemas.microsoft.com/office/drawing/2014/main" id="{3319CCAE-0922-4488-B5B8-E606AD9844C1}"/>
              </a:ext>
            </a:extLst>
          </p:cNvPr>
          <p:cNvGrpSpPr/>
          <p:nvPr/>
        </p:nvGrpSpPr>
        <p:grpSpPr>
          <a:xfrm>
            <a:off x="2165571" y="3088737"/>
            <a:ext cx="114005" cy="120379"/>
            <a:chOff x="7495200" y="5128865"/>
            <a:chExt cx="114005" cy="120379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A454AF25-923B-487B-8390-BCF667655A7E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화살표: 왼쪽 21">
              <a:extLst>
                <a:ext uri="{FF2B5EF4-FFF2-40B4-BE49-F238E27FC236}">
                  <a16:creationId xmlns:a16="http://schemas.microsoft.com/office/drawing/2014/main" id="{876BCDAA-5486-4995-B38E-78AACC7D8E12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8AF4DE6F-9BD0-4190-BCF0-7686AFFBCF3A}"/>
              </a:ext>
            </a:extLst>
          </p:cNvPr>
          <p:cNvSpPr/>
          <p:nvPr/>
        </p:nvSpPr>
        <p:spPr>
          <a:xfrm>
            <a:off x="481018" y="4837647"/>
            <a:ext cx="1887481" cy="1543681"/>
          </a:xfrm>
          <a:prstGeom prst="roundRect">
            <a:avLst>
              <a:gd name="adj" fmla="val 5521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137" name="표 136">
            <a:extLst>
              <a:ext uri="{FF2B5EF4-FFF2-40B4-BE49-F238E27FC236}">
                <a16:creationId xmlns:a16="http://schemas.microsoft.com/office/drawing/2014/main" id="{3A02A5B6-2A3F-4B1D-9809-777BE994B4B5}"/>
              </a:ext>
            </a:extLst>
          </p:cNvPr>
          <p:cNvGraphicFramePr>
            <a:graphicFrameLocks noGrp="1"/>
          </p:cNvGraphicFramePr>
          <p:nvPr/>
        </p:nvGraphicFramePr>
        <p:xfrm>
          <a:off x="548173" y="5121666"/>
          <a:ext cx="1785131" cy="1160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88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570043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의사결정체계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경영관리체계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영역별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KPI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정의 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470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영역별 </a:t>
                      </a:r>
                      <a:r>
                        <a:rPr lang="ko-KR" altLang="en-US" sz="900" b="1" dirty="0" err="1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규정∙지침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 작성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8026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리스크</a:t>
                      </a:r>
                      <a:r>
                        <a:rPr lang="en-US" altLang="ko-KR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관리체계 수립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6194707"/>
                  </a:ext>
                </a:extLst>
              </a:tr>
            </a:tbl>
          </a:graphicData>
        </a:graphic>
      </p:graphicFrame>
      <p:sp>
        <p:nvSpPr>
          <p:cNvPr id="139" name="사각형: 둥근 위쪽 모서리 138">
            <a:extLst>
              <a:ext uri="{FF2B5EF4-FFF2-40B4-BE49-F238E27FC236}">
                <a16:creationId xmlns:a16="http://schemas.microsoft.com/office/drawing/2014/main" id="{8F9CA1EC-E9C9-4379-9C13-9ECD4FDAF938}"/>
              </a:ext>
            </a:extLst>
          </p:cNvPr>
          <p:cNvSpPr/>
          <p:nvPr/>
        </p:nvSpPr>
        <p:spPr>
          <a:xfrm>
            <a:off x="481017" y="4837648"/>
            <a:ext cx="1887481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경영체계 수립</a:t>
            </a:r>
          </a:p>
        </p:txBody>
      </p:sp>
      <p:pic>
        <p:nvPicPr>
          <p:cNvPr id="140" name="그래픽 139" descr="확인 표시 단색으로 채워진">
            <a:extLst>
              <a:ext uri="{FF2B5EF4-FFF2-40B4-BE49-F238E27FC236}">
                <a16:creationId xmlns:a16="http://schemas.microsoft.com/office/drawing/2014/main" id="{D7FD2489-A4CE-4754-8955-0CA32A804E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1009" y="5177459"/>
            <a:ext cx="147376" cy="147376"/>
          </a:xfrm>
          <a:prstGeom prst="rect">
            <a:avLst/>
          </a:prstGeom>
        </p:spPr>
      </p:pic>
      <p:pic>
        <p:nvPicPr>
          <p:cNvPr id="141" name="그래픽 140" descr="경고 단색으로 채워진">
            <a:extLst>
              <a:ext uri="{FF2B5EF4-FFF2-40B4-BE49-F238E27FC236}">
                <a16:creationId xmlns:a16="http://schemas.microsoft.com/office/drawing/2014/main" id="{473A7E65-954A-458F-9B2D-F0F59DA7D5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1009" y="5879315"/>
            <a:ext cx="144000" cy="144000"/>
          </a:xfrm>
          <a:prstGeom prst="rect">
            <a:avLst/>
          </a:prstGeom>
        </p:spPr>
      </p:pic>
      <p:pic>
        <p:nvPicPr>
          <p:cNvPr id="142" name="그래픽 141" descr="확인 표시 단색으로 채워진">
            <a:extLst>
              <a:ext uri="{FF2B5EF4-FFF2-40B4-BE49-F238E27FC236}">
                <a16:creationId xmlns:a16="http://schemas.microsoft.com/office/drawing/2014/main" id="{90981AFB-6CF6-42FC-A00A-4CF45C85DB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1009" y="5412536"/>
            <a:ext cx="147376" cy="147376"/>
          </a:xfrm>
          <a:prstGeom prst="rect">
            <a:avLst/>
          </a:prstGeom>
        </p:spPr>
      </p:pic>
      <p:grpSp>
        <p:nvGrpSpPr>
          <p:cNvPr id="143" name="그룹 142">
            <a:extLst>
              <a:ext uri="{FF2B5EF4-FFF2-40B4-BE49-F238E27FC236}">
                <a16:creationId xmlns:a16="http://schemas.microsoft.com/office/drawing/2014/main" id="{1AE4F0CB-8340-4B1F-A60E-EA5C43BF3D71}"/>
              </a:ext>
            </a:extLst>
          </p:cNvPr>
          <p:cNvGrpSpPr/>
          <p:nvPr/>
        </p:nvGrpSpPr>
        <p:grpSpPr>
          <a:xfrm>
            <a:off x="2165571" y="4889358"/>
            <a:ext cx="114005" cy="120379"/>
            <a:chOff x="7495200" y="5128865"/>
            <a:chExt cx="114005" cy="120379"/>
          </a:xfrm>
        </p:grpSpPr>
        <p:sp>
          <p:nvSpPr>
            <p:cNvPr id="144" name="사각형: 둥근 모서리 143">
              <a:extLst>
                <a:ext uri="{FF2B5EF4-FFF2-40B4-BE49-F238E27FC236}">
                  <a16:creationId xmlns:a16="http://schemas.microsoft.com/office/drawing/2014/main" id="{0FF9FE4E-861D-4848-B7A6-4BF5D3FCBCD4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5" name="화살표: 왼쪽 144">
              <a:extLst>
                <a:ext uri="{FF2B5EF4-FFF2-40B4-BE49-F238E27FC236}">
                  <a16:creationId xmlns:a16="http://schemas.microsoft.com/office/drawing/2014/main" id="{E5F530BC-0F35-4AC0-A898-1D4E00F20CA1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146" name="그래픽 145" descr="확인 표시 단색으로 채워진">
            <a:extLst>
              <a:ext uri="{FF2B5EF4-FFF2-40B4-BE49-F238E27FC236}">
                <a16:creationId xmlns:a16="http://schemas.microsoft.com/office/drawing/2014/main" id="{A16DFB91-2810-4A60-B06E-994FB1DFDA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1009" y="6111017"/>
            <a:ext cx="147376" cy="147376"/>
          </a:xfrm>
          <a:prstGeom prst="rect">
            <a:avLst/>
          </a:prstGeom>
        </p:spPr>
      </p:pic>
      <p:pic>
        <p:nvPicPr>
          <p:cNvPr id="147" name="그래픽 146" descr="경고 단색으로 채워진">
            <a:extLst>
              <a:ext uri="{FF2B5EF4-FFF2-40B4-BE49-F238E27FC236}">
                <a16:creationId xmlns:a16="http://schemas.microsoft.com/office/drawing/2014/main" id="{CF489FDD-97B8-4B7A-9A12-6162E2991D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1009" y="5647613"/>
            <a:ext cx="144000" cy="144000"/>
          </a:xfrm>
          <a:prstGeom prst="rect">
            <a:avLst/>
          </a:prstGeom>
        </p:spPr>
      </p:pic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09408143-C2F2-4783-9D92-F10A816229B9}"/>
              </a:ext>
            </a:extLst>
          </p:cNvPr>
          <p:cNvSpPr/>
          <p:nvPr/>
        </p:nvSpPr>
        <p:spPr>
          <a:xfrm>
            <a:off x="479426" y="2751110"/>
            <a:ext cx="1889073" cy="24168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  <a:cs typeface="함초롬바탕" panose="02030604000101010101" pitchFamily="18" charset="-127"/>
            </a:endParaRPr>
          </a:p>
        </p:txBody>
      </p:sp>
      <p:cxnSp>
        <p:nvCxnSpPr>
          <p:cNvPr id="155" name="직선 연결선 154">
            <a:extLst>
              <a:ext uri="{FF2B5EF4-FFF2-40B4-BE49-F238E27FC236}">
                <a16:creationId xmlns:a16="http://schemas.microsoft.com/office/drawing/2014/main" id="{6D3D1E40-C472-4155-95B1-FDFD4D1AB4D0}"/>
              </a:ext>
            </a:extLst>
          </p:cNvPr>
          <p:cNvCxnSpPr>
            <a:cxnSpLocks/>
            <a:stCxn id="156" idx="6"/>
            <a:endCxn id="160" idx="2"/>
          </p:cNvCxnSpPr>
          <p:nvPr/>
        </p:nvCxnSpPr>
        <p:spPr>
          <a:xfrm>
            <a:off x="680206" y="2871952"/>
            <a:ext cx="655676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6" name="타원 155">
            <a:extLst>
              <a:ext uri="{FF2B5EF4-FFF2-40B4-BE49-F238E27FC236}">
                <a16:creationId xmlns:a16="http://schemas.microsoft.com/office/drawing/2014/main" id="{C3CE502C-F3FE-4700-A8C8-B4E641311BC7}"/>
              </a:ext>
            </a:extLst>
          </p:cNvPr>
          <p:cNvSpPr/>
          <p:nvPr/>
        </p:nvSpPr>
        <p:spPr>
          <a:xfrm>
            <a:off x="536206" y="2799952"/>
            <a:ext cx="144000" cy="144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7" name="타원 156">
            <a:extLst>
              <a:ext uri="{FF2B5EF4-FFF2-40B4-BE49-F238E27FC236}">
                <a16:creationId xmlns:a16="http://schemas.microsoft.com/office/drawing/2014/main" id="{B5E0C954-BE55-4CBC-81EF-FC195492343C}"/>
              </a:ext>
            </a:extLst>
          </p:cNvPr>
          <p:cNvSpPr/>
          <p:nvPr/>
        </p:nvSpPr>
        <p:spPr>
          <a:xfrm>
            <a:off x="2135560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5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60" name="타원 159">
            <a:extLst>
              <a:ext uri="{FF2B5EF4-FFF2-40B4-BE49-F238E27FC236}">
                <a16:creationId xmlns:a16="http://schemas.microsoft.com/office/drawing/2014/main" id="{1B498EB2-E78C-42CA-8A8E-B8F89F8608EA}"/>
              </a:ext>
            </a:extLst>
          </p:cNvPr>
          <p:cNvSpPr/>
          <p:nvPr/>
        </p:nvSpPr>
        <p:spPr>
          <a:xfrm>
            <a:off x="1335882" y="2799952"/>
            <a:ext cx="144000" cy="144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8" name="타원 157">
            <a:extLst>
              <a:ext uri="{FF2B5EF4-FFF2-40B4-BE49-F238E27FC236}">
                <a16:creationId xmlns:a16="http://schemas.microsoft.com/office/drawing/2014/main" id="{70F1D2D9-D1C1-4B11-BBC5-483602AA0D64}"/>
              </a:ext>
            </a:extLst>
          </p:cNvPr>
          <p:cNvSpPr/>
          <p:nvPr/>
        </p:nvSpPr>
        <p:spPr>
          <a:xfrm>
            <a:off x="936044" y="2799952"/>
            <a:ext cx="144000" cy="144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48" name="직선 연결선 147">
            <a:extLst>
              <a:ext uri="{FF2B5EF4-FFF2-40B4-BE49-F238E27FC236}">
                <a16:creationId xmlns:a16="http://schemas.microsoft.com/office/drawing/2014/main" id="{414773A8-F487-42E4-8B37-75A60F2F25C4}"/>
              </a:ext>
            </a:extLst>
          </p:cNvPr>
          <p:cNvCxnSpPr>
            <a:cxnSpLocks/>
            <a:stCxn id="160" idx="6"/>
            <a:endCxn id="157" idx="2"/>
          </p:cNvCxnSpPr>
          <p:nvPr/>
        </p:nvCxnSpPr>
        <p:spPr>
          <a:xfrm>
            <a:off x="1479882" y="2871952"/>
            <a:ext cx="65567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9" name="타원 158">
            <a:extLst>
              <a:ext uri="{FF2B5EF4-FFF2-40B4-BE49-F238E27FC236}">
                <a16:creationId xmlns:a16="http://schemas.microsoft.com/office/drawing/2014/main" id="{625FEE40-F370-4793-A760-5DB3BF74B5A4}"/>
              </a:ext>
            </a:extLst>
          </p:cNvPr>
          <p:cNvSpPr/>
          <p:nvPr/>
        </p:nvSpPr>
        <p:spPr>
          <a:xfrm>
            <a:off x="1735720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4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C36142FB-D197-4AED-BD5D-059D050D9B28}"/>
              </a:ext>
            </a:extLst>
          </p:cNvPr>
          <p:cNvSpPr/>
          <p:nvPr/>
        </p:nvSpPr>
        <p:spPr>
          <a:xfrm>
            <a:off x="2497192" y="3037027"/>
            <a:ext cx="2145118" cy="1707226"/>
          </a:xfrm>
          <a:prstGeom prst="roundRect">
            <a:avLst>
              <a:gd name="adj" fmla="val 7408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8" name="화살표: 오각형 117">
            <a:extLst>
              <a:ext uri="{FF2B5EF4-FFF2-40B4-BE49-F238E27FC236}">
                <a16:creationId xmlns:a16="http://schemas.microsoft.com/office/drawing/2014/main" id="{000E3D8C-C168-4543-BEE8-C3062DCA465E}"/>
              </a:ext>
            </a:extLst>
          </p:cNvPr>
          <p:cNvSpPr/>
          <p:nvPr/>
        </p:nvSpPr>
        <p:spPr>
          <a:xfrm>
            <a:off x="2495600" y="2460962"/>
            <a:ext cx="4373620" cy="241685"/>
          </a:xfrm>
          <a:prstGeom prst="homePlate">
            <a:avLst>
              <a:gd name="adj" fmla="val 32301"/>
            </a:avLst>
          </a:prstGeom>
          <a:solidFill>
            <a:srgbClr val="4472C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</a:p>
        </p:txBody>
      </p:sp>
      <p:graphicFrame>
        <p:nvGraphicFramePr>
          <p:cNvPr id="120" name="표 119">
            <a:extLst>
              <a:ext uri="{FF2B5EF4-FFF2-40B4-BE49-F238E27FC236}">
                <a16:creationId xmlns:a16="http://schemas.microsoft.com/office/drawing/2014/main" id="{44C7AA91-C2EB-4B30-91E2-116EE7ABB480}"/>
              </a:ext>
            </a:extLst>
          </p:cNvPr>
          <p:cNvGraphicFramePr>
            <a:graphicFrameLocks noGrp="1"/>
          </p:cNvGraphicFramePr>
          <p:nvPr/>
        </p:nvGraphicFramePr>
        <p:xfrm>
          <a:off x="2564347" y="3321045"/>
          <a:ext cx="2028799" cy="139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온실가스 배출량 측정 및 개선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친환경 </a:t>
                      </a:r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품∙서비스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개발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378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생물다양성 보전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686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에너지 및 자원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폐기물 및 오염물질 처리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470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2575388"/>
                  </a:ext>
                </a:extLst>
              </a:tr>
            </a:tbl>
          </a:graphicData>
        </a:graphic>
      </p:graphicFrame>
      <p:sp>
        <p:nvSpPr>
          <p:cNvPr id="121" name="사각형: 둥근 위쪽 모서리 120">
            <a:extLst>
              <a:ext uri="{FF2B5EF4-FFF2-40B4-BE49-F238E27FC236}">
                <a16:creationId xmlns:a16="http://schemas.microsoft.com/office/drawing/2014/main" id="{493188DF-2BC7-485C-9594-65A5B65F8951}"/>
              </a:ext>
            </a:extLst>
          </p:cNvPr>
          <p:cNvSpPr/>
          <p:nvPr/>
        </p:nvSpPr>
        <p:spPr>
          <a:xfrm>
            <a:off x="2497191" y="3037027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/>
              <a:t>환경 과제이행</a:t>
            </a:r>
          </a:p>
        </p:txBody>
      </p:sp>
      <p:pic>
        <p:nvPicPr>
          <p:cNvPr id="131" name="그래픽 130" descr="확인 표시 단색으로 채워진">
            <a:extLst>
              <a:ext uri="{FF2B5EF4-FFF2-40B4-BE49-F238E27FC236}">
                <a16:creationId xmlns:a16="http://schemas.microsoft.com/office/drawing/2014/main" id="{E2F7BBA6-4839-4BA7-8F13-9380599361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13570" y="3376838"/>
            <a:ext cx="147376" cy="147376"/>
          </a:xfrm>
          <a:prstGeom prst="rect">
            <a:avLst/>
          </a:prstGeom>
        </p:spPr>
      </p:pic>
      <p:pic>
        <p:nvPicPr>
          <p:cNvPr id="132" name="그래픽 131" descr="경고 단색으로 채워진">
            <a:extLst>
              <a:ext uri="{FF2B5EF4-FFF2-40B4-BE49-F238E27FC236}">
                <a16:creationId xmlns:a16="http://schemas.microsoft.com/office/drawing/2014/main" id="{BD437C3C-0DD9-44EB-9892-6D7B3A7F4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5258" y="4070074"/>
            <a:ext cx="144000" cy="144000"/>
          </a:xfrm>
          <a:prstGeom prst="rect">
            <a:avLst/>
          </a:prstGeom>
        </p:spPr>
      </p:pic>
      <p:pic>
        <p:nvPicPr>
          <p:cNvPr id="149" name="그래픽 148" descr="확인 표시 단색으로 채워진">
            <a:extLst>
              <a:ext uri="{FF2B5EF4-FFF2-40B4-BE49-F238E27FC236}">
                <a16:creationId xmlns:a16="http://schemas.microsoft.com/office/drawing/2014/main" id="{A5ADA83A-01F7-4B7E-8C16-90CC9564DD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13570" y="3609042"/>
            <a:ext cx="147376" cy="147376"/>
          </a:xfrm>
          <a:prstGeom prst="rect">
            <a:avLst/>
          </a:prstGeom>
        </p:spPr>
      </p:pic>
      <p:grpSp>
        <p:nvGrpSpPr>
          <p:cNvPr id="150" name="그룹 149">
            <a:extLst>
              <a:ext uri="{FF2B5EF4-FFF2-40B4-BE49-F238E27FC236}">
                <a16:creationId xmlns:a16="http://schemas.microsoft.com/office/drawing/2014/main" id="{A8870BB5-B40F-46D0-9DCF-B8275AE20DCE}"/>
              </a:ext>
            </a:extLst>
          </p:cNvPr>
          <p:cNvGrpSpPr/>
          <p:nvPr/>
        </p:nvGrpSpPr>
        <p:grpSpPr>
          <a:xfrm>
            <a:off x="4181746" y="3088737"/>
            <a:ext cx="114005" cy="120379"/>
            <a:chOff x="7495200" y="5128865"/>
            <a:chExt cx="114005" cy="120379"/>
          </a:xfrm>
        </p:grpSpPr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80031E39-A280-4469-A304-04202136F37E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2" name="화살표: 왼쪽 151">
              <a:extLst>
                <a:ext uri="{FF2B5EF4-FFF2-40B4-BE49-F238E27FC236}">
                  <a16:creationId xmlns:a16="http://schemas.microsoft.com/office/drawing/2014/main" id="{18060914-6485-429C-8061-E55AE1285C34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70" name="사각형: 둥근 모서리 169">
            <a:extLst>
              <a:ext uri="{FF2B5EF4-FFF2-40B4-BE49-F238E27FC236}">
                <a16:creationId xmlns:a16="http://schemas.microsoft.com/office/drawing/2014/main" id="{A2762190-C13D-4595-96B7-6288BE859BE2}"/>
              </a:ext>
            </a:extLst>
          </p:cNvPr>
          <p:cNvSpPr/>
          <p:nvPr/>
        </p:nvSpPr>
        <p:spPr>
          <a:xfrm>
            <a:off x="2495600" y="2751110"/>
            <a:ext cx="4329883" cy="24168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  <a:cs typeface="함초롬바탕" panose="02030604000101010101" pitchFamily="18" charset="-127"/>
            </a:endParaRPr>
          </a:p>
        </p:txBody>
      </p:sp>
      <p:cxnSp>
        <p:nvCxnSpPr>
          <p:cNvPr id="171" name="직선 연결선 170">
            <a:extLst>
              <a:ext uri="{FF2B5EF4-FFF2-40B4-BE49-F238E27FC236}">
                <a16:creationId xmlns:a16="http://schemas.microsoft.com/office/drawing/2014/main" id="{48207D16-1210-4A1B-844E-584F65BA7B24}"/>
              </a:ext>
            </a:extLst>
          </p:cNvPr>
          <p:cNvCxnSpPr>
            <a:cxnSpLocks/>
            <a:stCxn id="172" idx="6"/>
            <a:endCxn id="174" idx="2"/>
          </p:cNvCxnSpPr>
          <p:nvPr/>
        </p:nvCxnSpPr>
        <p:spPr>
          <a:xfrm>
            <a:off x="3920582" y="2871952"/>
            <a:ext cx="691680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타원 171">
            <a:extLst>
              <a:ext uri="{FF2B5EF4-FFF2-40B4-BE49-F238E27FC236}">
                <a16:creationId xmlns:a16="http://schemas.microsoft.com/office/drawing/2014/main" id="{E96BAAF9-33B1-49EC-BBB7-0897F8998726}"/>
              </a:ext>
            </a:extLst>
          </p:cNvPr>
          <p:cNvSpPr/>
          <p:nvPr/>
        </p:nvSpPr>
        <p:spPr>
          <a:xfrm>
            <a:off x="3776582" y="2799952"/>
            <a:ext cx="14400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3" name="타원 172">
            <a:extLst>
              <a:ext uri="{FF2B5EF4-FFF2-40B4-BE49-F238E27FC236}">
                <a16:creationId xmlns:a16="http://schemas.microsoft.com/office/drawing/2014/main" id="{939592D9-AF55-4D7C-9E18-A230428FC1E8}"/>
              </a:ext>
            </a:extLst>
          </p:cNvPr>
          <p:cNvSpPr/>
          <p:nvPr/>
        </p:nvSpPr>
        <p:spPr>
          <a:xfrm>
            <a:off x="5447944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5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74" name="타원 173">
            <a:extLst>
              <a:ext uri="{FF2B5EF4-FFF2-40B4-BE49-F238E27FC236}">
                <a16:creationId xmlns:a16="http://schemas.microsoft.com/office/drawing/2014/main" id="{2119270D-70A5-4820-A636-ADB38D8927BD}"/>
              </a:ext>
            </a:extLst>
          </p:cNvPr>
          <p:cNvSpPr/>
          <p:nvPr/>
        </p:nvSpPr>
        <p:spPr>
          <a:xfrm>
            <a:off x="4612262" y="2799952"/>
            <a:ext cx="14400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5" name="타원 174">
            <a:extLst>
              <a:ext uri="{FF2B5EF4-FFF2-40B4-BE49-F238E27FC236}">
                <a16:creationId xmlns:a16="http://schemas.microsoft.com/office/drawing/2014/main" id="{4BC6C58D-ECB8-4795-AD25-FD7F539A7C1D}"/>
              </a:ext>
            </a:extLst>
          </p:cNvPr>
          <p:cNvSpPr/>
          <p:nvPr/>
        </p:nvSpPr>
        <p:spPr>
          <a:xfrm>
            <a:off x="4194422" y="2799952"/>
            <a:ext cx="14400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76" name="직선 연결선 175">
            <a:extLst>
              <a:ext uri="{FF2B5EF4-FFF2-40B4-BE49-F238E27FC236}">
                <a16:creationId xmlns:a16="http://schemas.microsoft.com/office/drawing/2014/main" id="{EA3ED391-6F50-46D5-88E3-AB26C68F0F62}"/>
              </a:ext>
            </a:extLst>
          </p:cNvPr>
          <p:cNvCxnSpPr>
            <a:cxnSpLocks/>
            <a:stCxn id="174" idx="6"/>
            <a:endCxn id="173" idx="2"/>
          </p:cNvCxnSpPr>
          <p:nvPr/>
        </p:nvCxnSpPr>
        <p:spPr>
          <a:xfrm>
            <a:off x="4756262" y="2871952"/>
            <a:ext cx="691682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7" name="타원 176">
            <a:extLst>
              <a:ext uri="{FF2B5EF4-FFF2-40B4-BE49-F238E27FC236}">
                <a16:creationId xmlns:a16="http://schemas.microsoft.com/office/drawing/2014/main" id="{C18D9BD5-9CDD-4E32-ACEB-067939DC3753}"/>
              </a:ext>
            </a:extLst>
          </p:cNvPr>
          <p:cNvSpPr/>
          <p:nvPr/>
        </p:nvSpPr>
        <p:spPr>
          <a:xfrm>
            <a:off x="5030102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4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197" name="사각형: 둥근 모서리 196">
            <a:extLst>
              <a:ext uri="{FF2B5EF4-FFF2-40B4-BE49-F238E27FC236}">
                <a16:creationId xmlns:a16="http://schemas.microsoft.com/office/drawing/2014/main" id="{518AF421-D29B-4863-B9DC-C8D9BB3E9E9A}"/>
              </a:ext>
            </a:extLst>
          </p:cNvPr>
          <p:cNvSpPr/>
          <p:nvPr/>
        </p:nvSpPr>
        <p:spPr>
          <a:xfrm>
            <a:off x="2497980" y="4836967"/>
            <a:ext cx="2145118" cy="1742269"/>
          </a:xfrm>
          <a:prstGeom prst="roundRect">
            <a:avLst>
              <a:gd name="adj" fmla="val 5521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198" name="표 197">
            <a:extLst>
              <a:ext uri="{FF2B5EF4-FFF2-40B4-BE49-F238E27FC236}">
                <a16:creationId xmlns:a16="http://schemas.microsoft.com/office/drawing/2014/main" id="{3AA65F4C-1FFA-4CDC-B27C-51E40BA41DB4}"/>
              </a:ext>
            </a:extLst>
          </p:cNvPr>
          <p:cNvGraphicFramePr>
            <a:graphicFrameLocks noGrp="1"/>
          </p:cNvGraphicFramePr>
          <p:nvPr/>
        </p:nvGraphicFramePr>
        <p:xfrm>
          <a:off x="2565135" y="5120986"/>
          <a:ext cx="2028799" cy="139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급망 </a:t>
                      </a:r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인권 이슈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3427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적자본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지역사회 공헌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470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소비자 보호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8026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6194707"/>
                  </a:ext>
                </a:extLst>
              </a:tr>
            </a:tbl>
          </a:graphicData>
        </a:graphic>
      </p:graphicFrame>
      <p:sp>
        <p:nvSpPr>
          <p:cNvPr id="199" name="사각형: 둥근 위쪽 모서리 198">
            <a:extLst>
              <a:ext uri="{FF2B5EF4-FFF2-40B4-BE49-F238E27FC236}">
                <a16:creationId xmlns:a16="http://schemas.microsoft.com/office/drawing/2014/main" id="{72086C70-D992-4C17-AAF1-37138C253475}"/>
              </a:ext>
            </a:extLst>
          </p:cNvPr>
          <p:cNvSpPr/>
          <p:nvPr/>
        </p:nvSpPr>
        <p:spPr>
          <a:xfrm>
            <a:off x="2497979" y="4836968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/>
              <a:t>사회 과제이행</a:t>
            </a:r>
          </a:p>
        </p:txBody>
      </p:sp>
      <p:pic>
        <p:nvPicPr>
          <p:cNvPr id="200" name="그래픽 199" descr="확인 표시 단색으로 채워진">
            <a:extLst>
              <a:ext uri="{FF2B5EF4-FFF2-40B4-BE49-F238E27FC236}">
                <a16:creationId xmlns:a16="http://schemas.microsoft.com/office/drawing/2014/main" id="{4C190B7A-1447-4AB1-85A2-C8A9624CCB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8160" y="5176779"/>
            <a:ext cx="147376" cy="147376"/>
          </a:xfrm>
          <a:prstGeom prst="rect">
            <a:avLst/>
          </a:prstGeom>
        </p:spPr>
      </p:pic>
      <p:pic>
        <p:nvPicPr>
          <p:cNvPr id="201" name="그래픽 200" descr="경고 단색으로 채워진">
            <a:extLst>
              <a:ext uri="{FF2B5EF4-FFF2-40B4-BE49-F238E27FC236}">
                <a16:creationId xmlns:a16="http://schemas.microsoft.com/office/drawing/2014/main" id="{2BDAF386-FC8D-45B8-B938-80729D4E5B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09848" y="5879201"/>
            <a:ext cx="144000" cy="144000"/>
          </a:xfrm>
          <a:prstGeom prst="rect">
            <a:avLst/>
          </a:prstGeom>
        </p:spPr>
      </p:pic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93CEF5A5-2A04-4BC8-BB31-C1CC1E808A55}"/>
              </a:ext>
            </a:extLst>
          </p:cNvPr>
          <p:cNvGrpSpPr/>
          <p:nvPr/>
        </p:nvGrpSpPr>
        <p:grpSpPr>
          <a:xfrm>
            <a:off x="4182534" y="4888678"/>
            <a:ext cx="114005" cy="120379"/>
            <a:chOff x="7495200" y="5128865"/>
            <a:chExt cx="114005" cy="120379"/>
          </a:xfrm>
        </p:grpSpPr>
        <p:sp>
          <p:nvSpPr>
            <p:cNvPr id="204" name="사각형: 둥근 모서리 203">
              <a:extLst>
                <a:ext uri="{FF2B5EF4-FFF2-40B4-BE49-F238E27FC236}">
                  <a16:creationId xmlns:a16="http://schemas.microsoft.com/office/drawing/2014/main" id="{C7CC9C42-9A0F-4E23-B48B-28F21C861D19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5" name="화살표: 왼쪽 204">
              <a:extLst>
                <a:ext uri="{FF2B5EF4-FFF2-40B4-BE49-F238E27FC236}">
                  <a16:creationId xmlns:a16="http://schemas.microsoft.com/office/drawing/2014/main" id="{2C00C224-BEB0-4AA1-96B2-9862EFA02770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06" name="그래픽 205" descr="확인 표시 단색으로 채워진">
            <a:extLst>
              <a:ext uri="{FF2B5EF4-FFF2-40B4-BE49-F238E27FC236}">
                <a16:creationId xmlns:a16="http://schemas.microsoft.com/office/drawing/2014/main" id="{9508A00C-A2B1-45BA-BCEC-607D4EEDCF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8160" y="6111091"/>
            <a:ext cx="147376" cy="147376"/>
          </a:xfrm>
          <a:prstGeom prst="rect">
            <a:avLst/>
          </a:prstGeom>
        </p:spPr>
      </p:pic>
      <p:pic>
        <p:nvPicPr>
          <p:cNvPr id="207" name="그래픽 206" descr="경고 단색으로 채워진">
            <a:extLst>
              <a:ext uri="{FF2B5EF4-FFF2-40B4-BE49-F238E27FC236}">
                <a16:creationId xmlns:a16="http://schemas.microsoft.com/office/drawing/2014/main" id="{65541C16-318E-429E-B875-C61CE48E47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09848" y="5412045"/>
            <a:ext cx="144000" cy="144000"/>
          </a:xfrm>
          <a:prstGeom prst="rect">
            <a:avLst/>
          </a:prstGeom>
        </p:spPr>
      </p:pic>
      <p:sp>
        <p:nvSpPr>
          <p:cNvPr id="209" name="사각형: 둥근 모서리 208">
            <a:extLst>
              <a:ext uri="{FF2B5EF4-FFF2-40B4-BE49-F238E27FC236}">
                <a16:creationId xmlns:a16="http://schemas.microsoft.com/office/drawing/2014/main" id="{BC6F3FB9-CDA6-4AA8-86E4-81491974F7C4}"/>
              </a:ext>
            </a:extLst>
          </p:cNvPr>
          <p:cNvSpPr/>
          <p:nvPr/>
        </p:nvSpPr>
        <p:spPr>
          <a:xfrm>
            <a:off x="4690013" y="3037027"/>
            <a:ext cx="2145118" cy="1707226"/>
          </a:xfrm>
          <a:prstGeom prst="roundRect">
            <a:avLst>
              <a:gd name="adj" fmla="val 7408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10" name="표 209">
            <a:extLst>
              <a:ext uri="{FF2B5EF4-FFF2-40B4-BE49-F238E27FC236}">
                <a16:creationId xmlns:a16="http://schemas.microsoft.com/office/drawing/2014/main" id="{D28D76E7-C99C-4CDC-AEAC-3C61B2C118EF}"/>
              </a:ext>
            </a:extLst>
          </p:cNvPr>
          <p:cNvGraphicFramePr>
            <a:graphicFrameLocks noGrp="1"/>
          </p:cNvGraphicFramePr>
          <p:nvPr/>
        </p:nvGraphicFramePr>
        <p:xfrm>
          <a:off x="4757168" y="3321045"/>
          <a:ext cx="2028799" cy="127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이사회 구성 및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R&amp;R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분담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통제 및 감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378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윤리경영 정책 준수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686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주권리 보장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거버넌스 과제이행 모니터링 및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147067"/>
                  </a:ext>
                </a:extLst>
              </a:tr>
            </a:tbl>
          </a:graphicData>
        </a:graphic>
      </p:graphicFrame>
      <p:sp>
        <p:nvSpPr>
          <p:cNvPr id="211" name="사각형: 둥근 위쪽 모서리 210">
            <a:extLst>
              <a:ext uri="{FF2B5EF4-FFF2-40B4-BE49-F238E27FC236}">
                <a16:creationId xmlns:a16="http://schemas.microsoft.com/office/drawing/2014/main" id="{A9F14B6A-D663-4BF1-8D39-6F4B4FCE0626}"/>
              </a:ext>
            </a:extLst>
          </p:cNvPr>
          <p:cNvSpPr/>
          <p:nvPr/>
        </p:nvSpPr>
        <p:spPr>
          <a:xfrm>
            <a:off x="4690012" y="3037027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/>
              <a:t>거버넌스 과제이행</a:t>
            </a:r>
          </a:p>
        </p:txBody>
      </p:sp>
      <p:pic>
        <p:nvPicPr>
          <p:cNvPr id="213" name="그래픽 212" descr="경고 단색으로 채워진">
            <a:extLst>
              <a:ext uri="{FF2B5EF4-FFF2-40B4-BE49-F238E27FC236}">
                <a16:creationId xmlns:a16="http://schemas.microsoft.com/office/drawing/2014/main" id="{DFC5918E-A701-4515-816D-3AFB22504E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4218" y="3356992"/>
            <a:ext cx="144000" cy="144000"/>
          </a:xfrm>
          <a:prstGeom prst="rect">
            <a:avLst/>
          </a:prstGeom>
        </p:spPr>
      </p:pic>
      <p:pic>
        <p:nvPicPr>
          <p:cNvPr id="214" name="그래픽 213" descr="확인 표시 단색으로 채워진">
            <a:extLst>
              <a:ext uri="{FF2B5EF4-FFF2-40B4-BE49-F238E27FC236}">
                <a16:creationId xmlns:a16="http://schemas.microsoft.com/office/drawing/2014/main" id="{8DFE015B-E03A-47D5-B6C2-BA3DC8EB41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2530" y="3827392"/>
            <a:ext cx="147376" cy="147376"/>
          </a:xfrm>
          <a:prstGeom prst="rect">
            <a:avLst/>
          </a:prstGeom>
        </p:spPr>
      </p:pic>
      <p:grpSp>
        <p:nvGrpSpPr>
          <p:cNvPr id="215" name="그룹 214">
            <a:extLst>
              <a:ext uri="{FF2B5EF4-FFF2-40B4-BE49-F238E27FC236}">
                <a16:creationId xmlns:a16="http://schemas.microsoft.com/office/drawing/2014/main" id="{63778BE1-F3C3-42B0-A7A0-BF88C962E21A}"/>
              </a:ext>
            </a:extLst>
          </p:cNvPr>
          <p:cNvGrpSpPr/>
          <p:nvPr/>
        </p:nvGrpSpPr>
        <p:grpSpPr>
          <a:xfrm>
            <a:off x="6374567" y="3088737"/>
            <a:ext cx="114005" cy="120379"/>
            <a:chOff x="7495200" y="5128865"/>
            <a:chExt cx="114005" cy="120379"/>
          </a:xfrm>
        </p:grpSpPr>
        <p:sp>
          <p:nvSpPr>
            <p:cNvPr id="216" name="사각형: 둥근 모서리 215">
              <a:extLst>
                <a:ext uri="{FF2B5EF4-FFF2-40B4-BE49-F238E27FC236}">
                  <a16:creationId xmlns:a16="http://schemas.microsoft.com/office/drawing/2014/main" id="{84ABCC98-C2E9-4157-B1AE-AB0BB2F4DF71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7" name="화살표: 왼쪽 216">
              <a:extLst>
                <a:ext uri="{FF2B5EF4-FFF2-40B4-BE49-F238E27FC236}">
                  <a16:creationId xmlns:a16="http://schemas.microsoft.com/office/drawing/2014/main" id="{A7B5A8A1-A66A-42F6-8988-214604230E95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18" name="사각형: 둥근 모서리 217">
            <a:extLst>
              <a:ext uri="{FF2B5EF4-FFF2-40B4-BE49-F238E27FC236}">
                <a16:creationId xmlns:a16="http://schemas.microsoft.com/office/drawing/2014/main" id="{BF42276F-DA9E-4B91-AF5E-5210908E60BF}"/>
              </a:ext>
            </a:extLst>
          </p:cNvPr>
          <p:cNvSpPr/>
          <p:nvPr/>
        </p:nvSpPr>
        <p:spPr>
          <a:xfrm>
            <a:off x="2495601" y="6676087"/>
            <a:ext cx="2145118" cy="785361"/>
          </a:xfrm>
          <a:prstGeom prst="roundRect">
            <a:avLst>
              <a:gd name="adj" fmla="val 1097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19" name="표 218">
            <a:extLst>
              <a:ext uri="{FF2B5EF4-FFF2-40B4-BE49-F238E27FC236}">
                <a16:creationId xmlns:a16="http://schemas.microsoft.com/office/drawing/2014/main" id="{235C9BE2-8B8B-4359-9CDE-895D144402A9}"/>
              </a:ext>
            </a:extLst>
          </p:cNvPr>
          <p:cNvGraphicFramePr>
            <a:graphicFrameLocks noGrp="1"/>
          </p:cNvGraphicFramePr>
          <p:nvPr/>
        </p:nvGraphicFramePr>
        <p:xfrm>
          <a:off x="2562756" y="6960106"/>
          <a:ext cx="2028799" cy="46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채권 발행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투자 및 심사 관리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342769"/>
                  </a:ext>
                </a:extLst>
              </a:tr>
            </a:tbl>
          </a:graphicData>
        </a:graphic>
      </p:graphicFrame>
      <p:sp>
        <p:nvSpPr>
          <p:cNvPr id="220" name="사각형: 둥근 위쪽 모서리 219">
            <a:extLst>
              <a:ext uri="{FF2B5EF4-FFF2-40B4-BE49-F238E27FC236}">
                <a16:creationId xmlns:a16="http://schemas.microsoft.com/office/drawing/2014/main" id="{0C9D6518-0BFE-4301-B60E-0E415BA9DD27}"/>
              </a:ext>
            </a:extLst>
          </p:cNvPr>
          <p:cNvSpPr/>
          <p:nvPr/>
        </p:nvSpPr>
        <p:spPr>
          <a:xfrm>
            <a:off x="2495600" y="6676088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/>
              <a:t>지속가능금융</a:t>
            </a:r>
          </a:p>
        </p:txBody>
      </p:sp>
      <p:pic>
        <p:nvPicPr>
          <p:cNvPr id="221" name="그래픽 220" descr="확인 표시 단색으로 채워진">
            <a:extLst>
              <a:ext uri="{FF2B5EF4-FFF2-40B4-BE49-F238E27FC236}">
                <a16:creationId xmlns:a16="http://schemas.microsoft.com/office/drawing/2014/main" id="{B7C09290-0C05-42C8-8174-ADF70CE14E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85593" y="7015899"/>
            <a:ext cx="147376" cy="147376"/>
          </a:xfrm>
          <a:prstGeom prst="rect">
            <a:avLst/>
          </a:prstGeom>
        </p:spPr>
      </p:pic>
      <p:pic>
        <p:nvPicPr>
          <p:cNvPr id="223" name="그래픽 222" descr="확인 표시 단색으로 채워진">
            <a:extLst>
              <a:ext uri="{FF2B5EF4-FFF2-40B4-BE49-F238E27FC236}">
                <a16:creationId xmlns:a16="http://schemas.microsoft.com/office/drawing/2014/main" id="{0A346FC5-4CDE-46C2-A022-4AE442E5FB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85593" y="7250976"/>
            <a:ext cx="147376" cy="147376"/>
          </a:xfrm>
          <a:prstGeom prst="rect">
            <a:avLst/>
          </a:prstGeom>
        </p:spPr>
      </p:pic>
      <p:grpSp>
        <p:nvGrpSpPr>
          <p:cNvPr id="224" name="그룹 223">
            <a:extLst>
              <a:ext uri="{FF2B5EF4-FFF2-40B4-BE49-F238E27FC236}">
                <a16:creationId xmlns:a16="http://schemas.microsoft.com/office/drawing/2014/main" id="{1959F061-AC38-4FED-A904-D4E6631A4733}"/>
              </a:ext>
            </a:extLst>
          </p:cNvPr>
          <p:cNvGrpSpPr/>
          <p:nvPr/>
        </p:nvGrpSpPr>
        <p:grpSpPr>
          <a:xfrm>
            <a:off x="4180155" y="6727798"/>
            <a:ext cx="114005" cy="120379"/>
            <a:chOff x="7495200" y="5128865"/>
            <a:chExt cx="114005" cy="120379"/>
          </a:xfrm>
        </p:grpSpPr>
        <p:sp>
          <p:nvSpPr>
            <p:cNvPr id="225" name="사각형: 둥근 모서리 224">
              <a:extLst>
                <a:ext uri="{FF2B5EF4-FFF2-40B4-BE49-F238E27FC236}">
                  <a16:creationId xmlns:a16="http://schemas.microsoft.com/office/drawing/2014/main" id="{861BCE33-37EB-4633-AEA3-46FB5A5E46CA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6" name="화살표: 왼쪽 225">
              <a:extLst>
                <a:ext uri="{FF2B5EF4-FFF2-40B4-BE49-F238E27FC236}">
                  <a16:creationId xmlns:a16="http://schemas.microsoft.com/office/drawing/2014/main" id="{3C291EE9-53C7-4DA4-9E9B-86B6EB131ACA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29" name="그래픽 228" descr="확인 표시 단색으로 채워진">
            <a:extLst>
              <a:ext uri="{FF2B5EF4-FFF2-40B4-BE49-F238E27FC236}">
                <a16:creationId xmlns:a16="http://schemas.microsoft.com/office/drawing/2014/main" id="{8B39AD76-1D4F-4935-AFA9-DF1EB670A2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8160" y="6346357"/>
            <a:ext cx="147376" cy="147376"/>
          </a:xfrm>
          <a:prstGeom prst="rect">
            <a:avLst/>
          </a:prstGeom>
        </p:spPr>
      </p:pic>
      <p:pic>
        <p:nvPicPr>
          <p:cNvPr id="230" name="그래픽 229" descr="확인 표시 단색으로 채워진">
            <a:extLst>
              <a:ext uri="{FF2B5EF4-FFF2-40B4-BE49-F238E27FC236}">
                <a16:creationId xmlns:a16="http://schemas.microsoft.com/office/drawing/2014/main" id="{C1B5BBAF-0B01-47B3-BF1E-375256522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8160" y="5643935"/>
            <a:ext cx="147376" cy="147376"/>
          </a:xfrm>
          <a:prstGeom prst="rect">
            <a:avLst/>
          </a:prstGeom>
        </p:spPr>
      </p:pic>
      <p:pic>
        <p:nvPicPr>
          <p:cNvPr id="231" name="그래픽 230" descr="확인 표시 단색으로 채워진">
            <a:extLst>
              <a:ext uri="{FF2B5EF4-FFF2-40B4-BE49-F238E27FC236}">
                <a16:creationId xmlns:a16="http://schemas.microsoft.com/office/drawing/2014/main" id="{57ABD30E-3D3C-4FB9-95EE-5C065E268E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13570" y="4527730"/>
            <a:ext cx="147376" cy="147376"/>
          </a:xfrm>
          <a:prstGeom prst="rect">
            <a:avLst/>
          </a:prstGeom>
        </p:spPr>
      </p:pic>
      <p:pic>
        <p:nvPicPr>
          <p:cNvPr id="232" name="그래픽 231" descr="경고 단색으로 채워진">
            <a:extLst>
              <a:ext uri="{FF2B5EF4-FFF2-40B4-BE49-F238E27FC236}">
                <a16:creationId xmlns:a16="http://schemas.microsoft.com/office/drawing/2014/main" id="{AA735F66-F3ED-46A8-A246-D6B4BF0155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5258" y="3841246"/>
            <a:ext cx="144000" cy="144000"/>
          </a:xfrm>
          <a:prstGeom prst="rect">
            <a:avLst/>
          </a:prstGeom>
        </p:spPr>
      </p:pic>
      <p:pic>
        <p:nvPicPr>
          <p:cNvPr id="233" name="그래픽 232" descr="확인 표시 단색으로 채워진">
            <a:extLst>
              <a:ext uri="{FF2B5EF4-FFF2-40B4-BE49-F238E27FC236}">
                <a16:creationId xmlns:a16="http://schemas.microsoft.com/office/drawing/2014/main" id="{F4800A80-30DE-4EFC-ACCD-79ED01EA81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2530" y="4064280"/>
            <a:ext cx="147376" cy="147376"/>
          </a:xfrm>
          <a:prstGeom prst="rect">
            <a:avLst/>
          </a:prstGeom>
        </p:spPr>
      </p:pic>
      <p:pic>
        <p:nvPicPr>
          <p:cNvPr id="234" name="그래픽 233" descr="확인 표시 단색으로 채워진">
            <a:extLst>
              <a:ext uri="{FF2B5EF4-FFF2-40B4-BE49-F238E27FC236}">
                <a16:creationId xmlns:a16="http://schemas.microsoft.com/office/drawing/2014/main" id="{D2E1ADE1-C0D5-4723-9E4F-F80616702B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2530" y="4301169"/>
            <a:ext cx="147376" cy="147376"/>
          </a:xfrm>
          <a:prstGeom prst="rect">
            <a:avLst/>
          </a:prstGeom>
        </p:spPr>
      </p:pic>
      <p:pic>
        <p:nvPicPr>
          <p:cNvPr id="235" name="그래픽 234" descr="확인 표시 단색으로 채워진">
            <a:extLst>
              <a:ext uri="{FF2B5EF4-FFF2-40B4-BE49-F238E27FC236}">
                <a16:creationId xmlns:a16="http://schemas.microsoft.com/office/drawing/2014/main" id="{B69CF7FB-6B10-4A23-A44E-C76AE73985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2530" y="3590504"/>
            <a:ext cx="147376" cy="147376"/>
          </a:xfrm>
          <a:prstGeom prst="rect">
            <a:avLst/>
          </a:prstGeom>
        </p:spPr>
      </p:pic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EDB104D1-ED3B-467A-937D-309477E207AC}"/>
              </a:ext>
            </a:extLst>
          </p:cNvPr>
          <p:cNvSpPr/>
          <p:nvPr/>
        </p:nvSpPr>
        <p:spPr>
          <a:xfrm>
            <a:off x="4690801" y="4832363"/>
            <a:ext cx="2145118" cy="900893"/>
          </a:xfrm>
          <a:prstGeom prst="roundRect">
            <a:avLst>
              <a:gd name="adj" fmla="val 1097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37" name="표 236">
            <a:extLst>
              <a:ext uri="{FF2B5EF4-FFF2-40B4-BE49-F238E27FC236}">
                <a16:creationId xmlns:a16="http://schemas.microsoft.com/office/drawing/2014/main" id="{64BF2503-3E3F-49CE-8024-E14993A7D8A1}"/>
              </a:ext>
            </a:extLst>
          </p:cNvPr>
          <p:cNvGraphicFramePr>
            <a:graphicFrameLocks noGrp="1"/>
          </p:cNvGraphicFramePr>
          <p:nvPr/>
        </p:nvGraphicFramePr>
        <p:xfrm>
          <a:off x="4757956" y="5116382"/>
          <a:ext cx="2028799" cy="578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후리스크에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따른 재무적 영향 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</a:t>
                      </a:r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·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회 영향 평가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342769"/>
                  </a:ext>
                </a:extLst>
              </a:tr>
            </a:tbl>
          </a:graphicData>
        </a:graphic>
      </p:graphicFrame>
      <p:sp>
        <p:nvSpPr>
          <p:cNvPr id="238" name="사각형: 둥근 위쪽 모서리 237">
            <a:extLst>
              <a:ext uri="{FF2B5EF4-FFF2-40B4-BE49-F238E27FC236}">
                <a16:creationId xmlns:a16="http://schemas.microsoft.com/office/drawing/2014/main" id="{F50EB118-7C02-47CA-AC27-FC706C81C0FC}"/>
              </a:ext>
            </a:extLst>
          </p:cNvPr>
          <p:cNvSpPr/>
          <p:nvPr/>
        </p:nvSpPr>
        <p:spPr>
          <a:xfrm>
            <a:off x="4690800" y="4832364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영향 평가</a:t>
            </a:r>
          </a:p>
        </p:txBody>
      </p:sp>
      <p:pic>
        <p:nvPicPr>
          <p:cNvPr id="239" name="그래픽 238" descr="확인 표시 단색으로 채워진">
            <a:extLst>
              <a:ext uri="{FF2B5EF4-FFF2-40B4-BE49-F238E27FC236}">
                <a16:creationId xmlns:a16="http://schemas.microsoft.com/office/drawing/2014/main" id="{1ABB2437-F6EA-4AF3-8980-CB152A2BA9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80793" y="5172175"/>
            <a:ext cx="147376" cy="147376"/>
          </a:xfrm>
          <a:prstGeom prst="rect">
            <a:avLst/>
          </a:prstGeom>
        </p:spPr>
      </p:pic>
      <p:pic>
        <p:nvPicPr>
          <p:cNvPr id="240" name="그래픽 239" descr="확인 표시 단색으로 채워진">
            <a:extLst>
              <a:ext uri="{FF2B5EF4-FFF2-40B4-BE49-F238E27FC236}">
                <a16:creationId xmlns:a16="http://schemas.microsoft.com/office/drawing/2014/main" id="{229F18F6-C31E-486A-A3AC-8FCC3E2684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80793" y="5480435"/>
            <a:ext cx="147376" cy="147376"/>
          </a:xfrm>
          <a:prstGeom prst="rect">
            <a:avLst/>
          </a:prstGeom>
        </p:spPr>
      </p:pic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C414DDAC-96FC-4E54-BC71-834B8ABE5396}"/>
              </a:ext>
            </a:extLst>
          </p:cNvPr>
          <p:cNvGrpSpPr/>
          <p:nvPr/>
        </p:nvGrpSpPr>
        <p:grpSpPr>
          <a:xfrm>
            <a:off x="6375355" y="4884074"/>
            <a:ext cx="114005" cy="120379"/>
            <a:chOff x="7495200" y="5128865"/>
            <a:chExt cx="114005" cy="120379"/>
          </a:xfrm>
        </p:grpSpPr>
        <p:sp>
          <p:nvSpPr>
            <p:cNvPr id="242" name="사각형: 둥근 모서리 241">
              <a:extLst>
                <a:ext uri="{FF2B5EF4-FFF2-40B4-BE49-F238E27FC236}">
                  <a16:creationId xmlns:a16="http://schemas.microsoft.com/office/drawing/2014/main" id="{7F64D835-FD23-4153-86D6-295BC2EF481A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3" name="화살표: 왼쪽 242">
              <a:extLst>
                <a:ext uri="{FF2B5EF4-FFF2-40B4-BE49-F238E27FC236}">
                  <a16:creationId xmlns:a16="http://schemas.microsoft.com/office/drawing/2014/main" id="{43361092-B34A-48D9-A723-2D161DCF3A74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45" name="사각형: 둥근 모서리 244">
            <a:extLst>
              <a:ext uri="{FF2B5EF4-FFF2-40B4-BE49-F238E27FC236}">
                <a16:creationId xmlns:a16="http://schemas.microsoft.com/office/drawing/2014/main" id="{6395FF30-F2D1-42BC-88BF-35FE2FFCBD26}"/>
              </a:ext>
            </a:extLst>
          </p:cNvPr>
          <p:cNvSpPr/>
          <p:nvPr/>
        </p:nvSpPr>
        <p:spPr>
          <a:xfrm>
            <a:off x="6942862" y="3037027"/>
            <a:ext cx="1887481" cy="565088"/>
          </a:xfrm>
          <a:prstGeom prst="roundRect">
            <a:avLst>
              <a:gd name="adj" fmla="val 1146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6" name="화살표: 오각형 245">
            <a:extLst>
              <a:ext uri="{FF2B5EF4-FFF2-40B4-BE49-F238E27FC236}">
                <a16:creationId xmlns:a16="http://schemas.microsoft.com/office/drawing/2014/main" id="{2D634F94-1511-42C0-A4CB-F74D0F6E521C}"/>
              </a:ext>
            </a:extLst>
          </p:cNvPr>
          <p:cNvSpPr/>
          <p:nvPr/>
        </p:nvSpPr>
        <p:spPr>
          <a:xfrm>
            <a:off x="6943649" y="2460962"/>
            <a:ext cx="1974111" cy="241685"/>
          </a:xfrm>
          <a:prstGeom prst="homePlate">
            <a:avLst>
              <a:gd name="adj" fmla="val 32301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∙ 인증</a:t>
            </a:r>
          </a:p>
        </p:txBody>
      </p:sp>
      <p:graphicFrame>
        <p:nvGraphicFramePr>
          <p:cNvPr id="247" name="표 246">
            <a:extLst>
              <a:ext uri="{FF2B5EF4-FFF2-40B4-BE49-F238E27FC236}">
                <a16:creationId xmlns:a16="http://schemas.microsoft.com/office/drawing/2014/main" id="{F7BF88EC-C255-43EB-AADE-4D5BDA979B86}"/>
              </a:ext>
            </a:extLst>
          </p:cNvPr>
          <p:cNvGraphicFramePr>
            <a:graphicFrameLocks noGrp="1"/>
          </p:cNvGraphicFramePr>
          <p:nvPr/>
        </p:nvGraphicFramePr>
        <p:xfrm>
          <a:off x="7010017" y="3321045"/>
          <a:ext cx="1785131" cy="232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88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570043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공시 보고서 작성</a:t>
                      </a: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</a:tbl>
          </a:graphicData>
        </a:graphic>
      </p:graphicFrame>
      <p:sp>
        <p:nvSpPr>
          <p:cNvPr id="248" name="사각형: 둥근 위쪽 모서리 247">
            <a:extLst>
              <a:ext uri="{FF2B5EF4-FFF2-40B4-BE49-F238E27FC236}">
                <a16:creationId xmlns:a16="http://schemas.microsoft.com/office/drawing/2014/main" id="{6C95A82D-EF9A-42F0-A7CC-8DC80DD9DCEB}"/>
              </a:ext>
            </a:extLst>
          </p:cNvPr>
          <p:cNvSpPr/>
          <p:nvPr/>
        </p:nvSpPr>
        <p:spPr>
          <a:xfrm>
            <a:off x="6942861" y="3037027"/>
            <a:ext cx="1887481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공시</a:t>
            </a:r>
          </a:p>
        </p:txBody>
      </p:sp>
      <p:grpSp>
        <p:nvGrpSpPr>
          <p:cNvPr id="252" name="그룹 251">
            <a:extLst>
              <a:ext uri="{FF2B5EF4-FFF2-40B4-BE49-F238E27FC236}">
                <a16:creationId xmlns:a16="http://schemas.microsoft.com/office/drawing/2014/main" id="{8FC42925-7A93-4586-AD79-8F1802A39799}"/>
              </a:ext>
            </a:extLst>
          </p:cNvPr>
          <p:cNvGrpSpPr/>
          <p:nvPr/>
        </p:nvGrpSpPr>
        <p:grpSpPr>
          <a:xfrm>
            <a:off x="8627415" y="3088737"/>
            <a:ext cx="114005" cy="120379"/>
            <a:chOff x="7495200" y="5128865"/>
            <a:chExt cx="114005" cy="120379"/>
          </a:xfrm>
        </p:grpSpPr>
        <p:sp>
          <p:nvSpPr>
            <p:cNvPr id="253" name="사각형: 둥근 모서리 252">
              <a:extLst>
                <a:ext uri="{FF2B5EF4-FFF2-40B4-BE49-F238E27FC236}">
                  <a16:creationId xmlns:a16="http://schemas.microsoft.com/office/drawing/2014/main" id="{6A498974-3D91-4D73-B0AC-C79B0932C925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4" name="화살표: 왼쪽 253">
              <a:extLst>
                <a:ext uri="{FF2B5EF4-FFF2-40B4-BE49-F238E27FC236}">
                  <a16:creationId xmlns:a16="http://schemas.microsoft.com/office/drawing/2014/main" id="{BA2B5B8A-1DAF-4D56-8309-FAE90F98C204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07400E5B-BECB-4D2A-8EC7-8739AB63BFA8}"/>
              </a:ext>
            </a:extLst>
          </p:cNvPr>
          <p:cNvSpPr/>
          <p:nvPr/>
        </p:nvSpPr>
        <p:spPr>
          <a:xfrm>
            <a:off x="6942862" y="4347226"/>
            <a:ext cx="1887481" cy="809966"/>
          </a:xfrm>
          <a:prstGeom prst="roundRect">
            <a:avLst>
              <a:gd name="adj" fmla="val 14615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56" name="표 255">
            <a:extLst>
              <a:ext uri="{FF2B5EF4-FFF2-40B4-BE49-F238E27FC236}">
                <a16:creationId xmlns:a16="http://schemas.microsoft.com/office/drawing/2014/main" id="{9DBA8568-5028-4AEA-97E9-3005D6E377B1}"/>
              </a:ext>
            </a:extLst>
          </p:cNvPr>
          <p:cNvGraphicFramePr>
            <a:graphicFrameLocks noGrp="1"/>
          </p:cNvGraphicFramePr>
          <p:nvPr/>
        </p:nvGraphicFramePr>
        <p:xfrm>
          <a:off x="7010017" y="4631244"/>
          <a:ext cx="1785131" cy="46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88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570043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제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자 인증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채권 외부 기관 검증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6194707"/>
                  </a:ext>
                </a:extLst>
              </a:tr>
            </a:tbl>
          </a:graphicData>
        </a:graphic>
      </p:graphicFrame>
      <p:sp>
        <p:nvSpPr>
          <p:cNvPr id="257" name="사각형: 둥근 위쪽 모서리 256">
            <a:extLst>
              <a:ext uri="{FF2B5EF4-FFF2-40B4-BE49-F238E27FC236}">
                <a16:creationId xmlns:a16="http://schemas.microsoft.com/office/drawing/2014/main" id="{D9295556-61AF-4335-AD9F-F6287D8F069A}"/>
              </a:ext>
            </a:extLst>
          </p:cNvPr>
          <p:cNvSpPr/>
          <p:nvPr/>
        </p:nvSpPr>
        <p:spPr>
          <a:xfrm>
            <a:off x="6942861" y="4347226"/>
            <a:ext cx="1887481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인증</a:t>
            </a:r>
          </a:p>
        </p:txBody>
      </p:sp>
      <p:pic>
        <p:nvPicPr>
          <p:cNvPr id="260" name="그래픽 259" descr="확인 표시 단색으로 채워진">
            <a:extLst>
              <a:ext uri="{FF2B5EF4-FFF2-40B4-BE49-F238E27FC236}">
                <a16:creationId xmlns:a16="http://schemas.microsoft.com/office/drawing/2014/main" id="{63FF92EB-06AF-471D-80A5-A155E0536E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2853" y="4922114"/>
            <a:ext cx="147376" cy="147376"/>
          </a:xfrm>
          <a:prstGeom prst="rect">
            <a:avLst/>
          </a:prstGeom>
        </p:spPr>
      </p:pic>
      <p:grpSp>
        <p:nvGrpSpPr>
          <p:cNvPr id="261" name="그룹 260">
            <a:extLst>
              <a:ext uri="{FF2B5EF4-FFF2-40B4-BE49-F238E27FC236}">
                <a16:creationId xmlns:a16="http://schemas.microsoft.com/office/drawing/2014/main" id="{A80697EE-9A26-4906-AAA4-51653116B8D1}"/>
              </a:ext>
            </a:extLst>
          </p:cNvPr>
          <p:cNvGrpSpPr/>
          <p:nvPr/>
        </p:nvGrpSpPr>
        <p:grpSpPr>
          <a:xfrm>
            <a:off x="8627415" y="4398936"/>
            <a:ext cx="114005" cy="120379"/>
            <a:chOff x="7495200" y="5128865"/>
            <a:chExt cx="114005" cy="120379"/>
          </a:xfrm>
        </p:grpSpPr>
        <p:sp>
          <p:nvSpPr>
            <p:cNvPr id="262" name="사각형: 둥근 모서리 261">
              <a:extLst>
                <a:ext uri="{FF2B5EF4-FFF2-40B4-BE49-F238E27FC236}">
                  <a16:creationId xmlns:a16="http://schemas.microsoft.com/office/drawing/2014/main" id="{2BAA32E3-1A26-4C0A-935D-669B67A068D8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3" name="화살표: 왼쪽 262">
              <a:extLst>
                <a:ext uri="{FF2B5EF4-FFF2-40B4-BE49-F238E27FC236}">
                  <a16:creationId xmlns:a16="http://schemas.microsoft.com/office/drawing/2014/main" id="{C7951031-DE11-4514-94B6-C40B4BB0D28F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266" name="사각형: 둥근 모서리 265">
            <a:extLst>
              <a:ext uri="{FF2B5EF4-FFF2-40B4-BE49-F238E27FC236}">
                <a16:creationId xmlns:a16="http://schemas.microsoft.com/office/drawing/2014/main" id="{3212A925-4638-49C2-8633-028BEA8564D7}"/>
              </a:ext>
            </a:extLst>
          </p:cNvPr>
          <p:cNvSpPr/>
          <p:nvPr/>
        </p:nvSpPr>
        <p:spPr>
          <a:xfrm>
            <a:off x="6941270" y="2751110"/>
            <a:ext cx="1889073" cy="24168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  <a:cs typeface="함초롬바탕" panose="02030604000101010101" pitchFamily="18" charset="-127"/>
            </a:endParaRPr>
          </a:p>
        </p:txBody>
      </p:sp>
      <p:cxnSp>
        <p:nvCxnSpPr>
          <p:cNvPr id="267" name="직선 연결선 266">
            <a:extLst>
              <a:ext uri="{FF2B5EF4-FFF2-40B4-BE49-F238E27FC236}">
                <a16:creationId xmlns:a16="http://schemas.microsoft.com/office/drawing/2014/main" id="{A20AFA54-E254-4CCF-A478-3FFB88E560A3}"/>
              </a:ext>
            </a:extLst>
          </p:cNvPr>
          <p:cNvCxnSpPr>
            <a:cxnSpLocks/>
            <a:stCxn id="268" idx="6"/>
            <a:endCxn id="271" idx="2"/>
          </p:cNvCxnSpPr>
          <p:nvPr/>
        </p:nvCxnSpPr>
        <p:spPr>
          <a:xfrm>
            <a:off x="7142050" y="2871952"/>
            <a:ext cx="255838" cy="0"/>
          </a:xfrm>
          <a:prstGeom prst="line">
            <a:avLst/>
          </a:prstGeom>
          <a:ln w="19050">
            <a:solidFill>
              <a:srgbClr val="4472C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8" name="타원 267">
            <a:extLst>
              <a:ext uri="{FF2B5EF4-FFF2-40B4-BE49-F238E27FC236}">
                <a16:creationId xmlns:a16="http://schemas.microsoft.com/office/drawing/2014/main" id="{2DBBF4B6-716E-44CE-819A-AC90741733E1}"/>
              </a:ext>
            </a:extLst>
          </p:cNvPr>
          <p:cNvSpPr/>
          <p:nvPr/>
        </p:nvSpPr>
        <p:spPr>
          <a:xfrm>
            <a:off x="6998050" y="2799952"/>
            <a:ext cx="144000" cy="14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9" name="타원 268">
            <a:extLst>
              <a:ext uri="{FF2B5EF4-FFF2-40B4-BE49-F238E27FC236}">
                <a16:creationId xmlns:a16="http://schemas.microsoft.com/office/drawing/2014/main" id="{CB4EC6DF-302C-41D9-9D87-6462736CC1E6}"/>
              </a:ext>
            </a:extLst>
          </p:cNvPr>
          <p:cNvSpPr/>
          <p:nvPr/>
        </p:nvSpPr>
        <p:spPr>
          <a:xfrm>
            <a:off x="8597404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5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71" name="타원 270">
            <a:extLst>
              <a:ext uri="{FF2B5EF4-FFF2-40B4-BE49-F238E27FC236}">
                <a16:creationId xmlns:a16="http://schemas.microsoft.com/office/drawing/2014/main" id="{AD7F0A05-B530-4BD7-829A-5A5B3CA447EA}"/>
              </a:ext>
            </a:extLst>
          </p:cNvPr>
          <p:cNvSpPr/>
          <p:nvPr/>
        </p:nvSpPr>
        <p:spPr>
          <a:xfrm>
            <a:off x="7397888" y="2799952"/>
            <a:ext cx="144000" cy="14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7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72" name="직선 연결선 271">
            <a:extLst>
              <a:ext uri="{FF2B5EF4-FFF2-40B4-BE49-F238E27FC236}">
                <a16:creationId xmlns:a16="http://schemas.microsoft.com/office/drawing/2014/main" id="{9BD5E33C-6DF6-4D7B-8332-DBC123FD15DE}"/>
              </a:ext>
            </a:extLst>
          </p:cNvPr>
          <p:cNvCxnSpPr>
            <a:cxnSpLocks/>
            <a:stCxn id="271" idx="6"/>
            <a:endCxn id="269" idx="2"/>
          </p:cNvCxnSpPr>
          <p:nvPr/>
        </p:nvCxnSpPr>
        <p:spPr>
          <a:xfrm>
            <a:off x="7541888" y="2871952"/>
            <a:ext cx="1055516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3" name="타원 272">
            <a:extLst>
              <a:ext uri="{FF2B5EF4-FFF2-40B4-BE49-F238E27FC236}">
                <a16:creationId xmlns:a16="http://schemas.microsoft.com/office/drawing/2014/main" id="{0A6FECCD-8048-4359-A869-53488CBAE74D}"/>
              </a:ext>
            </a:extLst>
          </p:cNvPr>
          <p:cNvSpPr/>
          <p:nvPr/>
        </p:nvSpPr>
        <p:spPr>
          <a:xfrm>
            <a:off x="8197564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4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8899DC20-E1C5-4731-8571-19581A6729A4}"/>
              </a:ext>
            </a:extLst>
          </p:cNvPr>
          <p:cNvSpPr/>
          <p:nvPr/>
        </p:nvSpPr>
        <p:spPr>
          <a:xfrm>
            <a:off x="6942862" y="3652945"/>
            <a:ext cx="1887481" cy="655375"/>
          </a:xfrm>
          <a:prstGeom prst="roundRect">
            <a:avLst>
              <a:gd name="adj" fmla="val 1146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75" name="표 274">
            <a:extLst>
              <a:ext uri="{FF2B5EF4-FFF2-40B4-BE49-F238E27FC236}">
                <a16:creationId xmlns:a16="http://schemas.microsoft.com/office/drawing/2014/main" id="{5A2BCE51-6EE7-4731-B039-145247B39F20}"/>
              </a:ext>
            </a:extLst>
          </p:cNvPr>
          <p:cNvGraphicFramePr>
            <a:graphicFrameLocks noGrp="1"/>
          </p:cNvGraphicFramePr>
          <p:nvPr/>
        </p:nvGraphicFramePr>
        <p:xfrm>
          <a:off x="7010017" y="3936964"/>
          <a:ext cx="1785131" cy="3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088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570043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평가기관 등급 관리 및 </a:t>
                      </a:r>
                      <a:b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개선활동</a:t>
                      </a: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</a:tbl>
          </a:graphicData>
        </a:graphic>
      </p:graphicFrame>
      <p:sp>
        <p:nvSpPr>
          <p:cNvPr id="276" name="사각형: 둥근 위쪽 모서리 275">
            <a:extLst>
              <a:ext uri="{FF2B5EF4-FFF2-40B4-BE49-F238E27FC236}">
                <a16:creationId xmlns:a16="http://schemas.microsoft.com/office/drawing/2014/main" id="{539A2CB1-C5D8-4FB1-AC60-7E8917C6A018}"/>
              </a:ext>
            </a:extLst>
          </p:cNvPr>
          <p:cNvSpPr/>
          <p:nvPr/>
        </p:nvSpPr>
        <p:spPr>
          <a:xfrm>
            <a:off x="6942861" y="3652946"/>
            <a:ext cx="1887481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평가</a:t>
            </a:r>
          </a:p>
        </p:txBody>
      </p: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9B0759FB-9DED-4D86-ACF7-24CADAB7EAB0}"/>
              </a:ext>
            </a:extLst>
          </p:cNvPr>
          <p:cNvGrpSpPr/>
          <p:nvPr/>
        </p:nvGrpSpPr>
        <p:grpSpPr>
          <a:xfrm>
            <a:off x="8627415" y="3704656"/>
            <a:ext cx="114005" cy="120379"/>
            <a:chOff x="7495200" y="5128865"/>
            <a:chExt cx="114005" cy="120379"/>
          </a:xfrm>
        </p:grpSpPr>
        <p:sp>
          <p:nvSpPr>
            <p:cNvPr id="279" name="사각형: 둥근 모서리 278">
              <a:extLst>
                <a:ext uri="{FF2B5EF4-FFF2-40B4-BE49-F238E27FC236}">
                  <a16:creationId xmlns:a16="http://schemas.microsoft.com/office/drawing/2014/main" id="{5D317282-6270-4C93-8895-6E6D86E78FA4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80" name="화살표: 왼쪽 279">
              <a:extLst>
                <a:ext uri="{FF2B5EF4-FFF2-40B4-BE49-F238E27FC236}">
                  <a16:creationId xmlns:a16="http://schemas.microsoft.com/office/drawing/2014/main" id="{72C3989E-DC6F-48A4-9E11-553912FF58F0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281" name="사각형: 둥근 모서리 280">
            <a:extLst>
              <a:ext uri="{FF2B5EF4-FFF2-40B4-BE49-F238E27FC236}">
                <a16:creationId xmlns:a16="http://schemas.microsoft.com/office/drawing/2014/main" id="{28301E3B-00F9-4C5D-A870-E5CFD7FA9440}"/>
              </a:ext>
            </a:extLst>
          </p:cNvPr>
          <p:cNvSpPr/>
          <p:nvPr/>
        </p:nvSpPr>
        <p:spPr>
          <a:xfrm>
            <a:off x="4690013" y="5828115"/>
            <a:ext cx="2145118" cy="1633333"/>
          </a:xfrm>
          <a:prstGeom prst="roundRect">
            <a:avLst>
              <a:gd name="adj" fmla="val 7408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82" name="표 281">
            <a:extLst>
              <a:ext uri="{FF2B5EF4-FFF2-40B4-BE49-F238E27FC236}">
                <a16:creationId xmlns:a16="http://schemas.microsoft.com/office/drawing/2014/main" id="{E9D3E686-0041-4ACD-B9CB-DB049F37DA6F}"/>
              </a:ext>
            </a:extLst>
          </p:cNvPr>
          <p:cNvGraphicFramePr>
            <a:graphicFrameLocks noGrp="1"/>
          </p:cNvGraphicFramePr>
          <p:nvPr/>
        </p:nvGraphicFramePr>
        <p:xfrm>
          <a:off x="4757168" y="6112134"/>
          <a:ext cx="2028799" cy="1270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447">
                  <a:extLst>
                    <a:ext uri="{9D8B030D-6E8A-4147-A177-3AD203B41FA5}">
                      <a16:colId xmlns:a16="http://schemas.microsoft.com/office/drawing/2014/main" val="3540080859"/>
                    </a:ext>
                  </a:extLst>
                </a:gridCol>
                <a:gridCol w="1784352">
                  <a:extLst>
                    <a:ext uri="{9D8B030D-6E8A-4147-A177-3AD203B41FA5}">
                      <a16:colId xmlns:a16="http://schemas.microsoft.com/office/drawing/2014/main" val="2231972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∙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지표 측정 및 모니터링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463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전사 </a:t>
                      </a:r>
                      <a:r>
                        <a:rPr lang="en-US" altLang="ko-KR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데이터 통합관리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378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요 </a:t>
                      </a:r>
                      <a:r>
                        <a:rPr lang="ko-KR" altLang="en-US" sz="9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시∙보고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시스템 구축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686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보 기반 경영관리시스템 고도화</a:t>
                      </a:r>
                    </a:p>
                  </a:txBody>
                  <a:tcPr marL="36000" marR="36000" marT="3600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183343"/>
                  </a:ext>
                </a:extLst>
              </a:tr>
            </a:tbl>
          </a:graphicData>
        </a:graphic>
      </p:graphicFrame>
      <p:sp>
        <p:nvSpPr>
          <p:cNvPr id="283" name="사각형: 둥근 위쪽 모서리 282">
            <a:extLst>
              <a:ext uri="{FF2B5EF4-FFF2-40B4-BE49-F238E27FC236}">
                <a16:creationId xmlns:a16="http://schemas.microsoft.com/office/drawing/2014/main" id="{A5783E49-56B8-4EDD-9581-92BC03915AFB}"/>
              </a:ext>
            </a:extLst>
          </p:cNvPr>
          <p:cNvSpPr/>
          <p:nvPr/>
        </p:nvSpPr>
        <p:spPr>
          <a:xfrm>
            <a:off x="4690012" y="5828116"/>
            <a:ext cx="2145118" cy="246864"/>
          </a:xfrm>
          <a:prstGeom prst="round2SameRect">
            <a:avLst>
              <a:gd name="adj1" fmla="val 45308"/>
              <a:gd name="adj2" fmla="val 0"/>
            </a:avLst>
          </a:prstGeom>
          <a:solidFill>
            <a:srgbClr val="4472C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/>
              <a:t>ESG </a:t>
            </a:r>
            <a:r>
              <a:rPr lang="ko-KR" altLang="en-US" sz="1100" b="1" dirty="0"/>
              <a:t>시스템 운영</a:t>
            </a:r>
          </a:p>
        </p:txBody>
      </p:sp>
      <p:sp>
        <p:nvSpPr>
          <p:cNvPr id="270" name="타원 269">
            <a:extLst>
              <a:ext uri="{FF2B5EF4-FFF2-40B4-BE49-F238E27FC236}">
                <a16:creationId xmlns:a16="http://schemas.microsoft.com/office/drawing/2014/main" id="{5DD42D7A-031D-423F-AB71-8D0DFF4AE33B}"/>
              </a:ext>
            </a:extLst>
          </p:cNvPr>
          <p:cNvSpPr/>
          <p:nvPr/>
        </p:nvSpPr>
        <p:spPr>
          <a:xfrm>
            <a:off x="7797726" y="2799952"/>
            <a:ext cx="144000" cy="14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3</a:t>
            </a:r>
            <a:endParaRPr lang="ko-KR" altLang="en-US" sz="7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pic>
        <p:nvPicPr>
          <p:cNvPr id="284" name="그래픽 283" descr="확인 표시 단색으로 채워진">
            <a:extLst>
              <a:ext uri="{FF2B5EF4-FFF2-40B4-BE49-F238E27FC236}">
                <a16:creationId xmlns:a16="http://schemas.microsoft.com/office/drawing/2014/main" id="{815C59B7-FB61-4C7F-A90E-CE7EF000C5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0984" y="6808859"/>
            <a:ext cx="147376" cy="147376"/>
          </a:xfrm>
          <a:prstGeom prst="rect">
            <a:avLst/>
          </a:prstGeom>
        </p:spPr>
      </p:pic>
      <p:pic>
        <p:nvPicPr>
          <p:cNvPr id="285" name="그래픽 284" descr="확인 표시 단색으로 채워진">
            <a:extLst>
              <a:ext uri="{FF2B5EF4-FFF2-40B4-BE49-F238E27FC236}">
                <a16:creationId xmlns:a16="http://schemas.microsoft.com/office/drawing/2014/main" id="{42B8DBDC-6D19-497F-ACD7-F1F15CECE3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0984" y="7120899"/>
            <a:ext cx="147376" cy="147376"/>
          </a:xfrm>
          <a:prstGeom prst="rect">
            <a:avLst/>
          </a:prstGeom>
        </p:spPr>
      </p:pic>
      <p:pic>
        <p:nvPicPr>
          <p:cNvPr id="286" name="그래픽 285" descr="확인 표시 단색으로 채워진">
            <a:extLst>
              <a:ext uri="{FF2B5EF4-FFF2-40B4-BE49-F238E27FC236}">
                <a16:creationId xmlns:a16="http://schemas.microsoft.com/office/drawing/2014/main" id="{563D51EC-B2DA-4208-BDD0-9F4A9D24DB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0984" y="6188155"/>
            <a:ext cx="147376" cy="147376"/>
          </a:xfrm>
          <a:prstGeom prst="rect">
            <a:avLst/>
          </a:prstGeom>
        </p:spPr>
      </p:pic>
      <p:pic>
        <p:nvPicPr>
          <p:cNvPr id="287" name="그래픽 286" descr="경고 단색으로 채워진">
            <a:extLst>
              <a:ext uri="{FF2B5EF4-FFF2-40B4-BE49-F238E27FC236}">
                <a16:creationId xmlns:a16="http://schemas.microsoft.com/office/drawing/2014/main" id="{681E56B1-18C9-4191-A47B-D64F7CBB78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2672" y="6500195"/>
            <a:ext cx="144000" cy="144000"/>
          </a:xfrm>
          <a:prstGeom prst="rect">
            <a:avLst/>
          </a:prstGeom>
        </p:spPr>
      </p:pic>
      <p:grpSp>
        <p:nvGrpSpPr>
          <p:cNvPr id="288" name="그룹 287">
            <a:extLst>
              <a:ext uri="{FF2B5EF4-FFF2-40B4-BE49-F238E27FC236}">
                <a16:creationId xmlns:a16="http://schemas.microsoft.com/office/drawing/2014/main" id="{6CDC5745-E388-4E98-80F5-BF5FB23B70B0}"/>
              </a:ext>
            </a:extLst>
          </p:cNvPr>
          <p:cNvGrpSpPr/>
          <p:nvPr/>
        </p:nvGrpSpPr>
        <p:grpSpPr>
          <a:xfrm>
            <a:off x="6375355" y="5861603"/>
            <a:ext cx="114005" cy="120379"/>
            <a:chOff x="7495200" y="5128865"/>
            <a:chExt cx="114005" cy="120379"/>
          </a:xfrm>
        </p:grpSpPr>
        <p:sp>
          <p:nvSpPr>
            <p:cNvPr id="289" name="사각형: 둥근 모서리 288">
              <a:extLst>
                <a:ext uri="{FF2B5EF4-FFF2-40B4-BE49-F238E27FC236}">
                  <a16:creationId xmlns:a16="http://schemas.microsoft.com/office/drawing/2014/main" id="{7BE0BBB9-6215-42E1-B605-64D9E4D2AD70}"/>
                </a:ext>
              </a:extLst>
            </p:cNvPr>
            <p:cNvSpPr/>
            <p:nvPr/>
          </p:nvSpPr>
          <p:spPr>
            <a:xfrm>
              <a:off x="7495200" y="5177244"/>
              <a:ext cx="72000" cy="72000"/>
            </a:xfrm>
            <a:prstGeom prst="round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90" name="화살표: 왼쪽 289">
              <a:extLst>
                <a:ext uri="{FF2B5EF4-FFF2-40B4-BE49-F238E27FC236}">
                  <a16:creationId xmlns:a16="http://schemas.microsoft.com/office/drawing/2014/main" id="{761D42D2-75EC-41F1-955C-80EFDD832495}"/>
                </a:ext>
              </a:extLst>
            </p:cNvPr>
            <p:cNvSpPr/>
            <p:nvPr/>
          </p:nvSpPr>
          <p:spPr>
            <a:xfrm rot="8129219">
              <a:off x="7518825" y="5128865"/>
              <a:ext cx="90380" cy="101066"/>
            </a:xfrm>
            <a:prstGeom prst="leftArrow">
              <a:avLst>
                <a:gd name="adj1" fmla="val 39291"/>
                <a:gd name="adj2" fmla="val 54661"/>
              </a:avLst>
            </a:prstGeom>
            <a:solidFill>
              <a:schemeClr val="bg1"/>
            </a:solidFill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67" name="그래픽 166" descr="경고 단색으로 채워진">
            <a:extLst>
              <a:ext uri="{FF2B5EF4-FFF2-40B4-BE49-F238E27FC236}">
                <a16:creationId xmlns:a16="http://schemas.microsoft.com/office/drawing/2014/main" id="{F40BF412-4D4C-498C-8A42-84491E41CD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5258" y="4298902"/>
            <a:ext cx="144000" cy="144000"/>
          </a:xfrm>
          <a:prstGeom prst="rect">
            <a:avLst/>
          </a:prstGeom>
        </p:spPr>
      </p:pic>
      <p:pic>
        <p:nvPicPr>
          <p:cNvPr id="168" name="그래픽 167" descr="경고 단색으로 채워진">
            <a:extLst>
              <a:ext uri="{FF2B5EF4-FFF2-40B4-BE49-F238E27FC236}">
                <a16:creationId xmlns:a16="http://schemas.microsoft.com/office/drawing/2014/main" id="{D749E9B0-8949-42D8-A6C8-F7B2383246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36229" y="3363246"/>
            <a:ext cx="144000" cy="144000"/>
          </a:xfrm>
          <a:prstGeom prst="rect">
            <a:avLst/>
          </a:prstGeom>
        </p:spPr>
      </p:pic>
      <p:pic>
        <p:nvPicPr>
          <p:cNvPr id="169" name="그래픽 168" descr="경고 단색으로 채워진">
            <a:extLst>
              <a:ext uri="{FF2B5EF4-FFF2-40B4-BE49-F238E27FC236}">
                <a16:creationId xmlns:a16="http://schemas.microsoft.com/office/drawing/2014/main" id="{A960AD4A-8724-44E8-A1FD-23E5551078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36229" y="4021278"/>
            <a:ext cx="144000" cy="144000"/>
          </a:xfrm>
          <a:prstGeom prst="rect">
            <a:avLst/>
          </a:prstGeom>
        </p:spPr>
      </p:pic>
      <p:pic>
        <p:nvPicPr>
          <p:cNvPr id="178" name="그래픽 177" descr="경고 단색으로 채워진">
            <a:extLst>
              <a:ext uri="{FF2B5EF4-FFF2-40B4-BE49-F238E27FC236}">
                <a16:creationId xmlns:a16="http://schemas.microsoft.com/office/drawing/2014/main" id="{5D41DA39-0747-43C5-B1FC-66936268D5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36229" y="4679000"/>
            <a:ext cx="144000" cy="144000"/>
          </a:xfrm>
          <a:prstGeom prst="rect">
            <a:avLst/>
          </a:prstGeom>
        </p:spPr>
      </p:pic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5EB214A4-6D1D-4E3B-9C21-C6ED05E278E7}"/>
              </a:ext>
            </a:extLst>
          </p:cNvPr>
          <p:cNvSpPr/>
          <p:nvPr/>
        </p:nvSpPr>
        <p:spPr>
          <a:xfrm>
            <a:off x="481805" y="7632372"/>
            <a:ext cx="8348537" cy="2227536"/>
          </a:xfrm>
          <a:prstGeom prst="roundRect">
            <a:avLst>
              <a:gd name="adj" fmla="val 0"/>
            </a:avLst>
          </a:prstGeom>
          <a:solidFill>
            <a:srgbClr val="E5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0" rIns="108000" bIns="144000" rtlCol="0" anchor="t"/>
          <a:lstStyle/>
          <a:p>
            <a:pPr>
              <a:lnSpc>
                <a:spcPct val="120000"/>
              </a:lnSpc>
            </a:pPr>
            <a:endParaRPr lang="en-US" altLang="ko-KR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     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프로세스 중 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ESG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’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단계 수행 시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사가 속해 있는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류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액세서리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치품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업종은 </a:t>
            </a:r>
            <a:b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                         ESG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위험 요소를 효과적으로 관리하고 공시 및 평가에 선제적으로 대응하기 위해 다음의 세부 활동 수행에 조금 더 신경 쓸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요가 있습니다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endParaRPr lang="ko-KR" altLang="en-US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" name="표 5">
            <a:extLst>
              <a:ext uri="{FF2B5EF4-FFF2-40B4-BE49-F238E27FC236}">
                <a16:creationId xmlns:a16="http://schemas.microsoft.com/office/drawing/2014/main" id="{42DC2B1A-8712-434C-822C-06B9DACF9A0F}"/>
              </a:ext>
            </a:extLst>
          </p:cNvPr>
          <p:cNvGraphicFramePr>
            <a:graphicFrameLocks noGrp="1"/>
          </p:cNvGraphicFramePr>
          <p:nvPr/>
        </p:nvGraphicFramePr>
        <p:xfrm>
          <a:off x="686159" y="8325544"/>
          <a:ext cx="7939828" cy="13733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3600">
                  <a:extLst>
                    <a:ext uri="{9D8B030D-6E8A-4147-A177-3AD203B41FA5}">
                      <a16:colId xmlns:a16="http://schemas.microsoft.com/office/drawing/2014/main" val="79160287"/>
                    </a:ext>
                  </a:extLst>
                </a:gridCol>
                <a:gridCol w="7476228">
                  <a:extLst>
                    <a:ext uri="{9D8B030D-6E8A-4147-A177-3AD203B41FA5}">
                      <a16:colId xmlns:a16="http://schemas.microsoft.com/office/drawing/2014/main" val="2517569516"/>
                    </a:ext>
                  </a:extLst>
                </a:gridCol>
              </a:tblGrid>
              <a:tr h="33571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>
                          <a:latin typeface="+mn-ea"/>
                          <a:ea typeface="+mn-ea"/>
                        </a:rPr>
                        <a:t>영역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>
                          <a:latin typeface="+mn-ea"/>
                          <a:ea typeface="+mn-ea"/>
                        </a:rPr>
                        <a:t>주요 수행 과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1287546"/>
                  </a:ext>
                </a:extLst>
              </a:tr>
              <a:tr h="3458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E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607106"/>
                  </a:ext>
                </a:extLst>
              </a:tr>
              <a:tr h="3458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S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536266"/>
                  </a:ext>
                </a:extLst>
              </a:tr>
              <a:tr h="3458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G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550396"/>
                  </a:ext>
                </a:extLst>
              </a:tr>
            </a:tbl>
          </a:graphicData>
        </a:graphic>
      </p:graphicFrame>
      <p:sp>
        <p:nvSpPr>
          <p:cNvPr id="6" name="말풍선: 타원형 5">
            <a:extLst>
              <a:ext uri="{FF2B5EF4-FFF2-40B4-BE49-F238E27FC236}">
                <a16:creationId xmlns:a16="http://schemas.microsoft.com/office/drawing/2014/main" id="{1D44B228-8072-4DC1-93AC-63439CC9BA59}"/>
              </a:ext>
            </a:extLst>
          </p:cNvPr>
          <p:cNvSpPr/>
          <p:nvPr/>
        </p:nvSpPr>
        <p:spPr>
          <a:xfrm>
            <a:off x="567158" y="7677472"/>
            <a:ext cx="912723" cy="435584"/>
          </a:xfrm>
          <a:prstGeom prst="wedgeEllipseCallout">
            <a:avLst>
              <a:gd name="adj1" fmla="val 45804"/>
              <a:gd name="adj2" fmla="val 436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b="1" dirty="0">
                <a:latin typeface="+mn-ea"/>
              </a:rPr>
              <a:t>삼일 </a:t>
            </a:r>
            <a:r>
              <a:rPr lang="en-US" altLang="ko-KR" sz="1000" b="1" dirty="0">
                <a:latin typeface="+mn-ea"/>
              </a:rPr>
              <a:t>comment</a:t>
            </a:r>
            <a:endParaRPr lang="ko-KR" altLang="en-US" sz="1000" b="1" dirty="0">
              <a:latin typeface="+mn-ea"/>
            </a:endParaRPr>
          </a:p>
        </p:txBody>
      </p:sp>
      <p:sp>
        <p:nvSpPr>
          <p:cNvPr id="164" name="사각형: 둥근 모서리 163">
            <a:extLst>
              <a:ext uri="{FF2B5EF4-FFF2-40B4-BE49-F238E27FC236}">
                <a16:creationId xmlns:a16="http://schemas.microsoft.com/office/drawing/2014/main" id="{9D6F2DAB-1ED9-4CC4-B902-814C4F22EBC9}"/>
              </a:ext>
            </a:extLst>
          </p:cNvPr>
          <p:cNvSpPr/>
          <p:nvPr/>
        </p:nvSpPr>
        <p:spPr>
          <a:xfrm>
            <a:off x="1192630" y="8735750"/>
            <a:ext cx="1870620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온실가스 배출량 측정 및 개선</a:t>
            </a: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01B1E64D-4A15-4C43-B0D0-3AD88AD034D6}"/>
              </a:ext>
            </a:extLst>
          </p:cNvPr>
          <p:cNvSpPr/>
          <p:nvPr/>
        </p:nvSpPr>
        <p:spPr>
          <a:xfrm>
            <a:off x="3137312" y="8735750"/>
            <a:ext cx="1146235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에너지 사용 관리</a:t>
            </a: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8E2E45CC-CECB-4F5F-B010-21B5732D8CDE}"/>
              </a:ext>
            </a:extLst>
          </p:cNvPr>
          <p:cNvSpPr/>
          <p:nvPr/>
        </p:nvSpPr>
        <p:spPr>
          <a:xfrm>
            <a:off x="4357609" y="8735750"/>
            <a:ext cx="1146235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수자원 사용 관리</a:t>
            </a:r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6F07C263-A84C-4688-B293-F829E109F5BE}"/>
              </a:ext>
            </a:extLst>
          </p:cNvPr>
          <p:cNvSpPr/>
          <p:nvPr/>
        </p:nvSpPr>
        <p:spPr>
          <a:xfrm>
            <a:off x="5577906" y="8735750"/>
            <a:ext cx="1248516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원부자재 사용 관리</a:t>
            </a:r>
          </a:p>
        </p:txBody>
      </p:sp>
      <p:sp>
        <p:nvSpPr>
          <p:cNvPr id="180" name="사각형: 둥근 모서리 179">
            <a:extLst>
              <a:ext uri="{FF2B5EF4-FFF2-40B4-BE49-F238E27FC236}">
                <a16:creationId xmlns:a16="http://schemas.microsoft.com/office/drawing/2014/main" id="{22F8CC82-C63C-453F-9691-F74F8259A2C5}"/>
              </a:ext>
            </a:extLst>
          </p:cNvPr>
          <p:cNvSpPr/>
          <p:nvPr/>
        </p:nvSpPr>
        <p:spPr>
          <a:xfrm>
            <a:off x="6900485" y="8735750"/>
            <a:ext cx="867615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폐기물 관리</a:t>
            </a: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9573A756-5192-4BEC-BC64-2D3FB38BF41E}"/>
              </a:ext>
            </a:extLst>
          </p:cNvPr>
          <p:cNvSpPr/>
          <p:nvPr/>
        </p:nvSpPr>
        <p:spPr>
          <a:xfrm>
            <a:off x="1191550" y="9067278"/>
            <a:ext cx="1541419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>
                <a:solidFill>
                  <a:schemeClr val="accent1"/>
                </a:solidFill>
                <a:latin typeface="+mn-ea"/>
              </a:rPr>
              <a:t>지속가능한 공급망 관리</a:t>
            </a:r>
            <a:endParaRPr lang="ko-KR" altLang="en-US" sz="1000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83" name="사각형: 둥근 모서리 182">
            <a:extLst>
              <a:ext uri="{FF2B5EF4-FFF2-40B4-BE49-F238E27FC236}">
                <a16:creationId xmlns:a16="http://schemas.microsoft.com/office/drawing/2014/main" id="{C013CEF6-8D76-49E4-8942-ED2180F73B04}"/>
              </a:ext>
            </a:extLst>
          </p:cNvPr>
          <p:cNvSpPr/>
          <p:nvPr/>
        </p:nvSpPr>
        <p:spPr>
          <a:xfrm>
            <a:off x="2829370" y="9067278"/>
            <a:ext cx="1146235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인권 이슈 관리</a:t>
            </a:r>
          </a:p>
        </p:txBody>
      </p:sp>
      <p:sp>
        <p:nvSpPr>
          <p:cNvPr id="184" name="사각형: 둥근 모서리 183">
            <a:extLst>
              <a:ext uri="{FF2B5EF4-FFF2-40B4-BE49-F238E27FC236}">
                <a16:creationId xmlns:a16="http://schemas.microsoft.com/office/drawing/2014/main" id="{FA614535-F292-4675-9117-9FEEFB81CDE5}"/>
              </a:ext>
            </a:extLst>
          </p:cNvPr>
          <p:cNvSpPr/>
          <p:nvPr/>
        </p:nvSpPr>
        <p:spPr>
          <a:xfrm>
            <a:off x="1191551" y="9405664"/>
            <a:ext cx="1306430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이사회 구성 및 활동</a:t>
            </a:r>
          </a:p>
        </p:txBody>
      </p:sp>
      <p:sp>
        <p:nvSpPr>
          <p:cNvPr id="185" name="사각형: 둥근 모서리 184">
            <a:extLst>
              <a:ext uri="{FF2B5EF4-FFF2-40B4-BE49-F238E27FC236}">
                <a16:creationId xmlns:a16="http://schemas.microsoft.com/office/drawing/2014/main" id="{ABAC25B2-C558-4CAD-8EC3-4FDA9EC72509}"/>
              </a:ext>
            </a:extLst>
          </p:cNvPr>
          <p:cNvSpPr/>
          <p:nvPr/>
        </p:nvSpPr>
        <p:spPr>
          <a:xfrm>
            <a:off x="4072006" y="9067278"/>
            <a:ext cx="1541419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제품 안전 및 품질 관리</a:t>
            </a:r>
          </a:p>
        </p:txBody>
      </p:sp>
      <p:sp>
        <p:nvSpPr>
          <p:cNvPr id="186" name="사각형: 둥근 모서리 185">
            <a:extLst>
              <a:ext uri="{FF2B5EF4-FFF2-40B4-BE49-F238E27FC236}">
                <a16:creationId xmlns:a16="http://schemas.microsoft.com/office/drawing/2014/main" id="{40D60250-8A36-4698-A877-BDB089968DE8}"/>
              </a:ext>
            </a:extLst>
          </p:cNvPr>
          <p:cNvSpPr/>
          <p:nvPr/>
        </p:nvSpPr>
        <p:spPr>
          <a:xfrm>
            <a:off x="5709826" y="9067278"/>
            <a:ext cx="1322278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>
                <a:solidFill>
                  <a:schemeClr val="accent1"/>
                </a:solidFill>
                <a:latin typeface="+mn-ea"/>
              </a:rPr>
              <a:t>다양성 및 포용 관리</a:t>
            </a:r>
            <a:endParaRPr lang="ko-KR" altLang="en-US" sz="1000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87" name="사각형: 둥근 모서리 186">
            <a:extLst>
              <a:ext uri="{FF2B5EF4-FFF2-40B4-BE49-F238E27FC236}">
                <a16:creationId xmlns:a16="http://schemas.microsoft.com/office/drawing/2014/main" id="{95BB4286-AE0B-4F79-85CD-ED8101B34854}"/>
              </a:ext>
            </a:extLst>
          </p:cNvPr>
          <p:cNvSpPr/>
          <p:nvPr/>
        </p:nvSpPr>
        <p:spPr>
          <a:xfrm>
            <a:off x="2589019" y="9405664"/>
            <a:ext cx="1183694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내부통제</a:t>
            </a:r>
          </a:p>
        </p:txBody>
      </p:sp>
      <p:sp>
        <p:nvSpPr>
          <p:cNvPr id="188" name="사각형: 둥근 모서리 187">
            <a:extLst>
              <a:ext uri="{FF2B5EF4-FFF2-40B4-BE49-F238E27FC236}">
                <a16:creationId xmlns:a16="http://schemas.microsoft.com/office/drawing/2014/main" id="{549428C5-EE9D-4C7D-A727-EEFE36F91FF8}"/>
              </a:ext>
            </a:extLst>
          </p:cNvPr>
          <p:cNvSpPr/>
          <p:nvPr/>
        </p:nvSpPr>
        <p:spPr>
          <a:xfrm>
            <a:off x="3863752" y="9405664"/>
            <a:ext cx="1183694" cy="218598"/>
          </a:xfrm>
          <a:prstGeom prst="roundRect">
            <a:avLst>
              <a:gd name="adj" fmla="val 50000"/>
            </a:avLst>
          </a:prstGeom>
          <a:solidFill>
            <a:srgbClr val="E5EBF7"/>
          </a:solidFill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accent1"/>
                </a:solidFill>
                <a:latin typeface="+mn-ea"/>
              </a:rPr>
              <a:t>윤리경영</a:t>
            </a:r>
          </a:p>
        </p:txBody>
      </p:sp>
      <p:sp>
        <p:nvSpPr>
          <p:cNvPr id="190" name="사각형: 둥근 모서리 189">
            <a:extLst>
              <a:ext uri="{FF2B5EF4-FFF2-40B4-BE49-F238E27FC236}">
                <a16:creationId xmlns:a16="http://schemas.microsoft.com/office/drawing/2014/main" id="{81123BC8-9DE8-4820-A98C-1DDA255DDF8E}"/>
              </a:ext>
            </a:extLst>
          </p:cNvPr>
          <p:cNvSpPr/>
          <p:nvPr/>
        </p:nvSpPr>
        <p:spPr>
          <a:xfrm>
            <a:off x="4843164" y="78666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956EB17D-2FD4-451C-8DF6-CE401883A81D}"/>
              </a:ext>
            </a:extLst>
          </p:cNvPr>
          <p:cNvSpPr/>
          <p:nvPr/>
        </p:nvSpPr>
        <p:spPr>
          <a:xfrm>
            <a:off x="4223518" y="84147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77CE7899-1A4C-4F4E-8C2C-4422ED8D85F7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6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], [7]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omment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부분 추가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C8A665B-E69B-4DD6-B782-CF7BC3796779}"/>
              </a:ext>
            </a:extLst>
          </p:cNvPr>
          <p:cNvSpPr/>
          <p:nvPr/>
        </p:nvSpPr>
        <p:spPr>
          <a:xfrm>
            <a:off x="1191550" y="1738163"/>
            <a:ext cx="7285901" cy="451134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/>
              <a:t>OLD</a:t>
            </a:r>
            <a:endParaRPr lang="ko-KR" altLang="en-US" dirty="0"/>
          </a:p>
        </p:txBody>
      </p:sp>
      <p:sp>
        <p:nvSpPr>
          <p:cNvPr id="189" name="직사각형 188">
            <a:extLst>
              <a:ext uri="{FF2B5EF4-FFF2-40B4-BE49-F238E27FC236}">
                <a16:creationId xmlns:a16="http://schemas.microsoft.com/office/drawing/2014/main" id="{5036148A-3B53-47BD-9EEF-8413DCCE46E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85034939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5237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5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일 및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간이 표시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진단 종합 점수 출력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로직은 질의항목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정된 종합 점수에 해당하는 위치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킹하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점수를 시각적으로 보여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위치에서 시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, 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 ∙ 인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세부 카테고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lv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점수를 숫자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직은 질의항목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정된 종합 점수에 해당하는 위치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킹하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점수를 시각적으로 보여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각형 가운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꼭지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 구성의 왼쪽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lv3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진단 응답 내역에 따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행 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 수행 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직은 질의항목 엑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흡 인 경우 텍스트 빨간색으로 강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 외에는 회색 계열 음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텍스트로 표현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 표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행 미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표시되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열거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하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의 점수를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597293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 경영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[P005]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652439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CA4AE9E-2053-4FA8-8BE8-C4BCEAA846E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BB19CEDA-EBAE-44C4-AC34-EFDCE0DC5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81F86BD-36AD-4AE4-AB53-ACEACCD60B2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E87EFCB8-1941-41E5-94D6-DA7BF4BC4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0B94D58-F49D-480B-9166-E9F15E6F116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954DD96-8A6D-4468-BAE6-2097B238DC9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35755" y="2060848"/>
            <a:ext cx="1813288" cy="13258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합 진단 결과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334B449-19E7-449E-A685-4B82962504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35755" y="3933056"/>
            <a:ext cx="2572510" cy="13258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별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경영 현황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5E0673A2-6956-4F2D-9DD4-621B5A494A2B}"/>
              </a:ext>
            </a:extLst>
          </p:cNvPr>
          <p:cNvSpPr/>
          <p:nvPr/>
        </p:nvSpPr>
        <p:spPr>
          <a:xfrm>
            <a:off x="1632889" y="4165170"/>
            <a:ext cx="1330975" cy="2171598"/>
          </a:xfrm>
          <a:prstGeom prst="rect">
            <a:avLst/>
          </a:prstGeom>
          <a:solidFill>
            <a:srgbClr val="E48B0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</a:rPr>
              <a:t>ESG </a:t>
            </a:r>
            <a:br>
              <a:rPr lang="en-US" altLang="ko-KR" sz="1000" b="1" dirty="0">
                <a:solidFill>
                  <a:schemeClr val="tx1"/>
                </a:solidFill>
              </a:rPr>
            </a:br>
            <a:r>
              <a:rPr lang="ko-KR" altLang="en-US" sz="1000" b="1" dirty="0">
                <a:solidFill>
                  <a:schemeClr val="tx1"/>
                </a:solidFill>
              </a:rPr>
              <a:t>전략계획</a:t>
            </a:r>
            <a:endParaRPr lang="en-US" altLang="ko-KR" sz="1000" b="1" dirty="0">
              <a:solidFill>
                <a:schemeClr val="tx1"/>
              </a:solidFill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5BF905CC-EF64-4843-AC0F-6316768DFD63}"/>
              </a:ext>
            </a:extLst>
          </p:cNvPr>
          <p:cNvSpPr/>
          <p:nvPr/>
        </p:nvSpPr>
        <p:spPr>
          <a:xfrm>
            <a:off x="1632890" y="2273815"/>
            <a:ext cx="1872744" cy="15372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ko-KR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경영 성숙도</a:t>
            </a:r>
            <a:endParaRPr lang="ko-KR" altLang="en-US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graphicFrame>
        <p:nvGraphicFramePr>
          <p:cNvPr id="59" name="표 31">
            <a:extLst>
              <a:ext uri="{FF2B5EF4-FFF2-40B4-BE49-F238E27FC236}">
                <a16:creationId xmlns:a16="http://schemas.microsoft.com/office/drawing/2014/main" id="{68EF61C8-2AC8-4670-B894-5811F12DF840}"/>
              </a:ext>
            </a:extLst>
          </p:cNvPr>
          <p:cNvGraphicFramePr>
            <a:graphicFrameLocks noGrp="1"/>
          </p:cNvGraphicFramePr>
          <p:nvPr/>
        </p:nvGraphicFramePr>
        <p:xfrm>
          <a:off x="2961509" y="4165170"/>
          <a:ext cx="4718274" cy="1699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299">
                  <a:extLst>
                    <a:ext uri="{9D8B030D-6E8A-4147-A177-3AD203B41FA5}">
                      <a16:colId xmlns:a16="http://schemas.microsoft.com/office/drawing/2014/main" val="2706316275"/>
                    </a:ext>
                  </a:extLst>
                </a:gridCol>
                <a:gridCol w="2219964">
                  <a:extLst>
                    <a:ext uri="{9D8B030D-6E8A-4147-A177-3AD203B41FA5}">
                      <a16:colId xmlns:a16="http://schemas.microsoft.com/office/drawing/2014/main" val="3174401532"/>
                    </a:ext>
                  </a:extLst>
                </a:gridCol>
                <a:gridCol w="1092011">
                  <a:extLst>
                    <a:ext uri="{9D8B030D-6E8A-4147-A177-3AD203B41FA5}">
                      <a16:colId xmlns:a16="http://schemas.microsoft.com/office/drawing/2014/main" val="3080557774"/>
                    </a:ext>
                  </a:extLst>
                </a:gridCol>
              </a:tblGrid>
              <a:tr h="28323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경영전략 수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8B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전사 비전 수립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314851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KPI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와 목표 수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297975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실행과제 및 계획 수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25649"/>
                  </a:ext>
                </a:extLst>
              </a:tr>
              <a:tr h="28323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경영체계 수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8B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의사결정체계 구축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233246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경영 프로세스 구축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7711936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</a:rPr>
                        <a:t>리스크 관리체계 수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297892"/>
                  </a:ext>
                </a:extLst>
              </a:tr>
            </a:tbl>
          </a:graphicData>
        </a:graphic>
      </p:graphicFrame>
      <p:sp>
        <p:nvSpPr>
          <p:cNvPr id="61" name="직사각형 60">
            <a:extLst>
              <a:ext uri="{FF2B5EF4-FFF2-40B4-BE49-F238E27FC236}">
                <a16:creationId xmlns:a16="http://schemas.microsoft.com/office/drawing/2014/main" id="{1AE9E8A1-E3BD-48E7-A279-C468D389660B}"/>
              </a:ext>
            </a:extLst>
          </p:cNvPr>
          <p:cNvSpPr/>
          <p:nvPr/>
        </p:nvSpPr>
        <p:spPr>
          <a:xfrm>
            <a:off x="2961509" y="5857113"/>
            <a:ext cx="4718816" cy="4796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b="1" dirty="0">
                <a:solidFill>
                  <a:srgbClr val="464646"/>
                </a:solidFill>
              </a:rPr>
              <a:t>「</a:t>
            </a:r>
            <a:r>
              <a:rPr lang="en-US" altLang="ko-KR" sz="900" b="1" dirty="0">
                <a:solidFill>
                  <a:srgbClr val="464646"/>
                </a:solidFill>
              </a:rPr>
              <a:t>ESG KPI</a:t>
            </a:r>
            <a:r>
              <a:rPr lang="ko-KR" altLang="en-US" sz="900" b="1" dirty="0">
                <a:solidFill>
                  <a:srgbClr val="464646"/>
                </a:solidFill>
              </a:rPr>
              <a:t>와 목표 수립」</a:t>
            </a:r>
            <a:r>
              <a:rPr lang="en-US" altLang="ko-KR" sz="900" b="1" dirty="0">
                <a:solidFill>
                  <a:srgbClr val="464646"/>
                </a:solidFill>
              </a:rPr>
              <a:t>, </a:t>
            </a:r>
            <a:r>
              <a:rPr lang="ko-KR" altLang="en-US" sz="900" b="1" dirty="0">
                <a:solidFill>
                  <a:srgbClr val="464646"/>
                </a:solidFill>
              </a:rPr>
              <a:t>「</a:t>
            </a:r>
            <a:r>
              <a:rPr lang="en-US" altLang="ko-KR" sz="900" b="1" dirty="0">
                <a:solidFill>
                  <a:srgbClr val="464646"/>
                </a:solidFill>
              </a:rPr>
              <a:t>ESG </a:t>
            </a:r>
            <a:r>
              <a:rPr lang="ko-KR" altLang="en-US" sz="900" b="1" dirty="0">
                <a:solidFill>
                  <a:srgbClr val="464646"/>
                </a:solidFill>
              </a:rPr>
              <a:t>경영 프로세스 구축」</a:t>
            </a:r>
            <a:r>
              <a:rPr lang="ko-KR" altLang="en-US" sz="900" dirty="0">
                <a:solidFill>
                  <a:srgbClr val="464646"/>
                </a:solidFill>
              </a:rPr>
              <a:t> 수행이 미흡하다고 답변하여</a:t>
            </a:r>
            <a:r>
              <a:rPr lang="en-US" altLang="ko-KR" sz="900" dirty="0">
                <a:solidFill>
                  <a:srgbClr val="464646"/>
                </a:solidFill>
              </a:rPr>
              <a:t>,</a:t>
            </a:r>
            <a:br>
              <a:rPr lang="en-US" altLang="ko-KR" sz="900" dirty="0">
                <a:solidFill>
                  <a:srgbClr val="464646"/>
                </a:solidFill>
              </a:rPr>
            </a:br>
            <a:r>
              <a:rPr lang="en-US" altLang="ko-KR" sz="900" dirty="0">
                <a:solidFill>
                  <a:srgbClr val="464646"/>
                </a:solidFill>
              </a:rPr>
              <a:t> </a:t>
            </a:r>
            <a:r>
              <a:rPr lang="en-US" altLang="ko-KR" sz="900" b="1" dirty="0">
                <a:solidFill>
                  <a:schemeClr val="accent2"/>
                </a:solidFill>
              </a:rPr>
              <a:t>ESG</a:t>
            </a:r>
            <a:r>
              <a:rPr lang="ko-KR" altLang="en-US" sz="900" b="1" dirty="0">
                <a:solidFill>
                  <a:schemeClr val="accent2"/>
                </a:solidFill>
              </a:rPr>
              <a:t> 경영 성숙도가 </a:t>
            </a:r>
            <a:r>
              <a:rPr lang="en-US" altLang="ko-KR" sz="900" b="1" dirty="0">
                <a:solidFill>
                  <a:schemeClr val="accent2"/>
                </a:solidFill>
              </a:rPr>
              <a:t>65 </a:t>
            </a:r>
            <a:r>
              <a:rPr lang="ko-KR" altLang="en-US" sz="900" dirty="0">
                <a:solidFill>
                  <a:srgbClr val="464646"/>
                </a:solidFill>
              </a:rPr>
              <a:t>로</a:t>
            </a:r>
            <a:r>
              <a:rPr lang="ko-KR" altLang="en-US" sz="900" b="1" dirty="0">
                <a:solidFill>
                  <a:schemeClr val="accent2"/>
                </a:solidFill>
              </a:rPr>
              <a:t> </a:t>
            </a:r>
            <a:r>
              <a:rPr lang="ko-KR" altLang="en-US" sz="900" dirty="0">
                <a:solidFill>
                  <a:srgbClr val="464646"/>
                </a:solidFill>
              </a:rPr>
              <a:t>측정되었습니다</a:t>
            </a:r>
            <a:r>
              <a:rPr lang="en-US" altLang="ko-KR" sz="900" dirty="0">
                <a:solidFill>
                  <a:srgbClr val="464646"/>
                </a:solidFill>
              </a:rPr>
              <a:t>.  </a:t>
            </a:r>
            <a:endParaRPr lang="ko-KR" altLang="en-US" sz="900" dirty="0">
              <a:solidFill>
                <a:srgbClr val="464646"/>
              </a:solidFill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2B322871-D933-4614-9150-18EFB3AB916C}"/>
              </a:ext>
            </a:extLst>
          </p:cNvPr>
          <p:cNvGrpSpPr/>
          <p:nvPr/>
        </p:nvGrpSpPr>
        <p:grpSpPr>
          <a:xfrm>
            <a:off x="1657776" y="1614036"/>
            <a:ext cx="1753973" cy="310674"/>
            <a:chOff x="1675437" y="1511927"/>
            <a:chExt cx="1753973" cy="310674"/>
          </a:xfrm>
        </p:grpSpPr>
        <p:sp>
          <p:nvSpPr>
            <p:cNvPr id="6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883D2800-B78C-4C68-BB96-1A0E87A73179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1681966" y="1511927"/>
              <a:ext cx="1747444" cy="31067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자가진단 결과</a:t>
              </a:r>
              <a:endPara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9C9982A2-BAE0-4392-AB2B-1682F1E8C638}"/>
                </a:ext>
              </a:extLst>
            </p:cNvPr>
            <p:cNvCxnSpPr>
              <a:cxnSpLocks/>
            </p:cNvCxnSpPr>
            <p:nvPr/>
          </p:nvCxnSpPr>
          <p:spPr>
            <a:xfrm>
              <a:off x="1675437" y="1589596"/>
              <a:ext cx="0" cy="155337"/>
            </a:xfrm>
            <a:prstGeom prst="line">
              <a:avLst/>
            </a:prstGeom>
            <a:ln w="38100">
              <a:solidFill>
                <a:srgbClr val="E48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ABE607A-E80E-4AB5-96F3-1F79267729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56068" y="1647682"/>
            <a:ext cx="1976236" cy="24338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en-US" altLang="ko-KR" sz="12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일</a:t>
            </a:r>
            <a:r>
              <a:rPr lang="en-US" altLang="ko-KR" sz="10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7-12  10:00]</a:t>
            </a: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73D921C3-4E2C-41C7-BC8C-4E9A5DBC96D6}"/>
              </a:ext>
            </a:extLst>
          </p:cNvPr>
          <p:cNvGrpSpPr/>
          <p:nvPr/>
        </p:nvGrpSpPr>
        <p:grpSpPr>
          <a:xfrm>
            <a:off x="2017014" y="2555155"/>
            <a:ext cx="1104496" cy="1104496"/>
            <a:chOff x="1397634" y="2537325"/>
            <a:chExt cx="1104496" cy="1104496"/>
          </a:xfrm>
        </p:grpSpPr>
        <p:sp>
          <p:nvSpPr>
            <p:cNvPr id="16" name="타원 15">
              <a:extLst>
                <a:ext uri="{FF2B5EF4-FFF2-40B4-BE49-F238E27FC236}">
                  <a16:creationId xmlns:a16="http://schemas.microsoft.com/office/drawing/2014/main" id="{7D9E6BE8-59BE-469D-8911-EF28BA9E0AF0}"/>
                </a:ext>
              </a:extLst>
            </p:cNvPr>
            <p:cNvSpPr/>
            <p:nvPr/>
          </p:nvSpPr>
          <p:spPr>
            <a:xfrm>
              <a:off x="1447238" y="2586929"/>
              <a:ext cx="1005289" cy="10052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ko-KR" sz="1800" b="1" dirty="0">
                  <a:solidFill>
                    <a:srgbClr val="E48B00"/>
                  </a:solidFill>
                  <a:latin typeface="+mn-ea"/>
                </a:rPr>
                <a:t>65</a:t>
              </a:r>
              <a:r>
                <a:rPr lang="en-US" altLang="ko-KR" sz="1400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/100</a:t>
              </a:r>
              <a:endParaRPr lang="ko-KR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CD55877A-2A6E-4109-86B7-1D3FDAC1648F}"/>
                </a:ext>
              </a:extLst>
            </p:cNvPr>
            <p:cNvGrpSpPr/>
            <p:nvPr/>
          </p:nvGrpSpPr>
          <p:grpSpPr>
            <a:xfrm>
              <a:off x="1397634" y="2537325"/>
              <a:ext cx="1104496" cy="1104496"/>
              <a:chOff x="1997672" y="2546019"/>
              <a:chExt cx="1104496" cy="1104496"/>
            </a:xfrm>
          </p:grpSpPr>
          <p:sp>
            <p:nvSpPr>
              <p:cNvPr id="14" name="원형: 비어 있음 13">
                <a:extLst>
                  <a:ext uri="{FF2B5EF4-FFF2-40B4-BE49-F238E27FC236}">
                    <a16:creationId xmlns:a16="http://schemas.microsoft.com/office/drawing/2014/main" id="{353CDC16-1BA6-451E-9F28-D5C875ECEE05}"/>
                  </a:ext>
                </a:extLst>
              </p:cNvPr>
              <p:cNvSpPr/>
              <p:nvPr/>
            </p:nvSpPr>
            <p:spPr>
              <a:xfrm>
                <a:off x="1997672" y="2546019"/>
                <a:ext cx="1104496" cy="1104496"/>
              </a:xfrm>
              <a:prstGeom prst="donut">
                <a:avLst>
                  <a:gd name="adj" fmla="val 7164"/>
                </a:avLst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 b="1" dirty="0">
                  <a:solidFill>
                    <a:srgbClr val="E48B00"/>
                  </a:solidFill>
                  <a:latin typeface="+mn-ea"/>
                </a:endParaRPr>
              </a:p>
            </p:txBody>
          </p:sp>
          <p:sp>
            <p:nvSpPr>
              <p:cNvPr id="67" name="막힌 원호 66">
                <a:extLst>
                  <a:ext uri="{FF2B5EF4-FFF2-40B4-BE49-F238E27FC236}">
                    <a16:creationId xmlns:a16="http://schemas.microsoft.com/office/drawing/2014/main" id="{B842CD09-E3A1-4929-9DB8-0E855FAAE921}"/>
                  </a:ext>
                </a:extLst>
              </p:cNvPr>
              <p:cNvSpPr/>
              <p:nvPr/>
            </p:nvSpPr>
            <p:spPr>
              <a:xfrm rot="7489087">
                <a:off x="1997672" y="2546019"/>
                <a:ext cx="1104496" cy="1104496"/>
              </a:xfrm>
              <a:prstGeom prst="blockArc">
                <a:avLst>
                  <a:gd name="adj1" fmla="val 8606148"/>
                  <a:gd name="adj2" fmla="val 11083"/>
                  <a:gd name="adj3" fmla="val 7200"/>
                </a:avLst>
              </a:prstGeom>
              <a:solidFill>
                <a:srgbClr val="E48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F05D77FB-D38E-4BCD-AC96-A4F6E32E3C78}"/>
              </a:ext>
            </a:extLst>
          </p:cNvPr>
          <p:cNvGrpSpPr/>
          <p:nvPr/>
        </p:nvGrpSpPr>
        <p:grpSpPr>
          <a:xfrm>
            <a:off x="3601723" y="2292391"/>
            <a:ext cx="4078601" cy="1523790"/>
            <a:chOff x="3601723" y="2193242"/>
            <a:chExt cx="4078601" cy="1523790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F1508F78-6D07-47DE-A348-C9B231073A3D}"/>
                </a:ext>
              </a:extLst>
            </p:cNvPr>
            <p:cNvSpPr/>
            <p:nvPr/>
          </p:nvSpPr>
          <p:spPr>
            <a:xfrm>
              <a:off x="3601723" y="2193242"/>
              <a:ext cx="4078601" cy="15237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ko-KR" altLang="en-US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F2B88A5-8EE6-4726-8394-1DE55731A2AB}"/>
                </a:ext>
              </a:extLst>
            </p:cNvPr>
            <p:cNvSpPr txBox="1"/>
            <p:nvPr/>
          </p:nvSpPr>
          <p:spPr>
            <a:xfrm>
              <a:off x="5141639" y="2289087"/>
              <a:ext cx="1017494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전략계획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D665ECC-18E8-41A0-9A8C-5F8C52B4F1CF}"/>
                </a:ext>
              </a:extLst>
            </p:cNvPr>
            <p:cNvSpPr txBox="1"/>
            <p:nvPr/>
          </p:nvSpPr>
          <p:spPr>
            <a:xfrm>
              <a:off x="3888603" y="3437391"/>
              <a:ext cx="1362035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공시 ∙ 인증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F54225A-28EB-455F-BEAC-1DA37FC285A6}"/>
                </a:ext>
              </a:extLst>
            </p:cNvPr>
            <p:cNvSpPr txBox="1"/>
            <p:nvPr/>
          </p:nvSpPr>
          <p:spPr>
            <a:xfrm>
              <a:off x="6023992" y="3437391"/>
              <a:ext cx="1017494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과제이행</a:t>
              </a: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FC2626D8-0297-4EDF-9A4F-9F1FA4D10D70}"/>
                </a:ext>
              </a:extLst>
            </p:cNvPr>
            <p:cNvGrpSpPr/>
            <p:nvPr/>
          </p:nvGrpSpPr>
          <p:grpSpPr>
            <a:xfrm>
              <a:off x="5035503" y="2532889"/>
              <a:ext cx="1211040" cy="1044000"/>
              <a:chOff x="4276623" y="2376520"/>
              <a:chExt cx="1211040" cy="1044000"/>
            </a:xfrm>
          </p:grpSpPr>
          <p:sp>
            <p:nvSpPr>
              <p:cNvPr id="66" name="이등변 삼각형 65">
                <a:extLst>
                  <a:ext uri="{FF2B5EF4-FFF2-40B4-BE49-F238E27FC236}">
                    <a16:creationId xmlns:a16="http://schemas.microsoft.com/office/drawing/2014/main" id="{A5065A3E-7E5D-4A7F-A4AF-7A763F2C4F30}"/>
                  </a:ext>
                </a:extLst>
              </p:cNvPr>
              <p:cNvSpPr/>
              <p:nvPr/>
            </p:nvSpPr>
            <p:spPr>
              <a:xfrm>
                <a:off x="4276623" y="2376520"/>
                <a:ext cx="1211040" cy="1044000"/>
              </a:xfrm>
              <a:prstGeom prst="triangle">
                <a:avLst/>
              </a:prstGeom>
              <a:solidFill>
                <a:schemeClr val="bg1"/>
              </a:solidFill>
              <a:ln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cxnSp>
            <p:nvCxnSpPr>
              <p:cNvPr id="78" name="직선 연결선 77">
                <a:extLst>
                  <a:ext uri="{FF2B5EF4-FFF2-40B4-BE49-F238E27FC236}">
                    <a16:creationId xmlns:a16="http://schemas.microsoft.com/office/drawing/2014/main" id="{D972D6C7-F895-4778-831B-2F6ACCC30226}"/>
                  </a:ext>
                </a:extLst>
              </p:cNvPr>
              <p:cNvCxnSpPr>
                <a:cxnSpLocks/>
                <a:stCxn id="66" idx="0"/>
              </p:cNvCxnSpPr>
              <p:nvPr/>
            </p:nvCxnSpPr>
            <p:spPr>
              <a:xfrm>
                <a:off x="4882143" y="2376520"/>
                <a:ext cx="0" cy="69270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직선 연결선 80">
                <a:extLst>
                  <a:ext uri="{FF2B5EF4-FFF2-40B4-BE49-F238E27FC236}">
                    <a16:creationId xmlns:a16="http://schemas.microsoft.com/office/drawing/2014/main" id="{61DA158D-C4BF-4744-B1AE-85CB24DFD2FF}"/>
                  </a:ext>
                </a:extLst>
              </p:cNvPr>
              <p:cNvCxnSpPr>
                <a:cxnSpLocks/>
                <a:stCxn id="66" idx="2"/>
              </p:cNvCxnSpPr>
              <p:nvPr/>
            </p:nvCxnSpPr>
            <p:spPr>
              <a:xfrm flipV="1">
                <a:off x="4276623" y="3072520"/>
                <a:ext cx="605520" cy="34800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직선 연결선 85">
                <a:extLst>
                  <a:ext uri="{FF2B5EF4-FFF2-40B4-BE49-F238E27FC236}">
                    <a16:creationId xmlns:a16="http://schemas.microsoft.com/office/drawing/2014/main" id="{E07FE504-2052-4E6F-A02A-B8CB3858B88C}"/>
                  </a:ext>
                </a:extLst>
              </p:cNvPr>
              <p:cNvCxnSpPr>
                <a:cxnSpLocks/>
                <a:endCxn id="66" idx="4"/>
              </p:cNvCxnSpPr>
              <p:nvPr/>
            </p:nvCxnSpPr>
            <p:spPr>
              <a:xfrm>
                <a:off x="4882143" y="3072520"/>
                <a:ext cx="605520" cy="34800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2" name="그룹 91">
              <a:extLst>
                <a:ext uri="{FF2B5EF4-FFF2-40B4-BE49-F238E27FC236}">
                  <a16:creationId xmlns:a16="http://schemas.microsoft.com/office/drawing/2014/main" id="{B44DC882-231F-4474-8D79-AFDAA26DE629}"/>
                </a:ext>
              </a:extLst>
            </p:cNvPr>
            <p:cNvGrpSpPr/>
            <p:nvPr/>
          </p:nvGrpSpPr>
          <p:grpSpPr>
            <a:xfrm>
              <a:off x="5362785" y="3020265"/>
              <a:ext cx="435002" cy="369819"/>
              <a:chOff x="4598955" y="2852863"/>
              <a:chExt cx="435002" cy="369819"/>
            </a:xfrm>
          </p:grpSpPr>
          <p:cxnSp>
            <p:nvCxnSpPr>
              <p:cNvPr id="93" name="직선 연결선 92">
                <a:extLst>
                  <a:ext uri="{FF2B5EF4-FFF2-40B4-BE49-F238E27FC236}">
                    <a16:creationId xmlns:a16="http://schemas.microsoft.com/office/drawing/2014/main" id="{E3D758CB-598F-4A91-84CC-91A19D3F80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76294" y="2852863"/>
                <a:ext cx="157214" cy="304856"/>
              </a:xfrm>
              <a:prstGeom prst="line">
                <a:avLst/>
              </a:prstGeom>
              <a:ln w="19050">
                <a:solidFill>
                  <a:schemeClr val="accent2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직선 연결선 95">
                <a:extLst>
                  <a:ext uri="{FF2B5EF4-FFF2-40B4-BE49-F238E27FC236}">
                    <a16:creationId xmlns:a16="http://schemas.microsoft.com/office/drawing/2014/main" id="{CC84A462-BB2A-4155-83DE-6DC4256312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98955" y="3157720"/>
                <a:ext cx="435002" cy="64962"/>
              </a:xfrm>
              <a:prstGeom prst="line">
                <a:avLst/>
              </a:prstGeom>
              <a:ln w="19050">
                <a:solidFill>
                  <a:schemeClr val="accent2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직선 연결선 99">
                <a:extLst>
                  <a:ext uri="{FF2B5EF4-FFF2-40B4-BE49-F238E27FC236}">
                    <a16:creationId xmlns:a16="http://schemas.microsoft.com/office/drawing/2014/main" id="{106F9DFD-36C1-4578-ADAE-91BA34CC205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98955" y="2852948"/>
                <a:ext cx="277339" cy="369734"/>
              </a:xfrm>
              <a:prstGeom prst="line">
                <a:avLst/>
              </a:prstGeom>
              <a:ln w="19050">
                <a:solidFill>
                  <a:schemeClr val="accent2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AF45854D-6E0C-420C-BB34-A55CA5AC1C8B}"/>
              </a:ext>
            </a:extLst>
          </p:cNvPr>
          <p:cNvSpPr/>
          <p:nvPr/>
        </p:nvSpPr>
        <p:spPr>
          <a:xfrm>
            <a:off x="2152349" y="292751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B95852B1-8381-4402-BABE-1AB03AB9B5D2}"/>
              </a:ext>
            </a:extLst>
          </p:cNvPr>
          <p:cNvSpPr/>
          <p:nvPr/>
        </p:nvSpPr>
        <p:spPr>
          <a:xfrm>
            <a:off x="5374973" y="28978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5FBEDE75-7CAC-4287-A69F-1FB9F3FDFBC1}"/>
              </a:ext>
            </a:extLst>
          </p:cNvPr>
          <p:cNvSpPr/>
          <p:nvPr/>
        </p:nvSpPr>
        <p:spPr>
          <a:xfrm>
            <a:off x="2863458" y="59514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8F1455A7-C40E-4205-B8DE-89793302FE0D}"/>
              </a:ext>
            </a:extLst>
          </p:cNvPr>
          <p:cNvSpPr/>
          <p:nvPr/>
        </p:nvSpPr>
        <p:spPr>
          <a:xfrm>
            <a:off x="5519935" y="6118340"/>
            <a:ext cx="2106045" cy="173799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800" u="sng" dirty="0">
                <a:solidFill>
                  <a:schemeClr val="bg1"/>
                </a:solidFill>
              </a:rPr>
              <a:t>ESG </a:t>
            </a:r>
            <a:r>
              <a:rPr lang="ko-KR" altLang="en-US" sz="800" u="sng" dirty="0">
                <a:solidFill>
                  <a:schemeClr val="bg1"/>
                </a:solidFill>
              </a:rPr>
              <a:t>전략계획 경영 가이드 </a:t>
            </a:r>
            <a:r>
              <a:rPr lang="ko-KR" altLang="en-US" sz="800" u="sng" dirty="0" err="1">
                <a:solidFill>
                  <a:schemeClr val="bg1"/>
                </a:solidFill>
              </a:rPr>
              <a:t>더보기</a:t>
            </a:r>
            <a:endParaRPr lang="en-US" altLang="ko-KR" sz="800" b="1" dirty="0">
              <a:solidFill>
                <a:schemeClr val="bg1"/>
              </a:solidFill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998266F6-9BB6-47A6-8FD9-1CF503D2E020}"/>
              </a:ext>
            </a:extLst>
          </p:cNvPr>
          <p:cNvSpPr/>
          <p:nvPr/>
        </p:nvSpPr>
        <p:spPr>
          <a:xfrm>
            <a:off x="5465590" y="61665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28F7A76B-8C62-4E1A-8EA0-71407F856AFB}"/>
              </a:ext>
            </a:extLst>
          </p:cNvPr>
          <p:cNvSpPr/>
          <p:nvPr/>
        </p:nvSpPr>
        <p:spPr>
          <a:xfrm>
            <a:off x="6886955" y="17233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EBE573F8-33FA-4EA0-AC60-59498661BD2C}"/>
              </a:ext>
            </a:extLst>
          </p:cNvPr>
          <p:cNvSpPr/>
          <p:nvPr/>
        </p:nvSpPr>
        <p:spPr>
          <a:xfrm>
            <a:off x="5551847" y="2884451"/>
            <a:ext cx="178352" cy="1169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5</a:t>
            </a:r>
            <a:endParaRPr lang="ko-KR" altLang="en-US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CFE9B0FC-C819-4B1C-8D82-8944A6383AF0}"/>
              </a:ext>
            </a:extLst>
          </p:cNvPr>
          <p:cNvSpPr/>
          <p:nvPr/>
        </p:nvSpPr>
        <p:spPr>
          <a:xfrm>
            <a:off x="5924690" y="3483902"/>
            <a:ext cx="178352" cy="1169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5</a:t>
            </a:r>
            <a:endParaRPr lang="ko-KR" altLang="en-US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7" name="사각형: 둥근 모서리 166">
            <a:extLst>
              <a:ext uri="{FF2B5EF4-FFF2-40B4-BE49-F238E27FC236}">
                <a16:creationId xmlns:a16="http://schemas.microsoft.com/office/drawing/2014/main" id="{ACA6C8D6-6659-479D-8D8D-5E0D05266F5F}"/>
              </a:ext>
            </a:extLst>
          </p:cNvPr>
          <p:cNvSpPr/>
          <p:nvPr/>
        </p:nvSpPr>
        <p:spPr>
          <a:xfrm>
            <a:off x="5146950" y="3516613"/>
            <a:ext cx="178352" cy="1169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5</a:t>
            </a:r>
            <a:endParaRPr lang="ko-KR" altLang="en-US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D4D061A-B40D-455A-800D-357FE8207A58}"/>
              </a:ext>
            </a:extLst>
          </p:cNvPr>
          <p:cNvSpPr/>
          <p:nvPr/>
        </p:nvSpPr>
        <p:spPr>
          <a:xfrm>
            <a:off x="6555600" y="4126600"/>
            <a:ext cx="1153572" cy="16993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8782E06F-CC59-481B-BBF9-5EF5934B76E4}"/>
              </a:ext>
            </a:extLst>
          </p:cNvPr>
          <p:cNvSpPr/>
          <p:nvPr/>
        </p:nvSpPr>
        <p:spPr>
          <a:xfrm>
            <a:off x="6500476" y="40920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직사각형 173">
            <a:extLst>
              <a:ext uri="{FF2B5EF4-FFF2-40B4-BE49-F238E27FC236}">
                <a16:creationId xmlns:a16="http://schemas.microsoft.com/office/drawing/2014/main" id="{423CB9B4-F0C5-420D-AC58-C1064E6583C8}"/>
              </a:ext>
            </a:extLst>
          </p:cNvPr>
          <p:cNvSpPr/>
          <p:nvPr/>
        </p:nvSpPr>
        <p:spPr>
          <a:xfrm>
            <a:off x="3041007" y="5964080"/>
            <a:ext cx="2441454" cy="1090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E7196624-0448-45D2-BB56-AB4D2E63D9EF}"/>
              </a:ext>
            </a:extLst>
          </p:cNvPr>
          <p:cNvSpPr/>
          <p:nvPr/>
        </p:nvSpPr>
        <p:spPr>
          <a:xfrm>
            <a:off x="3991056" y="6092831"/>
            <a:ext cx="180554" cy="1336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D76A5795-8A99-48D3-8396-BBDEC43E0F63}"/>
              </a:ext>
            </a:extLst>
          </p:cNvPr>
          <p:cNvSpPr/>
          <p:nvPr/>
        </p:nvSpPr>
        <p:spPr>
          <a:xfrm>
            <a:off x="3889728" y="618610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8" name="직사각형 177">
            <a:extLst>
              <a:ext uri="{FF2B5EF4-FFF2-40B4-BE49-F238E27FC236}">
                <a16:creationId xmlns:a16="http://schemas.microsoft.com/office/drawing/2014/main" id="{6EA7FB64-6CCD-4CBC-8CA1-518977830939}"/>
              </a:ext>
            </a:extLst>
          </p:cNvPr>
          <p:cNvSpPr/>
          <p:nvPr/>
        </p:nvSpPr>
        <p:spPr>
          <a:xfrm>
            <a:off x="1601282" y="4126600"/>
            <a:ext cx="4660705" cy="16993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9" name="사각형: 둥근 모서리 178">
            <a:extLst>
              <a:ext uri="{FF2B5EF4-FFF2-40B4-BE49-F238E27FC236}">
                <a16:creationId xmlns:a16="http://schemas.microsoft.com/office/drawing/2014/main" id="{825C508E-F807-4A6F-9C21-A52EB033CC8D}"/>
              </a:ext>
            </a:extLst>
          </p:cNvPr>
          <p:cNvSpPr/>
          <p:nvPr/>
        </p:nvSpPr>
        <p:spPr>
          <a:xfrm>
            <a:off x="1542203" y="40972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80" name="그룹 179">
            <a:extLst>
              <a:ext uri="{FF2B5EF4-FFF2-40B4-BE49-F238E27FC236}">
                <a16:creationId xmlns:a16="http://schemas.microsoft.com/office/drawing/2014/main" id="{15C77CC1-C7C3-4A01-9450-04392AABEA46}"/>
              </a:ext>
            </a:extLst>
          </p:cNvPr>
          <p:cNvGrpSpPr/>
          <p:nvPr/>
        </p:nvGrpSpPr>
        <p:grpSpPr>
          <a:xfrm>
            <a:off x="8781063" y="1495474"/>
            <a:ext cx="205011" cy="4908049"/>
            <a:chOff x="9201470" y="1601344"/>
            <a:chExt cx="188140" cy="4198758"/>
          </a:xfrm>
        </p:grpSpPr>
        <p:sp>
          <p:nvSpPr>
            <p:cNvPr id="181" name="직사각형 180">
              <a:extLst>
                <a:ext uri="{FF2B5EF4-FFF2-40B4-BE49-F238E27FC236}">
                  <a16:creationId xmlns:a16="http://schemas.microsoft.com/office/drawing/2014/main" id="{F28ABDE6-365B-475D-9D34-494528673734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82" name="그룹 181">
              <a:extLst>
                <a:ext uri="{FF2B5EF4-FFF2-40B4-BE49-F238E27FC236}">
                  <a16:creationId xmlns:a16="http://schemas.microsoft.com/office/drawing/2014/main" id="{4E5AE7D8-F8FD-495E-A443-DD3883813D01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83" name="직사각형 182">
                <a:extLst>
                  <a:ext uri="{FF2B5EF4-FFF2-40B4-BE49-F238E27FC236}">
                    <a16:creationId xmlns:a16="http://schemas.microsoft.com/office/drawing/2014/main" id="{FD64E2D2-DA81-4403-9130-865CFEB15EDD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84" name="직사각형 183">
                <a:extLst>
                  <a:ext uri="{FF2B5EF4-FFF2-40B4-BE49-F238E27FC236}">
                    <a16:creationId xmlns:a16="http://schemas.microsoft.com/office/drawing/2014/main" id="{FF1910E3-1255-4BED-AD20-0BACB284528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85" name="직사각형 184">
                <a:extLst>
                  <a:ext uri="{FF2B5EF4-FFF2-40B4-BE49-F238E27FC236}">
                    <a16:creationId xmlns:a16="http://schemas.microsoft.com/office/drawing/2014/main" id="{48655921-B68E-4B31-A33D-F6526AA442EF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A262A076-516A-48CC-B512-0FA3D1D48A4A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경영 자가진단 결과 화면 전제 기획 수정</a:t>
            </a: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3F5CAC4E-608C-44F7-B641-301DF4276584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110670701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0419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5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597293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652439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CA4AE9E-2053-4FA8-8BE8-C4BCEAA846E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BB19CEDA-EBAE-44C4-AC34-EFDCE0DC5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81F86BD-36AD-4AE4-AB53-ACEACCD60B2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E87EFCB8-1941-41E5-94D6-DA7BF4BC4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0B94D58-F49D-480B-9166-E9F15E6F116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5E0673A2-6956-4F2D-9DD4-621B5A494A2B}"/>
              </a:ext>
            </a:extLst>
          </p:cNvPr>
          <p:cNvSpPr/>
          <p:nvPr/>
        </p:nvSpPr>
        <p:spPr>
          <a:xfrm>
            <a:off x="1632889" y="1700808"/>
            <a:ext cx="1330975" cy="4814910"/>
          </a:xfrm>
          <a:prstGeom prst="rect">
            <a:avLst/>
          </a:prstGeom>
          <a:solidFill>
            <a:srgbClr val="DD700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ESG </a:t>
            </a:r>
            <a:br>
              <a:rPr lang="en-US" altLang="ko-KR" sz="1000" b="1" dirty="0">
                <a:solidFill>
                  <a:schemeClr val="bg1"/>
                </a:solidFill>
              </a:rPr>
            </a:br>
            <a:r>
              <a:rPr lang="ko-KR" altLang="en-US" sz="1000" b="1" dirty="0">
                <a:solidFill>
                  <a:schemeClr val="bg1"/>
                </a:solidFill>
              </a:rPr>
              <a:t>과제이행</a:t>
            </a:r>
            <a:endParaRPr lang="en-US" altLang="ko-KR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59" name="표 31">
            <a:extLst>
              <a:ext uri="{FF2B5EF4-FFF2-40B4-BE49-F238E27FC236}">
                <a16:creationId xmlns:a16="http://schemas.microsoft.com/office/drawing/2014/main" id="{68EF61C8-2AC8-4670-B894-5811F12DF840}"/>
              </a:ext>
            </a:extLst>
          </p:cNvPr>
          <p:cNvGraphicFramePr>
            <a:graphicFrameLocks noGrp="1"/>
          </p:cNvGraphicFramePr>
          <p:nvPr/>
        </p:nvGraphicFramePr>
        <p:xfrm>
          <a:off x="2961509" y="1700808"/>
          <a:ext cx="4718274" cy="4814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299">
                  <a:extLst>
                    <a:ext uri="{9D8B030D-6E8A-4147-A177-3AD203B41FA5}">
                      <a16:colId xmlns:a16="http://schemas.microsoft.com/office/drawing/2014/main" val="2706316275"/>
                    </a:ext>
                  </a:extLst>
                </a:gridCol>
                <a:gridCol w="2219964">
                  <a:extLst>
                    <a:ext uri="{9D8B030D-6E8A-4147-A177-3AD203B41FA5}">
                      <a16:colId xmlns:a16="http://schemas.microsoft.com/office/drawing/2014/main" val="3174401532"/>
                    </a:ext>
                  </a:extLst>
                </a:gridCol>
                <a:gridCol w="1092011">
                  <a:extLst>
                    <a:ext uri="{9D8B030D-6E8A-4147-A177-3AD203B41FA5}">
                      <a16:colId xmlns:a16="http://schemas.microsoft.com/office/drawing/2014/main" val="3080557774"/>
                    </a:ext>
                  </a:extLst>
                </a:gridCol>
              </a:tblGrid>
              <a:tr h="283230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환경 과제</a:t>
                      </a:r>
                      <a:r>
                        <a:rPr lang="ko-KR" altLang="en-US" sz="1000" b="1" strike="sngStrike" dirty="0">
                          <a:solidFill>
                            <a:schemeClr val="tx1"/>
                          </a:solidFill>
                        </a:rPr>
                        <a:t>이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온실가스 배출량 측정 및 개선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9041964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친환경 제품 ∙ 서비스 개발 및 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778855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생물다양성 보전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692292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너지 및 자원 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3601488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폐기물 및 오염물질 처리 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092252"/>
                  </a:ext>
                </a:extLst>
              </a:tr>
              <a:tr h="283230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사회 과제</a:t>
                      </a:r>
                      <a:r>
                        <a:rPr lang="ko-KR" altLang="en-US" sz="1000" b="1" strike="sngStrike" dirty="0">
                          <a:solidFill>
                            <a:schemeClr val="tx1"/>
                          </a:solidFill>
                        </a:rPr>
                        <a:t>이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공급망 </a:t>
                      </a:r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471994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권 보호 정책 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358506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적자본 관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32044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지역사회 공헌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541625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소비자 보호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6918670"/>
                  </a:ext>
                </a:extLst>
              </a:tr>
              <a:tr h="28323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거버넌스 과제</a:t>
                      </a:r>
                      <a:r>
                        <a:rPr lang="ko-KR" altLang="en-US" sz="1000" b="1" strike="sngStrike" dirty="0">
                          <a:solidFill>
                            <a:schemeClr val="tx1"/>
                          </a:solidFill>
                        </a:rPr>
                        <a:t>이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사회 구성 및 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&amp;R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분담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314851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내부통제 및 감사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443811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윤리경영 정책 준수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504197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주권리 보장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297975"/>
                  </a:ext>
                </a:extLst>
              </a:tr>
              <a:tr h="28323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과제이행 관리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규정 ∙ 지침 작성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604112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모니터링 및 성과 평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978483"/>
                  </a:ext>
                </a:extLst>
              </a:tr>
              <a:tr h="2832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지속가능 금융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권 발행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rgbClr val="C00000"/>
                          </a:solidFill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694066"/>
                  </a:ext>
                </a:extLst>
              </a:tr>
            </a:tbl>
          </a:graphicData>
        </a:graphic>
      </p:graphicFrame>
      <p:grpSp>
        <p:nvGrpSpPr>
          <p:cNvPr id="65" name="그룹 64">
            <a:extLst>
              <a:ext uri="{FF2B5EF4-FFF2-40B4-BE49-F238E27FC236}">
                <a16:creationId xmlns:a16="http://schemas.microsoft.com/office/drawing/2014/main" id="{6E054BDE-582F-4A46-9217-8DD735F4EDE5}"/>
              </a:ext>
            </a:extLst>
          </p:cNvPr>
          <p:cNvGrpSpPr/>
          <p:nvPr/>
        </p:nvGrpSpPr>
        <p:grpSpPr>
          <a:xfrm>
            <a:off x="8781063" y="1495474"/>
            <a:ext cx="205011" cy="4908049"/>
            <a:chOff x="9201470" y="1601344"/>
            <a:chExt cx="188140" cy="4198758"/>
          </a:xfrm>
        </p:grpSpPr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400DC5BC-628F-4CF4-B357-1359965D3808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9267D824-BBBA-48A3-A08D-DB4F1284C88C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AD689FAF-05EF-4E84-BB5A-2F7FA651C68D}"/>
                  </a:ext>
                </a:extLst>
              </p:cNvPr>
              <p:cNvSpPr/>
              <p:nvPr/>
            </p:nvSpPr>
            <p:spPr>
              <a:xfrm>
                <a:off x="9201496" y="2824233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BD4C2A40-188E-44DD-9CCC-1BED68ADAF50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72D4F0EF-FA67-47E1-996F-8B98460344C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63214829-3AA4-4D08-A248-766F4093DC38}"/>
              </a:ext>
            </a:extLst>
          </p:cNvPr>
          <p:cNvSpPr/>
          <p:nvPr/>
        </p:nvSpPr>
        <p:spPr>
          <a:xfrm>
            <a:off x="8972055" y="0"/>
            <a:ext cx="3218221" cy="9366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경영 자가진단 결과 화면 전제 기획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로직 구성안 엑셀 파일 내용 반영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과제이행 관리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’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 추가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CED177C6-9418-4DF0-933E-277AEC1351E2}"/>
              </a:ext>
            </a:extLst>
          </p:cNvPr>
          <p:cNvSpPr/>
          <p:nvPr/>
        </p:nvSpPr>
        <p:spPr>
          <a:xfrm>
            <a:off x="3806469" y="2341628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725630D-3818-4A42-844D-13CEDC5934E6}"/>
              </a:ext>
            </a:extLst>
          </p:cNvPr>
          <p:cNvSpPr/>
          <p:nvPr/>
        </p:nvSpPr>
        <p:spPr>
          <a:xfrm>
            <a:off x="3806469" y="3732145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4153D308-C520-446E-9901-3339292C873D}"/>
              </a:ext>
            </a:extLst>
          </p:cNvPr>
          <p:cNvSpPr/>
          <p:nvPr/>
        </p:nvSpPr>
        <p:spPr>
          <a:xfrm>
            <a:off x="3935807" y="5005924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52B3A7C6-F0CF-4659-8AE5-11B16EA36190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03978223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3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0419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5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 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 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이행 가이드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번호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[P007]) 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 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 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∙ 인증 가이드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번호</a:t>
                      </a:r>
                      <a:r>
                        <a:rPr kumimoji="0" lang="en-US" altLang="ko-KR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[P013]) </a:t>
                      </a:r>
                      <a:r>
                        <a:rPr kumimoji="0" lang="ko-KR" altLang="en-US" sz="800" b="0" i="0" u="none" strike="noStrike" kern="1200" cap="none" spc="-3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이동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597293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652439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CA4AE9E-2053-4FA8-8BE8-C4BCEAA846E0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BB19CEDA-EBAE-44C4-AC34-EFDCE0DC5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81F86BD-36AD-4AE4-AB53-ACEACCD60B2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E87EFCB8-1941-41E5-94D6-DA7BF4BC4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0B94D58-F49D-480B-9166-E9F15E6F116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5E0673A2-6956-4F2D-9DD4-621B5A494A2B}"/>
              </a:ext>
            </a:extLst>
          </p:cNvPr>
          <p:cNvSpPr/>
          <p:nvPr/>
        </p:nvSpPr>
        <p:spPr>
          <a:xfrm>
            <a:off x="1632889" y="1700808"/>
            <a:ext cx="1330975" cy="2265838"/>
          </a:xfrm>
          <a:prstGeom prst="rect">
            <a:avLst/>
          </a:prstGeom>
          <a:solidFill>
            <a:srgbClr val="DD700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ESG </a:t>
            </a:r>
            <a:br>
              <a:rPr lang="en-US" altLang="ko-KR" sz="1000" b="1">
                <a:solidFill>
                  <a:schemeClr val="bg1"/>
                </a:solidFill>
              </a:rPr>
            </a:br>
            <a:r>
              <a:rPr lang="ko-KR" altLang="en-US" sz="1000" b="1" dirty="0">
                <a:solidFill>
                  <a:schemeClr val="bg1"/>
                </a:solidFill>
              </a:rPr>
              <a:t>과제이행</a:t>
            </a:r>
            <a:endParaRPr lang="en-US" altLang="ko-KR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59" name="표 31">
            <a:extLst>
              <a:ext uri="{FF2B5EF4-FFF2-40B4-BE49-F238E27FC236}">
                <a16:creationId xmlns:a16="http://schemas.microsoft.com/office/drawing/2014/main" id="{68EF61C8-2AC8-4670-B894-5811F12DF840}"/>
              </a:ext>
            </a:extLst>
          </p:cNvPr>
          <p:cNvGraphicFramePr>
            <a:graphicFrameLocks noGrp="1"/>
          </p:cNvGraphicFramePr>
          <p:nvPr/>
        </p:nvGraphicFramePr>
        <p:xfrm>
          <a:off x="2961509" y="1700808"/>
          <a:ext cx="4718274" cy="1699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299">
                  <a:extLst>
                    <a:ext uri="{9D8B030D-6E8A-4147-A177-3AD203B41FA5}">
                      <a16:colId xmlns:a16="http://schemas.microsoft.com/office/drawing/2014/main" val="2706316275"/>
                    </a:ext>
                  </a:extLst>
                </a:gridCol>
                <a:gridCol w="2219964">
                  <a:extLst>
                    <a:ext uri="{9D8B030D-6E8A-4147-A177-3AD203B41FA5}">
                      <a16:colId xmlns:a16="http://schemas.microsoft.com/office/drawing/2014/main" val="3174401532"/>
                    </a:ext>
                  </a:extLst>
                </a:gridCol>
                <a:gridCol w="1092011">
                  <a:extLst>
                    <a:ext uri="{9D8B030D-6E8A-4147-A177-3AD203B41FA5}">
                      <a16:colId xmlns:a16="http://schemas.microsoft.com/office/drawing/2014/main" val="3080557774"/>
                    </a:ext>
                  </a:extLst>
                </a:gridCol>
              </a:tblGrid>
              <a:tr h="28323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영향평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기후리스크에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따른 재무적 영향 평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맑은 고딕" panose="020B0503020000020004" pitchFamily="50" charset="-127"/>
                          <a:cs typeface="+mn-cs"/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53051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환경∙사회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영향 평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794381"/>
                  </a:ext>
                </a:extLst>
              </a:tr>
              <a:tr h="28323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시스템 운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PI∙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관리지표 측정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모니터링 시스템 구축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585550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전사 </a:t>
                      </a:r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데이터 통합관리 시스템 구축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6517987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요 </a:t>
                      </a:r>
                      <a:r>
                        <a:rPr lang="ko-KR" altLang="en-US" sz="9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공시∙보고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시스템 구축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61102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정보 기반 경영관리 시스템 고도화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677903"/>
                  </a:ext>
                </a:extLst>
              </a:tr>
            </a:tbl>
          </a:graphicData>
        </a:graphic>
      </p:graphicFrame>
      <p:grpSp>
        <p:nvGrpSpPr>
          <p:cNvPr id="3" name="그룹 2">
            <a:extLst>
              <a:ext uri="{FF2B5EF4-FFF2-40B4-BE49-F238E27FC236}">
                <a16:creationId xmlns:a16="http://schemas.microsoft.com/office/drawing/2014/main" id="{F5AC0505-BBA9-49D6-A253-CA5B4EFA55A4}"/>
              </a:ext>
            </a:extLst>
          </p:cNvPr>
          <p:cNvGrpSpPr/>
          <p:nvPr/>
        </p:nvGrpSpPr>
        <p:grpSpPr>
          <a:xfrm>
            <a:off x="2960967" y="3400187"/>
            <a:ext cx="4718816" cy="566459"/>
            <a:chOff x="2961509" y="4184838"/>
            <a:chExt cx="4718816" cy="566459"/>
          </a:xfrm>
        </p:grpSpPr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1AE9E8A1-E3BD-48E7-A279-C468D389660B}"/>
                </a:ext>
              </a:extLst>
            </p:cNvPr>
            <p:cNvSpPr/>
            <p:nvPr/>
          </p:nvSpPr>
          <p:spPr>
            <a:xfrm>
              <a:off x="2961509" y="4184838"/>
              <a:ext cx="4718816" cy="5664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900" b="1" dirty="0">
                  <a:solidFill>
                    <a:srgbClr val="464646"/>
                  </a:solidFill>
                </a:rPr>
                <a:t>「생물다양성 보전」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,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「공급망 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ESG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관리」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,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「인권 보호 정책 관리」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,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「주주권리 보장」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,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「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ESG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채권 발행」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,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「</a:t>
              </a:r>
              <a:r>
                <a:rPr lang="ko-KR" altLang="en-US" sz="900" b="1" dirty="0" err="1">
                  <a:solidFill>
                    <a:srgbClr val="464646"/>
                  </a:solidFill>
                </a:rPr>
                <a:t>기후리스크에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 따른 재무적 영향 평가」</a:t>
              </a:r>
              <a:r>
                <a:rPr lang="ko-KR" altLang="en-US" sz="900" dirty="0">
                  <a:solidFill>
                    <a:srgbClr val="464646"/>
                  </a:solidFill>
                </a:rPr>
                <a:t> 수행이 미흡하다고 답변하여</a:t>
              </a:r>
              <a:r>
                <a:rPr lang="en-US" altLang="ko-KR" sz="900" dirty="0">
                  <a:solidFill>
                    <a:srgbClr val="464646"/>
                  </a:solidFill>
                </a:rPr>
                <a:t>,  </a:t>
              </a:r>
              <a:br>
                <a:rPr lang="en-US" altLang="ko-KR" sz="900" dirty="0">
                  <a:solidFill>
                    <a:srgbClr val="464646"/>
                  </a:solidFill>
                </a:rPr>
              </a:br>
              <a:r>
                <a:rPr lang="en-US" altLang="ko-KR" sz="900" b="1" dirty="0">
                  <a:solidFill>
                    <a:schemeClr val="accent2"/>
                  </a:solidFill>
                </a:rPr>
                <a:t>ESG</a:t>
              </a:r>
              <a:r>
                <a:rPr lang="ko-KR" altLang="en-US" sz="900" b="1" dirty="0">
                  <a:solidFill>
                    <a:schemeClr val="accent2"/>
                  </a:solidFill>
                </a:rPr>
                <a:t> 경영 성숙도가 </a:t>
              </a:r>
              <a:r>
                <a:rPr lang="en-US" altLang="ko-KR" sz="900" b="1" dirty="0">
                  <a:solidFill>
                    <a:schemeClr val="accent2"/>
                  </a:solidFill>
                </a:rPr>
                <a:t>45 </a:t>
              </a:r>
              <a:r>
                <a:rPr lang="ko-KR" altLang="en-US" sz="900" dirty="0">
                  <a:solidFill>
                    <a:srgbClr val="464646"/>
                  </a:solidFill>
                </a:rPr>
                <a:t>로</a:t>
              </a:r>
              <a:r>
                <a:rPr lang="ko-KR" altLang="en-US" sz="900" b="1" dirty="0">
                  <a:solidFill>
                    <a:schemeClr val="accent2"/>
                  </a:solidFill>
                </a:rPr>
                <a:t> </a:t>
              </a:r>
              <a:r>
                <a:rPr lang="ko-KR" altLang="en-US" sz="900" dirty="0">
                  <a:solidFill>
                    <a:srgbClr val="464646"/>
                  </a:solidFill>
                </a:rPr>
                <a:t>측정되었습니다</a:t>
              </a:r>
              <a:r>
                <a:rPr lang="en-US" altLang="ko-KR" sz="900" dirty="0">
                  <a:solidFill>
                    <a:srgbClr val="464646"/>
                  </a:solidFill>
                </a:rPr>
                <a:t>.  </a:t>
              </a:r>
              <a:endParaRPr lang="ko-KR" altLang="en-US" sz="900" dirty="0">
                <a:solidFill>
                  <a:srgbClr val="464646"/>
                </a:solidFill>
              </a:endParaRPr>
            </a:p>
          </p:txBody>
        </p: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8F1455A7-C40E-4205-B8DE-89793302FE0D}"/>
                </a:ext>
              </a:extLst>
            </p:cNvPr>
            <p:cNvSpPr/>
            <p:nvPr/>
          </p:nvSpPr>
          <p:spPr>
            <a:xfrm>
              <a:off x="5519935" y="4543908"/>
              <a:ext cx="2106045" cy="17379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US" altLang="ko-KR" sz="800" u="sng" dirty="0">
                  <a:solidFill>
                    <a:schemeClr val="bg1"/>
                  </a:solidFill>
                </a:rPr>
                <a:t>ESG </a:t>
              </a:r>
              <a:r>
                <a:rPr lang="ko-KR" altLang="en-US" sz="800" u="sng" dirty="0">
                  <a:solidFill>
                    <a:schemeClr val="bg1"/>
                  </a:solidFill>
                </a:rPr>
                <a:t>과제이행 경영 가이드 </a:t>
              </a:r>
              <a:r>
                <a:rPr lang="ko-KR" altLang="en-US" sz="800" u="sng" dirty="0" err="1">
                  <a:solidFill>
                    <a:schemeClr val="bg1"/>
                  </a:solidFill>
                </a:rPr>
                <a:t>더보기</a:t>
              </a:r>
              <a:endParaRPr lang="en-US" altLang="ko-KR" sz="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02B8A5C-4441-4AB4-96CC-4387221C351F}"/>
              </a:ext>
            </a:extLst>
          </p:cNvPr>
          <p:cNvSpPr/>
          <p:nvPr/>
        </p:nvSpPr>
        <p:spPr>
          <a:xfrm>
            <a:off x="1635244" y="3976667"/>
            <a:ext cx="1330975" cy="1612573"/>
          </a:xfrm>
          <a:prstGeom prst="rect">
            <a:avLst/>
          </a:prstGeom>
          <a:solidFill>
            <a:srgbClr val="C04600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</a:rPr>
              <a:t>ESG </a:t>
            </a:r>
            <a:br>
              <a:rPr lang="en-US" altLang="ko-KR" sz="1000" b="1" dirty="0">
                <a:solidFill>
                  <a:schemeClr val="bg1"/>
                </a:solidFill>
              </a:rPr>
            </a:br>
            <a:r>
              <a:rPr lang="ko-KR" altLang="en-US" sz="1000" b="1" dirty="0">
                <a:solidFill>
                  <a:schemeClr val="bg1"/>
                </a:solidFill>
              </a:rPr>
              <a:t>공시 ∙ 인증</a:t>
            </a:r>
            <a:endParaRPr lang="en-US" altLang="ko-KR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21" name="표 31">
            <a:extLst>
              <a:ext uri="{FF2B5EF4-FFF2-40B4-BE49-F238E27FC236}">
                <a16:creationId xmlns:a16="http://schemas.microsoft.com/office/drawing/2014/main" id="{06FCA7FF-8407-42C6-BF83-C455634F2472}"/>
              </a:ext>
            </a:extLst>
          </p:cNvPr>
          <p:cNvGraphicFramePr>
            <a:graphicFrameLocks noGrp="1"/>
          </p:cNvGraphicFramePr>
          <p:nvPr/>
        </p:nvGraphicFramePr>
        <p:xfrm>
          <a:off x="2970960" y="3976666"/>
          <a:ext cx="4718274" cy="113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299">
                  <a:extLst>
                    <a:ext uri="{9D8B030D-6E8A-4147-A177-3AD203B41FA5}">
                      <a16:colId xmlns:a16="http://schemas.microsoft.com/office/drawing/2014/main" val="2706316275"/>
                    </a:ext>
                  </a:extLst>
                </a:gridCol>
                <a:gridCol w="2219964">
                  <a:extLst>
                    <a:ext uri="{9D8B030D-6E8A-4147-A177-3AD203B41FA5}">
                      <a16:colId xmlns:a16="http://schemas.microsoft.com/office/drawing/2014/main" val="3174401532"/>
                    </a:ext>
                  </a:extLst>
                </a:gridCol>
                <a:gridCol w="1092011">
                  <a:extLst>
                    <a:ext uri="{9D8B030D-6E8A-4147-A177-3AD203B41FA5}">
                      <a16:colId xmlns:a16="http://schemas.microsoft.com/office/drawing/2014/main" val="3080557774"/>
                    </a:ext>
                  </a:extLst>
                </a:gridCol>
              </a:tblGrid>
              <a:tr h="283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 공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altLang="ko-KR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공시 보고서 작성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0854"/>
                  </a:ext>
                </a:extLst>
              </a:tr>
              <a:tr h="2832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평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평가기관 등급 관리 및 개선활동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679155"/>
                  </a:ext>
                </a:extLst>
              </a:tr>
              <a:tr h="28323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인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u="none" strike="noStrike" dirty="0">
                          <a:effectLst/>
                        </a:rPr>
                        <a:t>제</a:t>
                      </a:r>
                      <a:r>
                        <a:rPr lang="en-US" altLang="ko-KR" sz="900" u="none" strike="noStrike" dirty="0">
                          <a:effectLst/>
                        </a:rPr>
                        <a:t>3</a:t>
                      </a:r>
                      <a:r>
                        <a:rPr lang="ko-KR" altLang="en-US" sz="900" u="none" strike="noStrike" dirty="0">
                          <a:effectLst/>
                        </a:rPr>
                        <a:t>자 인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일부 수행 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53051"/>
                  </a:ext>
                </a:extLst>
              </a:tr>
              <a:tr h="28323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altLang="ko-KR" sz="900" u="none" strike="noStrike" dirty="0">
                          <a:effectLst/>
                        </a:rPr>
                        <a:t>ESG </a:t>
                      </a:r>
                      <a:r>
                        <a:rPr lang="ko-KR" altLang="en-US" sz="900" u="none" strike="noStrike" dirty="0">
                          <a:effectLst/>
                        </a:rPr>
                        <a:t>채권 외부 기관 검증</a:t>
                      </a:r>
                      <a:endParaRPr lang="ko-KR" altLang="en-US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미흡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794381"/>
                  </a:ext>
                </a:extLst>
              </a:tr>
            </a:tbl>
          </a:graphicData>
        </a:graphic>
      </p:graphicFrame>
      <p:grpSp>
        <p:nvGrpSpPr>
          <p:cNvPr id="22" name="그룹 21">
            <a:extLst>
              <a:ext uri="{FF2B5EF4-FFF2-40B4-BE49-F238E27FC236}">
                <a16:creationId xmlns:a16="http://schemas.microsoft.com/office/drawing/2014/main" id="{5D9D404E-02CD-4C5C-BF0A-CD16801FBF46}"/>
              </a:ext>
            </a:extLst>
          </p:cNvPr>
          <p:cNvGrpSpPr/>
          <p:nvPr/>
        </p:nvGrpSpPr>
        <p:grpSpPr>
          <a:xfrm>
            <a:off x="2960967" y="5109586"/>
            <a:ext cx="4718816" cy="479654"/>
            <a:chOff x="2961509" y="4184839"/>
            <a:chExt cx="4718816" cy="479654"/>
          </a:xfrm>
        </p:grpSpPr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47FFA79E-5A03-4CDE-96DE-58FE948A2370}"/>
                </a:ext>
              </a:extLst>
            </p:cNvPr>
            <p:cNvSpPr/>
            <p:nvPr/>
          </p:nvSpPr>
          <p:spPr>
            <a:xfrm>
              <a:off x="2961509" y="4184839"/>
              <a:ext cx="4718816" cy="4796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900" b="1" dirty="0">
                  <a:solidFill>
                    <a:srgbClr val="464646"/>
                  </a:solidFill>
                </a:rPr>
                <a:t>「</a:t>
              </a:r>
              <a:r>
                <a:rPr lang="en-US" altLang="ko-KR" sz="900" b="1" dirty="0">
                  <a:solidFill>
                    <a:srgbClr val="464646"/>
                  </a:solidFill>
                </a:rPr>
                <a:t>ESG </a:t>
              </a:r>
              <a:r>
                <a:rPr lang="ko-KR" altLang="en-US" sz="900" b="1" dirty="0">
                  <a:solidFill>
                    <a:srgbClr val="464646"/>
                  </a:solidFill>
                </a:rPr>
                <a:t>채권 외부 기관 </a:t>
              </a:r>
              <a:r>
                <a:rPr lang="ko-KR" altLang="en-US" sz="900" b="1" dirty="0" err="1">
                  <a:solidFill>
                    <a:srgbClr val="464646"/>
                  </a:solidFill>
                </a:rPr>
                <a:t>검증」</a:t>
              </a:r>
              <a:r>
                <a:rPr lang="ko-KR" altLang="en-US" sz="900" dirty="0" err="1">
                  <a:solidFill>
                    <a:srgbClr val="464646"/>
                  </a:solidFill>
                </a:rPr>
                <a:t>수행이</a:t>
              </a:r>
              <a:r>
                <a:rPr lang="ko-KR" altLang="en-US" sz="900" dirty="0">
                  <a:solidFill>
                    <a:srgbClr val="464646"/>
                  </a:solidFill>
                </a:rPr>
                <a:t> 미흡하다고 답변하여</a:t>
              </a:r>
              <a:r>
                <a:rPr lang="en-US" altLang="ko-KR" sz="900" dirty="0">
                  <a:solidFill>
                    <a:srgbClr val="464646"/>
                  </a:solidFill>
                </a:rPr>
                <a:t>,</a:t>
              </a:r>
              <a:br>
                <a:rPr lang="en-US" altLang="ko-KR" sz="900" dirty="0">
                  <a:solidFill>
                    <a:srgbClr val="464646"/>
                  </a:solidFill>
                </a:rPr>
              </a:br>
              <a:r>
                <a:rPr lang="en-US" altLang="ko-KR" sz="900" dirty="0">
                  <a:solidFill>
                    <a:srgbClr val="464646"/>
                  </a:solidFill>
                </a:rPr>
                <a:t> </a:t>
              </a:r>
              <a:r>
                <a:rPr lang="en-US" altLang="ko-KR" sz="900" b="1" dirty="0">
                  <a:solidFill>
                    <a:schemeClr val="accent2"/>
                  </a:solidFill>
                </a:rPr>
                <a:t>ESG</a:t>
              </a:r>
              <a:r>
                <a:rPr lang="ko-KR" altLang="en-US" sz="900" b="1" dirty="0">
                  <a:solidFill>
                    <a:schemeClr val="accent2"/>
                  </a:solidFill>
                </a:rPr>
                <a:t> 경영 성숙도가 </a:t>
              </a:r>
              <a:r>
                <a:rPr lang="en-US" altLang="ko-KR" sz="900" b="1" dirty="0">
                  <a:solidFill>
                    <a:schemeClr val="accent2"/>
                  </a:solidFill>
                </a:rPr>
                <a:t>85 </a:t>
              </a:r>
              <a:r>
                <a:rPr lang="ko-KR" altLang="en-US" sz="900" dirty="0">
                  <a:solidFill>
                    <a:srgbClr val="464646"/>
                  </a:solidFill>
                </a:rPr>
                <a:t>로</a:t>
              </a:r>
              <a:r>
                <a:rPr lang="ko-KR" altLang="en-US" sz="900" b="1" dirty="0">
                  <a:solidFill>
                    <a:schemeClr val="accent2"/>
                  </a:solidFill>
                </a:rPr>
                <a:t> </a:t>
              </a:r>
              <a:r>
                <a:rPr lang="ko-KR" altLang="en-US" sz="900" dirty="0">
                  <a:solidFill>
                    <a:srgbClr val="464646"/>
                  </a:solidFill>
                </a:rPr>
                <a:t>측정되었습니다</a:t>
              </a:r>
              <a:r>
                <a:rPr lang="en-US" altLang="ko-KR" sz="900" dirty="0">
                  <a:solidFill>
                    <a:srgbClr val="464646"/>
                  </a:solidFill>
                </a:rPr>
                <a:t>.  </a:t>
              </a:r>
              <a:endParaRPr lang="ko-KR" altLang="en-US" sz="900" dirty="0">
                <a:solidFill>
                  <a:srgbClr val="464646"/>
                </a:solidFill>
              </a:endParaRP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15F90548-EC87-4BB3-8F6F-4D9DA93D3BA6}"/>
                </a:ext>
              </a:extLst>
            </p:cNvPr>
            <p:cNvSpPr/>
            <p:nvPr/>
          </p:nvSpPr>
          <p:spPr>
            <a:xfrm>
              <a:off x="5519935" y="4446066"/>
              <a:ext cx="2106045" cy="17379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US" altLang="ko-KR" sz="800" u="sng" dirty="0">
                  <a:solidFill>
                    <a:schemeClr val="bg1"/>
                  </a:solidFill>
                </a:rPr>
                <a:t>ESG </a:t>
              </a:r>
              <a:r>
                <a:rPr lang="ko-KR" altLang="en-US" sz="800" u="sng" dirty="0">
                  <a:solidFill>
                    <a:schemeClr val="bg1"/>
                  </a:solidFill>
                </a:rPr>
                <a:t>공시 ∙ 인증 경영 가이드 </a:t>
              </a:r>
              <a:r>
                <a:rPr lang="ko-KR" altLang="en-US" sz="800" u="sng" dirty="0" err="1">
                  <a:solidFill>
                    <a:schemeClr val="bg1"/>
                  </a:solidFill>
                </a:rPr>
                <a:t>더보기</a:t>
              </a:r>
              <a:endParaRPr lang="en-US" altLang="ko-KR" sz="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11A7B34E-B3AF-4A43-B4A1-DE2ED931171C}"/>
              </a:ext>
            </a:extLst>
          </p:cNvPr>
          <p:cNvSpPr/>
          <p:nvPr/>
        </p:nvSpPr>
        <p:spPr>
          <a:xfrm>
            <a:off x="5465048" y="37890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20BB270-E9CC-42CB-AFC8-53D3267C4F9E}"/>
              </a:ext>
            </a:extLst>
          </p:cNvPr>
          <p:cNvSpPr/>
          <p:nvPr/>
        </p:nvSpPr>
        <p:spPr>
          <a:xfrm>
            <a:off x="5465048" y="54025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DDA9259-188D-4733-8C6C-FE8EFF4A5B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35755" y="5744688"/>
            <a:ext cx="1813288" cy="13258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코멘트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7B8BC9D-906E-4DB7-B9A1-A238401DF1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5444"/>
          <a:stretch/>
        </p:blipFill>
        <p:spPr>
          <a:xfrm>
            <a:off x="1628924" y="5974041"/>
            <a:ext cx="6047756" cy="429484"/>
          </a:xfrm>
          <a:prstGeom prst="rect">
            <a:avLst/>
          </a:prstGeom>
        </p:spPr>
      </p:pic>
      <p:grpSp>
        <p:nvGrpSpPr>
          <p:cNvPr id="31" name="그룹 30">
            <a:extLst>
              <a:ext uri="{FF2B5EF4-FFF2-40B4-BE49-F238E27FC236}">
                <a16:creationId xmlns:a16="http://schemas.microsoft.com/office/drawing/2014/main" id="{84FDCE0C-CC41-4D54-A795-1193C3C4C56F}"/>
              </a:ext>
            </a:extLst>
          </p:cNvPr>
          <p:cNvGrpSpPr/>
          <p:nvPr/>
        </p:nvGrpSpPr>
        <p:grpSpPr>
          <a:xfrm>
            <a:off x="8781063" y="1495474"/>
            <a:ext cx="205011" cy="4908049"/>
            <a:chOff x="9201470" y="1601344"/>
            <a:chExt cx="188140" cy="4198758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4DA25157-4AE3-4059-833E-5E9FAD132495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C48766C0-286E-4718-AAD6-C32171F4A1D0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C3D0E753-ED96-48B0-BE39-BCB60A516FC5}"/>
                  </a:ext>
                </a:extLst>
              </p:cNvPr>
              <p:cNvSpPr/>
              <p:nvPr/>
            </p:nvSpPr>
            <p:spPr>
              <a:xfrm>
                <a:off x="9201496" y="3563453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9" name="직사각형 38">
                <a:extLst>
                  <a:ext uri="{FF2B5EF4-FFF2-40B4-BE49-F238E27FC236}">
                    <a16:creationId xmlns:a16="http://schemas.microsoft.com/office/drawing/2014/main" id="{2AC47E49-B26B-4618-A9EA-F50AFB8AA34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41" name="직사각형 40">
                <a:extLst>
                  <a:ext uri="{FF2B5EF4-FFF2-40B4-BE49-F238E27FC236}">
                    <a16:creationId xmlns:a16="http://schemas.microsoft.com/office/drawing/2014/main" id="{1911E4AA-4404-41DF-BABA-DE0DCE2AC026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D7D128F-18C5-4626-8887-302D6AAA2D2E}"/>
              </a:ext>
            </a:extLst>
          </p:cNvPr>
          <p:cNvSpPr/>
          <p:nvPr/>
        </p:nvSpPr>
        <p:spPr>
          <a:xfrm>
            <a:off x="8972055" y="0"/>
            <a:ext cx="3218221" cy="1280038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  <a:cs typeface="Arial"/>
              </a:rPr>
              <a:t>&lt;23.08.22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+mn-ea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  <a:cs typeface="Arial"/>
              </a:rPr>
              <a:t>경영 자가진단 결과 화면 전제 기획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+mn-ea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+mn-ea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&lt;23.09.11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+mn-ea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ESG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 과제이행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&gt;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시스템 운영 밑의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4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개 활동을 하나로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+mn-ea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0" kern="12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  <a:cs typeface="+mn-cs"/>
              </a:rPr>
              <a:t>(KPI∙</a:t>
            </a:r>
            <a:r>
              <a:rPr lang="ko-KR" altLang="en-US" sz="800" b="0" kern="12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  <a:cs typeface="+mn-cs"/>
              </a:rPr>
              <a:t>관리지표 측정</a:t>
            </a:r>
            <a:r>
              <a:rPr lang="en-US" altLang="ko-KR" sz="800" b="0" kern="12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  <a:cs typeface="+mn-cs"/>
              </a:rPr>
              <a:t>/</a:t>
            </a:r>
            <a:r>
              <a:rPr lang="ko-KR" altLang="en-US" sz="800" b="0" kern="12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  <a:cs typeface="+mn-cs"/>
              </a:rPr>
              <a:t>모니터링 시스템 구축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 외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</a:rPr>
              <a:t>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+mn-ea"/>
                <a:cs typeface="Arial"/>
                <a:sym typeface="Wingdings" panose="05000000000000000000" pitchFamily="2" charset="2"/>
              </a:rPr>
              <a:t> </a:t>
            </a:r>
            <a:r>
              <a:rPr lang="en-US" altLang="ko-KR" sz="8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 </a:t>
            </a:r>
            <a:r>
              <a:rPr lang="ko-KR" altLang="en-US" sz="8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관련 시스템 구축 및 운영</a:t>
            </a:r>
            <a:r>
              <a:rPr lang="en-US" altLang="ko-KR" sz="8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)</a:t>
            </a:r>
            <a:endParaRPr lang="ko-KR" altLang="en-US" sz="800" dirty="0">
              <a:solidFill>
                <a:schemeClr val="tx1"/>
              </a:solidFill>
              <a:highlight>
                <a:srgbClr val="FFFF00"/>
              </a:highlight>
              <a:latin typeface="+mn-ea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64BC922B-E445-4B9B-BA96-CB507FFA60A9}"/>
              </a:ext>
            </a:extLst>
          </p:cNvPr>
          <p:cNvSpPr/>
          <p:nvPr/>
        </p:nvSpPr>
        <p:spPr>
          <a:xfrm>
            <a:off x="1794550" y="5653118"/>
            <a:ext cx="1295698" cy="2651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산업별 주요 </a:t>
            </a:r>
            <a:r>
              <a:rPr lang="en-US" altLang="ko-KR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Topic</a:t>
            </a:r>
            <a:endParaRPr lang="ko-KR" altLang="en-US" sz="105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ABF8AFDF-0C90-4285-B588-98408E6EE3CC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14A437D-6276-430B-9BB4-D5D22B8D4AC3}"/>
              </a:ext>
            </a:extLst>
          </p:cNvPr>
          <p:cNvSpPr/>
          <p:nvPr/>
        </p:nvSpPr>
        <p:spPr>
          <a:xfrm>
            <a:off x="4420932" y="2306691"/>
            <a:ext cx="2088232" cy="10252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관련 시스템 구축 및 운영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BD48745E-7415-4205-878B-2DB3DFAF6BFE}"/>
              </a:ext>
            </a:extLst>
          </p:cNvPr>
          <p:cNvSpPr/>
          <p:nvPr/>
        </p:nvSpPr>
        <p:spPr>
          <a:xfrm>
            <a:off x="6635681" y="2301989"/>
            <a:ext cx="989757" cy="102528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일부 수행 중</a:t>
            </a:r>
            <a:endParaRPr lang="ko-KR" altLang="en-US" sz="900" dirty="0">
              <a:solidFill>
                <a:schemeClr val="tx1"/>
              </a:solidFill>
              <a:highlight>
                <a:srgbClr val="FFFF00"/>
              </a:highligh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3626020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4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106" name="표 105">
            <a:extLst>
              <a:ext uri="{FF2B5EF4-FFF2-40B4-BE49-F238E27FC236}">
                <a16:creationId xmlns:a16="http://schemas.microsoft.com/office/drawing/2014/main" id="{819ECA84-CCE3-431A-9179-DD88D5C224ED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176BF48C-A0A4-429B-8D9A-0AADB2D1B812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8" name="표 10">
            <a:extLst>
              <a:ext uri="{FF2B5EF4-FFF2-40B4-BE49-F238E27FC236}">
                <a16:creationId xmlns:a16="http://schemas.microsoft.com/office/drawing/2014/main" id="{CCD73444-C7E6-4312-8EB4-D5CF89F87128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47283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65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 시작 첫 단계에서 응답한 업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표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종별 주요수행 과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매핑 테이블에 따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,S,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각 영역별 주요 수행 과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 테이블은 엑셀로 별도 전달 예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별 버튼 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opic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과 연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매핑 테이블은 엑셀로 별도 전달 예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5351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 시 입력한 업종분류 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GICS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맵핑 결과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업종의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업별 추가 의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전체를 출력하지 않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엑셀 파일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597293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652439"/>
                  </a:ext>
                </a:extLst>
              </a:tr>
            </a:tbl>
          </a:graphicData>
        </a:graphic>
      </p:graphicFrame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28B8847B-C6D8-442F-BFAE-6F2D5BD0BB98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E920D249-5591-4521-8C6B-5F387FEB2429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31363DC1-5899-41C5-B60B-BFA46DB9BE8F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27381910-511B-4E02-83E4-684C45BD42F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13" name="그림 112">
              <a:extLst>
                <a:ext uri="{FF2B5EF4-FFF2-40B4-BE49-F238E27FC236}">
                  <a16:creationId xmlns:a16="http://schemas.microsoft.com/office/drawing/2014/main" id="{7E46B38E-0E95-4E55-B0A4-17C31CE4A9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8ED5A4E2-E0F6-4781-8ADC-15ACCE64BC2A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15" name="그림 114">
              <a:extLst>
                <a:ext uri="{FF2B5EF4-FFF2-40B4-BE49-F238E27FC236}">
                  <a16:creationId xmlns:a16="http://schemas.microsoft.com/office/drawing/2014/main" id="{AEEBB97F-F137-4A00-8469-E124A49AF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63D140EE-F95A-460D-A789-ECF234BA6996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10F16400-D761-4693-8492-32D8D20FB0AE}"/>
              </a:ext>
            </a:extLst>
          </p:cNvPr>
          <p:cNvSpPr/>
          <p:nvPr/>
        </p:nvSpPr>
        <p:spPr>
          <a:xfrm>
            <a:off x="1631950" y="3403489"/>
            <a:ext cx="6047833" cy="261779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0" rIns="108000" bIns="144000" rtlCol="0" anchor="t"/>
          <a:lstStyle/>
          <a:p>
            <a:pPr>
              <a:lnSpc>
                <a:spcPct val="120000"/>
              </a:lnSpc>
            </a:pP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귀사가 속해 있는 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의복 액세서리 제조업</a:t>
            </a:r>
            <a:r>
              <a:rPr lang="en-US" altLang="ko-KR" sz="105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음의 이슈가 사업에 주요한 영향을 미칠 수 있으므로 세부 과제 이행을 통한 대응이 필요합니다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.</a:t>
            </a:r>
            <a:endParaRPr lang="ko-KR" altLang="en-US" sz="9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8" name="표 5">
            <a:extLst>
              <a:ext uri="{FF2B5EF4-FFF2-40B4-BE49-F238E27FC236}">
                <a16:creationId xmlns:a16="http://schemas.microsoft.com/office/drawing/2014/main" id="{77139F56-3EC1-4BA8-981D-C5BABD730A4D}"/>
              </a:ext>
            </a:extLst>
          </p:cNvPr>
          <p:cNvGraphicFramePr>
            <a:graphicFrameLocks noGrp="1"/>
          </p:cNvGraphicFramePr>
          <p:nvPr/>
        </p:nvGraphicFramePr>
        <p:xfrm>
          <a:off x="1703511" y="3986580"/>
          <a:ext cx="5922469" cy="1829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7">
                  <a:extLst>
                    <a:ext uri="{9D8B030D-6E8A-4147-A177-3AD203B41FA5}">
                      <a16:colId xmlns:a16="http://schemas.microsoft.com/office/drawing/2014/main" val="79160287"/>
                    </a:ext>
                  </a:extLst>
                </a:gridCol>
                <a:gridCol w="5418412">
                  <a:extLst>
                    <a:ext uri="{9D8B030D-6E8A-4147-A177-3AD203B41FA5}">
                      <a16:colId xmlns:a16="http://schemas.microsoft.com/office/drawing/2014/main" val="25175695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>
                          <a:latin typeface="+mn-ea"/>
                          <a:ea typeface="+mn-ea"/>
                        </a:rPr>
                        <a:t>영역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>
                          <a:latin typeface="+mn-ea"/>
                          <a:ea typeface="+mn-ea"/>
                        </a:rPr>
                        <a:t>주요 토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287546"/>
                  </a:ext>
                </a:extLst>
              </a:tr>
              <a:tr h="6091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E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latin typeface="+mn-ea"/>
                        <a:ea typeface="+mn-ea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607106"/>
                  </a:ext>
                </a:extLst>
              </a:tr>
              <a:tr h="6091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S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b="1" dirty="0">
                        <a:latin typeface="+mn-ea"/>
                        <a:ea typeface="+mn-ea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53626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G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1" i="1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</a:rPr>
                        <a:t>공통 적용 영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550396"/>
                  </a:ext>
                </a:extLst>
              </a:tr>
            </a:tbl>
          </a:graphicData>
        </a:graphic>
      </p:graphicFrame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7BDFD9B1-DB58-4DB2-B034-0C000313129C}"/>
              </a:ext>
            </a:extLst>
          </p:cNvPr>
          <p:cNvSpPr/>
          <p:nvPr/>
        </p:nvSpPr>
        <p:spPr>
          <a:xfrm>
            <a:off x="2257657" y="4294256"/>
            <a:ext cx="1870620" cy="21859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n-ea"/>
              </a:rPr>
              <a:t>온실가스 배출량 측정 및 개선</a:t>
            </a: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F008F31C-2322-446B-BB1B-506EF05B9DE5}"/>
              </a:ext>
            </a:extLst>
          </p:cNvPr>
          <p:cNvSpPr/>
          <p:nvPr/>
        </p:nvSpPr>
        <p:spPr>
          <a:xfrm>
            <a:off x="4202339" y="4294256"/>
            <a:ext cx="1146235" cy="21859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n-ea"/>
              </a:rPr>
              <a:t>에너지 사용 관리</a:t>
            </a: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F30A7502-5AD1-4E88-98A7-BF726CA9D453}"/>
              </a:ext>
            </a:extLst>
          </p:cNvPr>
          <p:cNvSpPr/>
          <p:nvPr/>
        </p:nvSpPr>
        <p:spPr>
          <a:xfrm>
            <a:off x="5422636" y="4294256"/>
            <a:ext cx="1146235" cy="21859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수자원 사용 관리</a:t>
            </a: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7A9E6798-A14C-4783-82D8-134246AC8635}"/>
              </a:ext>
            </a:extLst>
          </p:cNvPr>
          <p:cNvSpPr/>
          <p:nvPr/>
        </p:nvSpPr>
        <p:spPr>
          <a:xfrm>
            <a:off x="2257657" y="4558919"/>
            <a:ext cx="1248516" cy="21859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원부자재 사용 관리</a:t>
            </a:r>
          </a:p>
        </p:txBody>
      </p:sp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D2CAD348-B8EF-4359-9BC4-F91773D18C9A}"/>
              </a:ext>
            </a:extLst>
          </p:cNvPr>
          <p:cNvSpPr/>
          <p:nvPr/>
        </p:nvSpPr>
        <p:spPr>
          <a:xfrm>
            <a:off x="3580236" y="4558919"/>
            <a:ext cx="867615" cy="21859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폐기물 관리</a:t>
            </a: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91A93EDF-142F-4F0E-9195-0B6C51776760}"/>
              </a:ext>
            </a:extLst>
          </p:cNvPr>
          <p:cNvSpPr/>
          <p:nvPr/>
        </p:nvSpPr>
        <p:spPr>
          <a:xfrm>
            <a:off x="2259430" y="4913349"/>
            <a:ext cx="1541419" cy="21859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n-ea"/>
              </a:rPr>
              <a:t>지속가능한 공급망 관리</a:t>
            </a: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AA424504-A099-49ED-BA4D-9AE09F948D63}"/>
              </a:ext>
            </a:extLst>
          </p:cNvPr>
          <p:cNvSpPr/>
          <p:nvPr/>
        </p:nvSpPr>
        <p:spPr>
          <a:xfrm>
            <a:off x="3907323" y="4913349"/>
            <a:ext cx="1146235" cy="21859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n-ea"/>
              </a:rPr>
              <a:t>인권 이슈 관리</a:t>
            </a: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B5FAC1F4-98F3-4A4F-9EC3-E75F02ECB342}"/>
              </a:ext>
            </a:extLst>
          </p:cNvPr>
          <p:cNvSpPr/>
          <p:nvPr/>
        </p:nvSpPr>
        <p:spPr>
          <a:xfrm>
            <a:off x="5160032" y="4913349"/>
            <a:ext cx="1541419" cy="21859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제품 안전 및 품질 관리</a:t>
            </a: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41C5D578-1CF5-47A5-9130-4377CB638139}"/>
              </a:ext>
            </a:extLst>
          </p:cNvPr>
          <p:cNvSpPr/>
          <p:nvPr/>
        </p:nvSpPr>
        <p:spPr>
          <a:xfrm>
            <a:off x="2259430" y="5176575"/>
            <a:ext cx="1322278" cy="21859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ko-KR" altLang="en-US" sz="1000" dirty="0">
                <a:solidFill>
                  <a:schemeClr val="tx1"/>
                </a:solidFill>
                <a:latin typeface="+mn-ea"/>
              </a:rPr>
              <a:t>다양성 및 포용 관리</a:t>
            </a:r>
          </a:p>
        </p:txBody>
      </p: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16EBF167-8441-468C-B429-C4822814F352}"/>
              </a:ext>
            </a:extLst>
          </p:cNvPr>
          <p:cNvGrpSpPr/>
          <p:nvPr/>
        </p:nvGrpSpPr>
        <p:grpSpPr>
          <a:xfrm>
            <a:off x="8781063" y="1495474"/>
            <a:ext cx="205011" cy="4908049"/>
            <a:chOff x="9201470" y="1601344"/>
            <a:chExt cx="188140" cy="4198758"/>
          </a:xfrm>
        </p:grpSpPr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C125CD5C-F889-4EAF-9AF4-DCD547DB9394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30" name="그룹 129">
              <a:extLst>
                <a:ext uri="{FF2B5EF4-FFF2-40B4-BE49-F238E27FC236}">
                  <a16:creationId xmlns:a16="http://schemas.microsoft.com/office/drawing/2014/main" id="{8E289D4F-1E99-4A14-BAC3-E7ADFEA87A79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9BE1A53C-8279-4FFD-8772-37D0310D5649}"/>
                  </a:ext>
                </a:extLst>
              </p:cNvPr>
              <p:cNvSpPr/>
              <p:nvPr/>
            </p:nvSpPr>
            <p:spPr>
              <a:xfrm>
                <a:off x="9201496" y="4672284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3E5F11B0-D807-49AD-9258-2723759B8D8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535C15E8-DB32-47BE-A8CE-E9872265CF2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3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462ADBE-1DDD-43B0-94FF-D7B2E13F881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35755" y="3152400"/>
            <a:ext cx="1813288" cy="13258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E48B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■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추가 의견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5" name="그림 134">
            <a:extLst>
              <a:ext uri="{FF2B5EF4-FFF2-40B4-BE49-F238E27FC236}">
                <a16:creationId xmlns:a16="http://schemas.microsoft.com/office/drawing/2014/main" id="{1B54A9DA-1819-4FE2-A8CA-5EA93D5520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311"/>
          <a:stretch/>
        </p:blipFill>
        <p:spPr>
          <a:xfrm>
            <a:off x="1631950" y="1495474"/>
            <a:ext cx="6072142" cy="1459943"/>
          </a:xfrm>
          <a:prstGeom prst="rect">
            <a:avLst/>
          </a:prstGeom>
        </p:spPr>
      </p:pic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AADEE7F8-4D1D-45A9-87C3-E6CEF04F1BCC}"/>
              </a:ext>
            </a:extLst>
          </p:cNvPr>
          <p:cNvSpPr/>
          <p:nvPr/>
        </p:nvSpPr>
        <p:spPr>
          <a:xfrm>
            <a:off x="2567608" y="34699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사각형: 둥근 모서리 136">
            <a:extLst>
              <a:ext uri="{FF2B5EF4-FFF2-40B4-BE49-F238E27FC236}">
                <a16:creationId xmlns:a16="http://schemas.microsoft.com/office/drawing/2014/main" id="{26396F8D-1156-49BE-B39D-8BEFF6E2C3A5}"/>
              </a:ext>
            </a:extLst>
          </p:cNvPr>
          <p:cNvSpPr/>
          <p:nvPr/>
        </p:nvSpPr>
        <p:spPr>
          <a:xfrm>
            <a:off x="1631950" y="39330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61D19DE0-3B1D-4F7C-BE6A-BD3F39545BC2}"/>
              </a:ext>
            </a:extLst>
          </p:cNvPr>
          <p:cNvSpPr/>
          <p:nvPr/>
        </p:nvSpPr>
        <p:spPr>
          <a:xfrm>
            <a:off x="2493052" y="4416252"/>
            <a:ext cx="4691930" cy="963183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12700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예시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엑셀로 리스트 전달 예정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)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20F9DBFE-8AD4-4D4F-BC3B-EA892C9BCA9C}"/>
              </a:ext>
            </a:extLst>
          </p:cNvPr>
          <p:cNvSpPr/>
          <p:nvPr/>
        </p:nvSpPr>
        <p:spPr>
          <a:xfrm>
            <a:off x="8972055" y="0"/>
            <a:ext cx="3218221" cy="1841671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경영 자가진단 결과 화면 전제 기획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3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1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산업별 추가 의견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’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영역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미출력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조건 설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4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산업별 추가 의견 영역의 본문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5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1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산업별 추가의견 → 산업별 주요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Topic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변경</a:t>
            </a:r>
          </a:p>
        </p:txBody>
      </p:sp>
      <p:grpSp>
        <p:nvGrpSpPr>
          <p:cNvPr id="140" name="그룹 139">
            <a:extLst>
              <a:ext uri="{FF2B5EF4-FFF2-40B4-BE49-F238E27FC236}">
                <a16:creationId xmlns:a16="http://schemas.microsoft.com/office/drawing/2014/main" id="{B3D5CCC6-3606-40BE-A305-ABF0B9DE0A86}"/>
              </a:ext>
            </a:extLst>
          </p:cNvPr>
          <p:cNvGrpSpPr/>
          <p:nvPr/>
        </p:nvGrpSpPr>
        <p:grpSpPr>
          <a:xfrm>
            <a:off x="6010026" y="4013159"/>
            <a:ext cx="1547398" cy="180000"/>
            <a:chOff x="5735960" y="4158414"/>
            <a:chExt cx="2408302" cy="218598"/>
          </a:xfrm>
        </p:grpSpPr>
        <p:sp>
          <p:nvSpPr>
            <p:cNvPr id="141" name="사각형: 둥근 모서리 140">
              <a:extLst>
                <a:ext uri="{FF2B5EF4-FFF2-40B4-BE49-F238E27FC236}">
                  <a16:creationId xmlns:a16="http://schemas.microsoft.com/office/drawing/2014/main" id="{3F7CF70E-30C6-4FE3-B06B-A24D84F763A0}"/>
                </a:ext>
              </a:extLst>
            </p:cNvPr>
            <p:cNvSpPr/>
            <p:nvPr/>
          </p:nvSpPr>
          <p:spPr>
            <a:xfrm>
              <a:off x="5735960" y="4158414"/>
              <a:ext cx="1146235" cy="21859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900" dirty="0">
                  <a:solidFill>
                    <a:schemeClr val="bg1"/>
                  </a:solidFill>
                  <a:latin typeface="+mn-ea"/>
                </a:rPr>
                <a:t>매우 중요</a:t>
              </a:r>
            </a:p>
          </p:txBody>
        </p:sp>
        <p:sp>
          <p:nvSpPr>
            <p:cNvPr id="142" name="사각형: 둥근 모서리 141">
              <a:extLst>
                <a:ext uri="{FF2B5EF4-FFF2-40B4-BE49-F238E27FC236}">
                  <a16:creationId xmlns:a16="http://schemas.microsoft.com/office/drawing/2014/main" id="{E30D55FB-33EF-4CF9-9AD4-6B8E68B0CE32}"/>
                </a:ext>
              </a:extLst>
            </p:cNvPr>
            <p:cNvSpPr/>
            <p:nvPr/>
          </p:nvSpPr>
          <p:spPr>
            <a:xfrm>
              <a:off x="6998026" y="4158414"/>
              <a:ext cx="1146236" cy="21859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900" dirty="0">
                  <a:solidFill>
                    <a:schemeClr val="tx1"/>
                  </a:solidFill>
                  <a:latin typeface="+mn-ea"/>
                </a:rPr>
                <a:t>중요</a:t>
              </a:r>
            </a:p>
          </p:txBody>
        </p:sp>
      </p:grp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1F6B3677-78FB-4291-9679-3BD31A1231E7}"/>
              </a:ext>
            </a:extLst>
          </p:cNvPr>
          <p:cNvSpPr/>
          <p:nvPr/>
        </p:nvSpPr>
        <p:spPr>
          <a:xfrm>
            <a:off x="1456746" y="31766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44" name="그림 143">
            <a:extLst>
              <a:ext uri="{FF2B5EF4-FFF2-40B4-BE49-F238E27FC236}">
                <a16:creationId xmlns:a16="http://schemas.microsoft.com/office/drawing/2014/main" id="{283D1BBD-EB62-49E2-9DA5-73FB595B83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2983" y="2545367"/>
            <a:ext cx="2445368" cy="176726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AA1563F0-24EF-4EBB-90E1-D26270201C76}"/>
              </a:ext>
            </a:extLst>
          </p:cNvPr>
          <p:cNvSpPr/>
          <p:nvPr/>
        </p:nvSpPr>
        <p:spPr>
          <a:xfrm>
            <a:off x="1631950" y="3068960"/>
            <a:ext cx="1295698" cy="2651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산업별 주요 </a:t>
            </a:r>
            <a:r>
              <a:rPr lang="en-US" altLang="ko-KR" sz="105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Topic</a:t>
            </a:r>
            <a:endParaRPr lang="ko-KR" altLang="en-US" sz="105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D4CEEA76-E24D-4A2A-95BA-293A19DA490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</p:spTree>
    <p:extLst>
      <p:ext uri="{BB962C8B-B14F-4D97-AF65-F5344CB8AC3E}">
        <p14:creationId xmlns:p14="http://schemas.microsoft.com/office/powerpoint/2010/main" val="382974414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7" y="5829715"/>
            <a:ext cx="8626857" cy="265838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9" tIns="44450" rIns="90489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9" y="768910"/>
            <a:ext cx="8638610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2" y="768780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1120290" y="93384"/>
            <a:ext cx="8647314" cy="1145702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CA4AE9E-2053-4FA8-8BE8-C4BCEAA846E0}"/>
              </a:ext>
            </a:extLst>
          </p:cNvPr>
          <p:cNvGrpSpPr/>
          <p:nvPr/>
        </p:nvGrpSpPr>
        <p:grpSpPr>
          <a:xfrm>
            <a:off x="344651" y="189567"/>
            <a:ext cx="8542517" cy="575137"/>
            <a:chOff x="344648" y="693620"/>
            <a:chExt cx="8542517" cy="575138"/>
          </a:xfrm>
        </p:grpSpPr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BB19CEDA-EBAE-44C4-AC34-EFDCE0DC59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78733"/>
            <a:stretch/>
          </p:blipFill>
          <p:spPr>
            <a:xfrm>
              <a:off x="344648" y="693620"/>
              <a:ext cx="1839227" cy="575138"/>
            </a:xfrm>
            <a:prstGeom prst="rect">
              <a:avLst/>
            </a:prstGeom>
          </p:spPr>
        </p:pic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81F86BD-36AD-4AE4-AB53-ACEACCD60B27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37" name="그림 36">
              <a:extLst>
                <a:ext uri="{FF2B5EF4-FFF2-40B4-BE49-F238E27FC236}">
                  <a16:creationId xmlns:a16="http://schemas.microsoft.com/office/drawing/2014/main" id="{E87EFCB8-1941-41E5-94D6-DA7BF4BC4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0B94D58-F49D-480B-9166-E9F15E6F1165}"/>
              </a:ext>
            </a:extLst>
          </p:cNvPr>
          <p:cNvSpPr/>
          <p:nvPr/>
        </p:nvSpPr>
        <p:spPr>
          <a:xfrm>
            <a:off x="5646246" y="220018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6334B449-19E7-449E-A685-4B82962504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35756" y="3789040"/>
            <a:ext cx="2572512" cy="13258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99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별</a:t>
            </a:r>
            <a:r>
              <a:rPr lang="ko-KR" altLang="en-US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경영 현황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2B322871-D933-4614-9150-18EFB3AB916C}"/>
              </a:ext>
            </a:extLst>
          </p:cNvPr>
          <p:cNvGrpSpPr/>
          <p:nvPr/>
        </p:nvGrpSpPr>
        <p:grpSpPr>
          <a:xfrm>
            <a:off x="1657778" y="1109980"/>
            <a:ext cx="1753973" cy="310674"/>
            <a:chOff x="1675437" y="1511927"/>
            <a:chExt cx="1753973" cy="310674"/>
          </a:xfrm>
        </p:grpSpPr>
        <p:sp>
          <p:nvSpPr>
            <p:cNvPr id="62" name="Window Frame" descr="&lt;SmartSettings&gt;&lt;SmartResize anchorLeft=&quot;Absolute&quot; anchorTop=&quot;Absolute&quot; anchorRight=&quot;Absolute&quot; anchorBottom=&quot;Absolute&quot; /&gt;&lt;/SmartSettings&gt;">
              <a:extLst>
                <a:ext uri="{FF2B5EF4-FFF2-40B4-BE49-F238E27FC236}">
                  <a16:creationId xmlns:a16="http://schemas.microsoft.com/office/drawing/2014/main" id="{883D2800-B78C-4C68-BB96-1A0E87A73179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681966" y="1511927"/>
              <a:ext cx="1747444" cy="31067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atinLnBrk="0"/>
              <a:r>
                <a:rPr lang="en-US" altLang="ko-KR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경영 자가진단 결과</a:t>
              </a:r>
              <a:endParaRPr lang="en-US" altLang="ko-KR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9C9982A2-BAE0-4392-AB2B-1682F1E8C638}"/>
                </a:ext>
              </a:extLst>
            </p:cNvPr>
            <p:cNvCxnSpPr>
              <a:cxnSpLocks/>
            </p:cNvCxnSpPr>
            <p:nvPr/>
          </p:nvCxnSpPr>
          <p:spPr>
            <a:xfrm>
              <a:off x="1675437" y="1589596"/>
              <a:ext cx="0" cy="155337"/>
            </a:xfrm>
            <a:prstGeom prst="line">
              <a:avLst/>
            </a:prstGeom>
            <a:ln w="38100">
              <a:solidFill>
                <a:srgbClr val="E48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ABE607A-E80E-4AB5-96F3-1F79267729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56070" y="1143626"/>
            <a:ext cx="1976236" cy="24338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latinLnBrk="0"/>
            <a:r>
              <a:rPr lang="en-US" altLang="ko-KR" sz="1198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1051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일</a:t>
            </a:r>
            <a:r>
              <a:rPr lang="en-US" altLang="ko-KR" sz="1051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7-12  10:00]</a:t>
            </a:r>
          </a:p>
        </p:txBody>
      </p:sp>
      <p:grpSp>
        <p:nvGrpSpPr>
          <p:cNvPr id="180" name="그룹 179">
            <a:extLst>
              <a:ext uri="{FF2B5EF4-FFF2-40B4-BE49-F238E27FC236}">
                <a16:creationId xmlns:a16="http://schemas.microsoft.com/office/drawing/2014/main" id="{15C77CC1-C7C3-4A01-9450-04392AABEA46}"/>
              </a:ext>
            </a:extLst>
          </p:cNvPr>
          <p:cNvGrpSpPr/>
          <p:nvPr/>
        </p:nvGrpSpPr>
        <p:grpSpPr>
          <a:xfrm>
            <a:off x="8781066" y="991418"/>
            <a:ext cx="205012" cy="4908050"/>
            <a:chOff x="9201470" y="1601344"/>
            <a:chExt cx="188140" cy="4198758"/>
          </a:xfrm>
        </p:grpSpPr>
        <p:sp>
          <p:nvSpPr>
            <p:cNvPr id="181" name="직사각형 180">
              <a:extLst>
                <a:ext uri="{FF2B5EF4-FFF2-40B4-BE49-F238E27FC236}">
                  <a16:creationId xmlns:a16="http://schemas.microsoft.com/office/drawing/2014/main" id="{F28ABDE6-365B-475D-9D34-494528673734}"/>
                </a:ext>
              </a:extLst>
            </p:cNvPr>
            <p:cNvSpPr/>
            <p:nvPr/>
          </p:nvSpPr>
          <p:spPr>
            <a:xfrm>
              <a:off x="9201471" y="1810107"/>
              <a:ext cx="188114" cy="37808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82" name="그룹 181">
              <a:extLst>
                <a:ext uri="{FF2B5EF4-FFF2-40B4-BE49-F238E27FC236}">
                  <a16:creationId xmlns:a16="http://schemas.microsoft.com/office/drawing/2014/main" id="{4E5AE7D8-F8FD-495E-A443-DD3883813D01}"/>
                </a:ext>
              </a:extLst>
            </p:cNvPr>
            <p:cNvGrpSpPr/>
            <p:nvPr/>
          </p:nvGrpSpPr>
          <p:grpSpPr>
            <a:xfrm>
              <a:off x="9201470" y="1601344"/>
              <a:ext cx="188140" cy="4198758"/>
              <a:chOff x="9201470" y="1601344"/>
              <a:chExt cx="188140" cy="4198758"/>
            </a:xfrm>
          </p:grpSpPr>
          <p:sp>
            <p:nvSpPr>
              <p:cNvPr id="183" name="직사각형 182">
                <a:extLst>
                  <a:ext uri="{FF2B5EF4-FFF2-40B4-BE49-F238E27FC236}">
                    <a16:creationId xmlns:a16="http://schemas.microsoft.com/office/drawing/2014/main" id="{FD64E2D2-DA81-4403-9130-865CFEB15EDD}"/>
                  </a:ext>
                </a:extLst>
              </p:cNvPr>
              <p:cNvSpPr/>
              <p:nvPr/>
            </p:nvSpPr>
            <p:spPr>
              <a:xfrm>
                <a:off x="9201496" y="181419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84" name="직사각형 183">
                <a:extLst>
                  <a:ext uri="{FF2B5EF4-FFF2-40B4-BE49-F238E27FC236}">
                    <a16:creationId xmlns:a16="http://schemas.microsoft.com/office/drawing/2014/main" id="{FF1910E3-1255-4BED-AD20-0BACB284528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85" name="직사각형 184">
                <a:extLst>
                  <a:ext uri="{FF2B5EF4-FFF2-40B4-BE49-F238E27FC236}">
                    <a16:creationId xmlns:a16="http://schemas.microsoft.com/office/drawing/2014/main" id="{48655921-B68E-4B31-A33D-F6526AA442EF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aphicFrame>
        <p:nvGraphicFramePr>
          <p:cNvPr id="2" name="표 2">
            <a:extLst>
              <a:ext uri="{FF2B5EF4-FFF2-40B4-BE49-F238E27FC236}">
                <a16:creationId xmlns:a16="http://schemas.microsoft.com/office/drawing/2014/main" id="{12DD7CA0-9EAB-4EAD-A580-E707B715DD1E}"/>
              </a:ext>
            </a:extLst>
          </p:cNvPr>
          <p:cNvGraphicFramePr>
            <a:graphicFrameLocks noGrp="1"/>
          </p:cNvGraphicFramePr>
          <p:nvPr/>
        </p:nvGraphicFramePr>
        <p:xfrm>
          <a:off x="1631229" y="4077072"/>
          <a:ext cx="6047792" cy="3489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388">
                  <a:extLst>
                    <a:ext uri="{9D8B030D-6E8A-4147-A177-3AD203B41FA5}">
                      <a16:colId xmlns:a16="http://schemas.microsoft.com/office/drawing/2014/main" val="599080574"/>
                    </a:ext>
                  </a:extLst>
                </a:gridCol>
                <a:gridCol w="1224137">
                  <a:extLst>
                    <a:ext uri="{9D8B030D-6E8A-4147-A177-3AD203B41FA5}">
                      <a16:colId xmlns:a16="http://schemas.microsoft.com/office/drawing/2014/main" val="367831785"/>
                    </a:ext>
                  </a:extLst>
                </a:gridCol>
                <a:gridCol w="2448270">
                  <a:extLst>
                    <a:ext uri="{9D8B030D-6E8A-4147-A177-3AD203B41FA5}">
                      <a16:colId xmlns:a16="http://schemas.microsoft.com/office/drawing/2014/main" val="2520332057"/>
                    </a:ext>
                  </a:extLst>
                </a:gridCol>
                <a:gridCol w="1366997">
                  <a:extLst>
                    <a:ext uri="{9D8B030D-6E8A-4147-A177-3AD203B41FA5}">
                      <a16:colId xmlns:a16="http://schemas.microsoft.com/office/drawing/2014/main" val="18805091"/>
                    </a:ext>
                  </a:extLst>
                </a:gridCol>
              </a:tblGrid>
              <a:tr h="288000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략계획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전략 수립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사 비전 수립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행중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98979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KPI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와 목표 수립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미흡</a:t>
                      </a:r>
                      <a:endParaRPr lang="ko-KR" altLang="en-US" sz="1000" b="1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77757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실행과제 및 계획 수립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latin typeface="+mn-ea"/>
                          <a:ea typeface="+mn-ea"/>
                        </a:rPr>
                        <a:t>일부 수행중</a:t>
                      </a:r>
                      <a:endParaRPr lang="ko-KR" altLang="en-US" sz="1000" b="0" dirty="0"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610335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latin typeface="+mn-ea"/>
                          <a:ea typeface="+mn-ea"/>
                        </a:rPr>
                        <a:t>경영체계 수립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사결정체계 구축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>
                          <a:latin typeface="+mn-ea"/>
                          <a:ea typeface="+mn-ea"/>
                        </a:rPr>
                        <a:t>일부 수행중</a:t>
                      </a:r>
                      <a:endParaRPr lang="ko-KR" altLang="en-US" sz="1000" b="0" dirty="0"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56759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 프로세스 구축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미흡</a:t>
                      </a:r>
                      <a:endParaRPr lang="ko-KR" altLang="en-US" sz="1000" b="1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5672802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리스크 관리체계 수립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err="1">
                          <a:latin typeface="+mn-ea"/>
                          <a:ea typeface="+mn-ea"/>
                        </a:rPr>
                        <a:t>수행중</a:t>
                      </a:r>
                      <a:endParaRPr lang="ko-KR" altLang="en-US" sz="1000" b="0" dirty="0"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558676"/>
                  </a:ext>
                </a:extLst>
              </a:tr>
              <a:tr h="576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en-US" altLang="ko-KR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ESG KPI</a:t>
                      </a:r>
                      <a:r>
                        <a:rPr lang="ko-KR" altLang="en-US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와 목표 수립」</a:t>
                      </a:r>
                      <a:r>
                        <a:rPr lang="en-US" altLang="ko-KR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「</a:t>
                      </a:r>
                      <a:r>
                        <a:rPr lang="en-US" altLang="ko-KR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ESG </a:t>
                      </a:r>
                      <a:r>
                        <a:rPr lang="ko-KR" altLang="en-US" sz="1000" b="1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경영 프로세스 구축」</a:t>
                      </a:r>
                      <a:r>
                        <a:rPr lang="ko-KR" altLang="en-US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 수행이 미흡하다고 답변하여</a:t>
                      </a:r>
                      <a:r>
                        <a:rPr lang="en-US" altLang="ko-KR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1000" dirty="0">
                          <a:solidFill>
                            <a:srgbClr val="CF4C09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rgbClr val="CF4C09"/>
                          </a:solidFill>
                          <a:latin typeface="+mn-ea"/>
                          <a:ea typeface="+mn-ea"/>
                        </a:rPr>
                        <a:t>ESG</a:t>
                      </a:r>
                      <a:r>
                        <a:rPr lang="ko-KR" altLang="en-US" sz="1000" b="1" dirty="0">
                          <a:solidFill>
                            <a:srgbClr val="CF4C09"/>
                          </a:solidFill>
                          <a:latin typeface="+mn-ea"/>
                          <a:ea typeface="+mn-ea"/>
                        </a:rPr>
                        <a:t> 경영 성숙도가 </a:t>
                      </a:r>
                      <a:r>
                        <a:rPr lang="en-US" altLang="ko-KR" sz="1000" b="1" dirty="0">
                          <a:solidFill>
                            <a:srgbClr val="CF4C09"/>
                          </a:solidFill>
                          <a:latin typeface="+mn-ea"/>
                          <a:ea typeface="+mn-ea"/>
                        </a:rPr>
                        <a:t>65 </a:t>
                      </a:r>
                      <a:r>
                        <a:rPr lang="ko-KR" altLang="en-US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로</a:t>
                      </a:r>
                      <a:r>
                        <a:rPr lang="ko-KR" altLang="en-US" sz="1000" b="1" dirty="0">
                          <a:solidFill>
                            <a:schemeClr val="accent2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측정되었습니다</a:t>
                      </a:r>
                      <a:r>
                        <a:rPr lang="en-US" altLang="ko-KR" sz="1000" dirty="0">
                          <a:solidFill>
                            <a:srgbClr val="464646"/>
                          </a:solidFill>
                          <a:latin typeface="+mn-ea"/>
                          <a:ea typeface="+mn-ea"/>
                        </a:rPr>
                        <a:t>.  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>
                        <a:solidFill>
                          <a:srgbClr val="464646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265366"/>
                  </a:ext>
                </a:extLst>
              </a:tr>
              <a:tr h="564197"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904496"/>
                  </a:ext>
                </a:extLst>
              </a:tr>
              <a:tr h="31072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ESG </a:t>
                      </a:r>
                      <a:r>
                        <a:rPr kumimoji="0" lang="ko-KR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과제이행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 과제</a:t>
                      </a:r>
                      <a:endParaRPr kumimoji="0" lang="ko-KR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온실가스 배출량 측정 및 개선</a:t>
                      </a:r>
                      <a:endParaRPr kumimoji="0" lang="ko-KR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행중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146605"/>
                  </a:ext>
                </a:extLst>
              </a:tr>
              <a:tr h="310727">
                <a:tc v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marL="36000" marR="36000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친환경 제품 ∙ 서비스 개발 및 관리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미흡</a:t>
                      </a:r>
                    </a:p>
                  </a:txBody>
                  <a:tcPr marT="45721" marB="4572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998958"/>
                  </a:ext>
                </a:extLst>
              </a:tr>
            </a:tbl>
          </a:graphicData>
        </a:graphic>
      </p:graphicFrame>
      <p:sp>
        <p:nvSpPr>
          <p:cNvPr id="65" name="직사각형 64">
            <a:extLst>
              <a:ext uri="{FF2B5EF4-FFF2-40B4-BE49-F238E27FC236}">
                <a16:creationId xmlns:a16="http://schemas.microsoft.com/office/drawing/2014/main" id="{D1B179BF-4D82-4BC9-8712-DD69F141DB51}"/>
              </a:ext>
            </a:extLst>
          </p:cNvPr>
          <p:cNvSpPr/>
          <p:nvPr/>
        </p:nvSpPr>
        <p:spPr>
          <a:xfrm>
            <a:off x="5743941" y="6432783"/>
            <a:ext cx="1937948" cy="281266"/>
          </a:xfrm>
          <a:prstGeom prst="rect">
            <a:avLst/>
          </a:prstGeom>
          <a:solidFill>
            <a:srgbClr val="CF4C0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altLang="ko-KR" sz="900" b="1" dirty="0">
                <a:solidFill>
                  <a:schemeClr val="bg1"/>
                </a:solidFill>
              </a:rPr>
              <a:t>ESG </a:t>
            </a:r>
            <a:r>
              <a:rPr lang="ko-KR" altLang="en-US" sz="900" b="1" dirty="0">
                <a:solidFill>
                  <a:schemeClr val="bg1"/>
                </a:solidFill>
              </a:rPr>
              <a:t>전략계획 경영 가이드 </a:t>
            </a:r>
            <a:r>
              <a:rPr lang="ko-KR" altLang="en-US" sz="900" b="1" dirty="0" err="1">
                <a:solidFill>
                  <a:schemeClr val="bg1"/>
                </a:solidFill>
              </a:rPr>
              <a:t>더보기</a:t>
            </a:r>
            <a:endParaRPr lang="en-US" altLang="ko-KR" sz="900" b="1" dirty="0">
              <a:solidFill>
                <a:schemeClr val="bg1"/>
              </a:solidFill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D7BC8E70-5CBC-44F0-9922-1C0B9135FF52}"/>
              </a:ext>
            </a:extLst>
          </p:cNvPr>
          <p:cNvSpPr/>
          <p:nvPr/>
        </p:nvSpPr>
        <p:spPr>
          <a:xfrm>
            <a:off x="1632892" y="1763310"/>
            <a:ext cx="2223671" cy="18040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D20160CC-545A-42AD-A20D-15E356521E38}"/>
              </a:ext>
            </a:extLst>
          </p:cNvPr>
          <p:cNvGrpSpPr/>
          <p:nvPr/>
        </p:nvGrpSpPr>
        <p:grpSpPr>
          <a:xfrm>
            <a:off x="2192479" y="2261035"/>
            <a:ext cx="1104496" cy="1104496"/>
            <a:chOff x="1397634" y="2537325"/>
            <a:chExt cx="1104496" cy="1104496"/>
          </a:xfrm>
        </p:grpSpPr>
        <p:sp>
          <p:nvSpPr>
            <p:cNvPr id="58" name="타원 57">
              <a:extLst>
                <a:ext uri="{FF2B5EF4-FFF2-40B4-BE49-F238E27FC236}">
                  <a16:creationId xmlns:a16="http://schemas.microsoft.com/office/drawing/2014/main" id="{5C9DEE1E-3C42-4E33-A743-2F471073633C}"/>
                </a:ext>
              </a:extLst>
            </p:cNvPr>
            <p:cNvSpPr/>
            <p:nvPr/>
          </p:nvSpPr>
          <p:spPr>
            <a:xfrm>
              <a:off x="1447238" y="2586929"/>
              <a:ext cx="1005289" cy="10052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ko-KR" sz="1801" b="1" dirty="0">
                  <a:solidFill>
                    <a:srgbClr val="DD7000"/>
                  </a:solidFill>
                  <a:latin typeface="+mn-ea"/>
                </a:rPr>
                <a:t>65</a:t>
              </a:r>
              <a:r>
                <a:rPr lang="en-US" altLang="ko-KR" sz="1401" b="1" dirty="0">
                  <a:solidFill>
                    <a:schemeClr val="bg1">
                      <a:lumMod val="50000"/>
                    </a:schemeClr>
                  </a:solidFill>
                  <a:latin typeface="+mn-ea"/>
                </a:rPr>
                <a:t>/100</a:t>
              </a:r>
              <a:endParaRPr lang="ko-KR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</a:endParaRPr>
            </a:p>
          </p:txBody>
        </p:sp>
        <p:grpSp>
          <p:nvGrpSpPr>
            <p:cNvPr id="59" name="그룹 58">
              <a:extLst>
                <a:ext uri="{FF2B5EF4-FFF2-40B4-BE49-F238E27FC236}">
                  <a16:creationId xmlns:a16="http://schemas.microsoft.com/office/drawing/2014/main" id="{70DDDEE6-B0A1-4905-BC9F-D1BE5AE507DD}"/>
                </a:ext>
              </a:extLst>
            </p:cNvPr>
            <p:cNvGrpSpPr/>
            <p:nvPr/>
          </p:nvGrpSpPr>
          <p:grpSpPr>
            <a:xfrm>
              <a:off x="1397634" y="2537325"/>
              <a:ext cx="1104496" cy="1104496"/>
              <a:chOff x="1997672" y="2546019"/>
              <a:chExt cx="1104496" cy="1104496"/>
            </a:xfrm>
          </p:grpSpPr>
          <p:sp>
            <p:nvSpPr>
              <p:cNvPr id="61" name="원형: 비어 있음 60">
                <a:extLst>
                  <a:ext uri="{FF2B5EF4-FFF2-40B4-BE49-F238E27FC236}">
                    <a16:creationId xmlns:a16="http://schemas.microsoft.com/office/drawing/2014/main" id="{92811124-3AD0-46E1-A39E-186ABB668EFB}"/>
                  </a:ext>
                </a:extLst>
              </p:cNvPr>
              <p:cNvSpPr/>
              <p:nvPr/>
            </p:nvSpPr>
            <p:spPr>
              <a:xfrm>
                <a:off x="1997672" y="2546019"/>
                <a:ext cx="1104496" cy="1104496"/>
              </a:xfrm>
              <a:prstGeom prst="donut">
                <a:avLst>
                  <a:gd name="adj" fmla="val 7164"/>
                </a:avLst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1" b="1" dirty="0">
                  <a:solidFill>
                    <a:srgbClr val="E48B00"/>
                  </a:solidFill>
                  <a:latin typeface="+mn-ea"/>
                </a:endParaRPr>
              </a:p>
            </p:txBody>
          </p:sp>
          <p:sp>
            <p:nvSpPr>
              <p:cNvPr id="68" name="막힌 원호 67">
                <a:extLst>
                  <a:ext uri="{FF2B5EF4-FFF2-40B4-BE49-F238E27FC236}">
                    <a16:creationId xmlns:a16="http://schemas.microsoft.com/office/drawing/2014/main" id="{8EA506AD-410B-4E02-A716-0E9A4871A77A}"/>
                  </a:ext>
                </a:extLst>
              </p:cNvPr>
              <p:cNvSpPr/>
              <p:nvPr/>
            </p:nvSpPr>
            <p:spPr>
              <a:xfrm rot="7489087">
                <a:off x="1997672" y="2546019"/>
                <a:ext cx="1104496" cy="1104496"/>
              </a:xfrm>
              <a:prstGeom prst="blockArc">
                <a:avLst>
                  <a:gd name="adj1" fmla="val 8606148"/>
                  <a:gd name="adj2" fmla="val 11083"/>
                  <a:gd name="adj3" fmla="val 7200"/>
                </a:avLst>
              </a:prstGeom>
              <a:solidFill>
                <a:srgbClr val="DD7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AB87D26-61C0-40C9-8047-B382FA214F9E}"/>
              </a:ext>
            </a:extLst>
          </p:cNvPr>
          <p:cNvSpPr/>
          <p:nvPr/>
        </p:nvSpPr>
        <p:spPr>
          <a:xfrm>
            <a:off x="4083872" y="1763311"/>
            <a:ext cx="3596004" cy="18097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F611B550-CE27-45B9-BA42-153DCFBC2E7B}"/>
              </a:ext>
            </a:extLst>
          </p:cNvPr>
          <p:cNvGrpSpPr/>
          <p:nvPr/>
        </p:nvGrpSpPr>
        <p:grpSpPr>
          <a:xfrm>
            <a:off x="4131599" y="2116021"/>
            <a:ext cx="3500553" cy="1394396"/>
            <a:chOff x="3803463" y="2388301"/>
            <a:chExt cx="3500553" cy="1394399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D84511E-59BE-4C1F-AE14-9E18B8C03A79}"/>
                </a:ext>
              </a:extLst>
            </p:cNvPr>
            <p:cNvSpPr txBox="1"/>
            <p:nvPr/>
          </p:nvSpPr>
          <p:spPr>
            <a:xfrm>
              <a:off x="5141639" y="2388301"/>
              <a:ext cx="1017493" cy="24609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전략계획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1906E34-5C52-450E-A80D-F1ED15F2A9A3}"/>
                </a:ext>
              </a:extLst>
            </p:cNvPr>
            <p:cNvSpPr txBox="1"/>
            <p:nvPr/>
          </p:nvSpPr>
          <p:spPr>
            <a:xfrm>
              <a:off x="3803463" y="3536606"/>
              <a:ext cx="1362036" cy="24609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공시 ∙ 인증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DCC0EA3-83D1-4D2A-A37F-6BFAE655E55C}"/>
                </a:ext>
              </a:extLst>
            </p:cNvPr>
            <p:cNvSpPr txBox="1"/>
            <p:nvPr/>
          </p:nvSpPr>
          <p:spPr>
            <a:xfrm>
              <a:off x="6286523" y="3536606"/>
              <a:ext cx="1017493" cy="24609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ESG </a:t>
              </a:r>
              <a:r>
                <a:rPr lang="ko-KR" altLang="en-US" sz="999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과제이행</a:t>
              </a:r>
            </a:p>
          </p:txBody>
        </p:sp>
        <p:grpSp>
          <p:nvGrpSpPr>
            <p:cNvPr id="75" name="그룹 74">
              <a:extLst>
                <a:ext uri="{FF2B5EF4-FFF2-40B4-BE49-F238E27FC236}">
                  <a16:creationId xmlns:a16="http://schemas.microsoft.com/office/drawing/2014/main" id="{4ABF0776-8E90-4886-A031-2A4DAC6D0BC0}"/>
                </a:ext>
              </a:extLst>
            </p:cNvPr>
            <p:cNvGrpSpPr/>
            <p:nvPr/>
          </p:nvGrpSpPr>
          <p:grpSpPr>
            <a:xfrm>
              <a:off x="5035503" y="2632038"/>
              <a:ext cx="1211040" cy="1044000"/>
              <a:chOff x="4276623" y="2376520"/>
              <a:chExt cx="1211040" cy="1044000"/>
            </a:xfrm>
          </p:grpSpPr>
          <p:sp>
            <p:nvSpPr>
              <p:cNvPr id="88" name="이등변 삼각형 87">
                <a:extLst>
                  <a:ext uri="{FF2B5EF4-FFF2-40B4-BE49-F238E27FC236}">
                    <a16:creationId xmlns:a16="http://schemas.microsoft.com/office/drawing/2014/main" id="{C08B1880-32EA-49C4-A552-B1624F707CAC}"/>
                  </a:ext>
                </a:extLst>
              </p:cNvPr>
              <p:cNvSpPr/>
              <p:nvPr/>
            </p:nvSpPr>
            <p:spPr>
              <a:xfrm>
                <a:off x="4276623" y="2376520"/>
                <a:ext cx="1211040" cy="1044000"/>
              </a:xfrm>
              <a:prstGeom prst="triangle">
                <a:avLst/>
              </a:prstGeom>
              <a:solidFill>
                <a:schemeClr val="bg1"/>
              </a:solidFill>
              <a:ln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cxnSp>
            <p:nvCxnSpPr>
              <p:cNvPr id="89" name="직선 연결선 88">
                <a:extLst>
                  <a:ext uri="{FF2B5EF4-FFF2-40B4-BE49-F238E27FC236}">
                    <a16:creationId xmlns:a16="http://schemas.microsoft.com/office/drawing/2014/main" id="{C405615A-CC19-4A7E-9374-137D49BF19C5}"/>
                  </a:ext>
                </a:extLst>
              </p:cNvPr>
              <p:cNvCxnSpPr>
                <a:cxnSpLocks/>
                <a:stCxn id="88" idx="0"/>
              </p:cNvCxnSpPr>
              <p:nvPr/>
            </p:nvCxnSpPr>
            <p:spPr>
              <a:xfrm>
                <a:off x="4882143" y="2376520"/>
                <a:ext cx="0" cy="69270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55DF6F0D-8EA5-4FAB-98DB-7D8A793CB35A}"/>
                  </a:ext>
                </a:extLst>
              </p:cNvPr>
              <p:cNvCxnSpPr>
                <a:cxnSpLocks/>
                <a:stCxn id="88" idx="2"/>
              </p:cNvCxnSpPr>
              <p:nvPr/>
            </p:nvCxnSpPr>
            <p:spPr>
              <a:xfrm flipV="1">
                <a:off x="4276623" y="3072520"/>
                <a:ext cx="605520" cy="34800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5D6F0ACD-6F71-4748-9564-693669E53C6F}"/>
                  </a:ext>
                </a:extLst>
              </p:cNvPr>
              <p:cNvCxnSpPr>
                <a:cxnSpLocks/>
                <a:endCxn id="88" idx="4"/>
              </p:cNvCxnSpPr>
              <p:nvPr/>
            </p:nvCxnSpPr>
            <p:spPr>
              <a:xfrm>
                <a:off x="4882143" y="3072520"/>
                <a:ext cx="605520" cy="34800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557E14B3-6116-4EBF-8609-DFAD690974FE}"/>
                </a:ext>
              </a:extLst>
            </p:cNvPr>
            <p:cNvGrpSpPr/>
            <p:nvPr/>
          </p:nvGrpSpPr>
          <p:grpSpPr>
            <a:xfrm>
              <a:off x="5362785" y="3119414"/>
              <a:ext cx="435002" cy="369819"/>
              <a:chOff x="4598955" y="2852863"/>
              <a:chExt cx="435002" cy="369819"/>
            </a:xfrm>
          </p:grpSpPr>
          <p:cxnSp>
            <p:nvCxnSpPr>
              <p:cNvPr id="84" name="직선 연결선 83">
                <a:extLst>
                  <a:ext uri="{FF2B5EF4-FFF2-40B4-BE49-F238E27FC236}">
                    <a16:creationId xmlns:a16="http://schemas.microsoft.com/office/drawing/2014/main" id="{2C68D3C6-0E9D-4236-835B-DAA6278D65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76294" y="2852863"/>
                <a:ext cx="157214" cy="304856"/>
              </a:xfrm>
              <a:prstGeom prst="line">
                <a:avLst/>
              </a:prstGeom>
              <a:ln w="19050">
                <a:solidFill>
                  <a:srgbClr val="CF4C09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직선 연결선 84">
                <a:extLst>
                  <a:ext uri="{FF2B5EF4-FFF2-40B4-BE49-F238E27FC236}">
                    <a16:creationId xmlns:a16="http://schemas.microsoft.com/office/drawing/2014/main" id="{6DBC50EB-7155-4CC6-B96C-9618EBF8240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98955" y="3157720"/>
                <a:ext cx="435002" cy="64962"/>
              </a:xfrm>
              <a:prstGeom prst="line">
                <a:avLst/>
              </a:prstGeom>
              <a:ln w="19050">
                <a:solidFill>
                  <a:srgbClr val="CF4C09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직선 연결선 86">
                <a:extLst>
                  <a:ext uri="{FF2B5EF4-FFF2-40B4-BE49-F238E27FC236}">
                    <a16:creationId xmlns:a16="http://schemas.microsoft.com/office/drawing/2014/main" id="{1A939707-2F9A-4DEC-80F2-BA2AC51E93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98955" y="2852948"/>
                <a:ext cx="277339" cy="369734"/>
              </a:xfrm>
              <a:prstGeom prst="line">
                <a:avLst/>
              </a:prstGeom>
              <a:ln w="19050">
                <a:solidFill>
                  <a:srgbClr val="CF4C09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9" name="사각형: 둥근 모서리 78">
              <a:extLst>
                <a:ext uri="{FF2B5EF4-FFF2-40B4-BE49-F238E27FC236}">
                  <a16:creationId xmlns:a16="http://schemas.microsoft.com/office/drawing/2014/main" id="{9054AAF2-35FC-48A7-A285-694A67CD7C09}"/>
                </a:ext>
              </a:extLst>
            </p:cNvPr>
            <p:cNvSpPr/>
            <p:nvPr/>
          </p:nvSpPr>
          <p:spPr>
            <a:xfrm>
              <a:off x="5551847" y="2884451"/>
              <a:ext cx="178352" cy="116981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65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BE1FFFFA-94FC-45C3-8CD8-A7DBEB7DF480}"/>
                </a:ext>
              </a:extLst>
            </p:cNvPr>
            <p:cNvSpPr/>
            <p:nvPr/>
          </p:nvSpPr>
          <p:spPr>
            <a:xfrm>
              <a:off x="5924690" y="3483902"/>
              <a:ext cx="178352" cy="116981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45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75E671A2-B4E0-4AD7-A750-DC71BA2D50FE}"/>
                </a:ext>
              </a:extLst>
            </p:cNvPr>
            <p:cNvSpPr/>
            <p:nvPr/>
          </p:nvSpPr>
          <p:spPr>
            <a:xfrm>
              <a:off x="5146950" y="3516613"/>
              <a:ext cx="178352" cy="116981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85</a:t>
              </a:r>
              <a:endPara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27AD594-EDB6-4AFB-8680-17EB791383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35756" y="1550089"/>
            <a:ext cx="2572512" cy="13258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결과 요약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D889E025-CC7C-455E-8DC9-1A954CAB3CE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00013" y="1843811"/>
            <a:ext cx="490896" cy="236110"/>
          </a:xfrm>
          <a:prstGeom prst="roundRect">
            <a:avLst/>
          </a:prstGeom>
          <a:solidFill>
            <a:srgbClr val="DD7000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종합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0C8D784A-DD27-4BB9-AD7E-9DAD162B36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172285" y="1843811"/>
            <a:ext cx="490896" cy="236110"/>
          </a:xfrm>
          <a:prstGeom prst="roundRect">
            <a:avLst/>
          </a:prstGeom>
          <a:solidFill>
            <a:srgbClr val="DD7000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부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8CD0C1F-D859-40EB-8B64-F9D9CABB5A03}"/>
              </a:ext>
            </a:extLst>
          </p:cNvPr>
          <p:cNvSpPr txBox="1"/>
          <p:nvPr/>
        </p:nvSpPr>
        <p:spPr>
          <a:xfrm>
            <a:off x="6317750" y="1547867"/>
            <a:ext cx="1362036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ko-KR" altLang="en-US" sz="800" dirty="0">
                <a:latin typeface="+mn-ea"/>
              </a:rPr>
              <a:t>단위</a:t>
            </a:r>
            <a:r>
              <a:rPr lang="en-US" altLang="ko-KR" sz="800" dirty="0">
                <a:latin typeface="+mn-ea"/>
              </a:rPr>
              <a:t>: ESG </a:t>
            </a:r>
            <a:r>
              <a:rPr lang="ko-KR" altLang="en-US" sz="800" dirty="0">
                <a:latin typeface="+mn-ea"/>
              </a:rPr>
              <a:t>경영 성숙도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C0050E53-9BD1-464B-B391-9D4EB3596629}"/>
              </a:ext>
            </a:extLst>
          </p:cNvPr>
          <p:cNvSpPr/>
          <p:nvPr/>
        </p:nvSpPr>
        <p:spPr>
          <a:xfrm>
            <a:off x="332995" y="764704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자가진단</a:t>
            </a: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70763100-A4C4-4A6F-BCAC-367EF478D5A0}"/>
              </a:ext>
            </a:extLst>
          </p:cNvPr>
          <p:cNvSpPr/>
          <p:nvPr/>
        </p:nvSpPr>
        <p:spPr>
          <a:xfrm>
            <a:off x="1627039" y="7965036"/>
            <a:ext cx="6047833" cy="556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44002" rIns="108000" bIns="144002" rtlCol="0" anchor="t"/>
          <a:lstStyle/>
          <a:p>
            <a:pPr>
              <a:lnSpc>
                <a:spcPct val="120000"/>
              </a:lnSpc>
            </a:pPr>
            <a:r>
              <a:rPr lang="ko-KR" altLang="en-US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귀사가 속해 있는 </a:t>
            </a:r>
            <a:r>
              <a:rPr lang="en-US" altLang="ko-KR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[</a:t>
            </a:r>
            <a:r>
              <a:rPr lang="ko-KR" altLang="en-US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의복 액세서리 제조업</a:t>
            </a:r>
            <a:r>
              <a:rPr lang="en-US" altLang="ko-KR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]</a:t>
            </a:r>
            <a:r>
              <a:rPr lang="ko-KR" altLang="en-US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F4C09"/>
                </a:solidFill>
                <a:latin typeface="+mn-ea"/>
                <a:cs typeface="Arial"/>
              </a:rPr>
              <a:t> </a:t>
            </a:r>
            <a:r>
              <a:rPr lang="ko-KR" altLang="en-US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다음의 이슈가 사업에 주요한 영향을 미칠 수 있으므로 세부 과제 이행을 통한 대응이 필요합니다</a:t>
            </a:r>
            <a:r>
              <a:rPr lang="en-US" altLang="ko-KR" sz="999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..</a:t>
            </a:r>
            <a:endParaRPr lang="ko-KR" altLang="en-US" sz="999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+mn-ea"/>
              <a:cs typeface="Arial"/>
            </a:endParaRPr>
          </a:p>
        </p:txBody>
      </p:sp>
      <p:graphicFrame>
        <p:nvGraphicFramePr>
          <p:cNvPr id="92" name="표 5">
            <a:extLst>
              <a:ext uri="{FF2B5EF4-FFF2-40B4-BE49-F238E27FC236}">
                <a16:creationId xmlns:a16="http://schemas.microsoft.com/office/drawing/2014/main" id="{39F8996D-C026-4C69-84B6-210F3ED14D21}"/>
              </a:ext>
            </a:extLst>
          </p:cNvPr>
          <p:cNvGraphicFramePr>
            <a:graphicFrameLocks noGrp="1"/>
          </p:cNvGraphicFramePr>
          <p:nvPr/>
        </p:nvGraphicFramePr>
        <p:xfrm>
          <a:off x="1627039" y="8541568"/>
          <a:ext cx="5922469" cy="2532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7">
                  <a:extLst>
                    <a:ext uri="{9D8B030D-6E8A-4147-A177-3AD203B41FA5}">
                      <a16:colId xmlns:a16="http://schemas.microsoft.com/office/drawing/2014/main" val="79160287"/>
                    </a:ext>
                  </a:extLst>
                </a:gridCol>
                <a:gridCol w="5418412">
                  <a:extLst>
                    <a:ext uri="{9D8B030D-6E8A-4147-A177-3AD203B41FA5}">
                      <a16:colId xmlns:a16="http://schemas.microsoft.com/office/drawing/2014/main" val="2517569516"/>
                    </a:ext>
                  </a:extLst>
                </a:gridCol>
              </a:tblGrid>
              <a:tr h="3492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latin typeface="+mn-ea"/>
                          <a:ea typeface="+mn-ea"/>
                        </a:rPr>
                        <a:t>영역</a:t>
                      </a:r>
                    </a:p>
                  </a:txBody>
                  <a:tcPr marT="45721" marB="4572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latin typeface="+mn-ea"/>
                          <a:ea typeface="+mn-ea"/>
                        </a:rPr>
                        <a:t>주요 토픽</a:t>
                      </a: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287546"/>
                  </a:ext>
                </a:extLst>
              </a:tr>
              <a:tr h="8835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E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marT="45721" marB="45721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607106"/>
                  </a:ext>
                </a:extLst>
              </a:tr>
              <a:tr h="8835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S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marT="45721" marB="45721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536266"/>
                  </a:ext>
                </a:extLst>
              </a:tr>
              <a:tr h="4159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latin typeface="+mn-ea"/>
                          <a:ea typeface="+mn-ea"/>
                        </a:rPr>
                        <a:t>G</a:t>
                      </a:r>
                      <a:endParaRPr lang="ko-KR" altLang="en-US" sz="11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i="1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</a:rPr>
                        <a:t>공통 적용 영역</a:t>
                      </a:r>
                    </a:p>
                  </a:txBody>
                  <a:tcPr marT="45721" marB="4572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550396"/>
                  </a:ext>
                </a:extLst>
              </a:tr>
            </a:tbl>
          </a:graphicData>
        </a:graphic>
      </p:graphicFrame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4C52E330-9E03-4822-B6D7-63AA8D20BC91}"/>
              </a:ext>
            </a:extLst>
          </p:cNvPr>
          <p:cNvSpPr/>
          <p:nvPr/>
        </p:nvSpPr>
        <p:spPr>
          <a:xfrm>
            <a:off x="2219472" y="8967852"/>
            <a:ext cx="1870620" cy="313440"/>
          </a:xfrm>
          <a:prstGeom prst="roundRect">
            <a:avLst>
              <a:gd name="adj" fmla="val 50000"/>
            </a:avLst>
          </a:prstGeom>
          <a:solidFill>
            <a:srgbClr val="DD7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bg1"/>
                </a:solidFill>
                <a:latin typeface="+mn-ea"/>
              </a:rPr>
              <a:t>온실가스 배출량 측정 및 개선</a:t>
            </a: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B3A9B024-E594-4FA1-AA8E-72BDA5514B01}"/>
              </a:ext>
            </a:extLst>
          </p:cNvPr>
          <p:cNvSpPr/>
          <p:nvPr/>
        </p:nvSpPr>
        <p:spPr>
          <a:xfrm>
            <a:off x="4164154" y="8967852"/>
            <a:ext cx="1146235" cy="313440"/>
          </a:xfrm>
          <a:prstGeom prst="roundRect">
            <a:avLst>
              <a:gd name="adj" fmla="val 50000"/>
            </a:avLst>
          </a:prstGeom>
          <a:solidFill>
            <a:srgbClr val="DD7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bg1"/>
                </a:solidFill>
                <a:latin typeface="+mn-ea"/>
              </a:rPr>
              <a:t>에너지 사용 관리</a:t>
            </a: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67584BC9-BE83-4441-BB19-004CFA673C03}"/>
              </a:ext>
            </a:extLst>
          </p:cNvPr>
          <p:cNvSpPr/>
          <p:nvPr/>
        </p:nvSpPr>
        <p:spPr>
          <a:xfrm>
            <a:off x="5384451" y="8967852"/>
            <a:ext cx="1146235" cy="3134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tx1"/>
                </a:solidFill>
                <a:latin typeface="+mn-ea"/>
              </a:rPr>
              <a:t>수자원 사용 관리</a:t>
            </a: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73372519-0356-4B7E-BB5E-76EAE2DDE819}"/>
              </a:ext>
            </a:extLst>
          </p:cNvPr>
          <p:cNvSpPr/>
          <p:nvPr/>
        </p:nvSpPr>
        <p:spPr>
          <a:xfrm>
            <a:off x="2219472" y="9373323"/>
            <a:ext cx="1248516" cy="3134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tx1"/>
                </a:solidFill>
                <a:latin typeface="+mn-ea"/>
              </a:rPr>
              <a:t>원부자재 사용 관리</a:t>
            </a: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9E931A22-0638-4C26-A627-640F92F7CA0F}"/>
              </a:ext>
            </a:extLst>
          </p:cNvPr>
          <p:cNvSpPr/>
          <p:nvPr/>
        </p:nvSpPr>
        <p:spPr>
          <a:xfrm>
            <a:off x="3542051" y="9373323"/>
            <a:ext cx="867615" cy="3134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tx1"/>
                </a:solidFill>
                <a:latin typeface="+mn-ea"/>
              </a:rPr>
              <a:t>폐기물 관리</a:t>
            </a: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89B101D0-C637-4F0E-91B0-C1C9646434CF}"/>
              </a:ext>
            </a:extLst>
          </p:cNvPr>
          <p:cNvSpPr/>
          <p:nvPr/>
        </p:nvSpPr>
        <p:spPr>
          <a:xfrm>
            <a:off x="2214905" y="9859073"/>
            <a:ext cx="1541419" cy="313440"/>
          </a:xfrm>
          <a:prstGeom prst="roundRect">
            <a:avLst>
              <a:gd name="adj" fmla="val 50000"/>
            </a:avLst>
          </a:prstGeom>
          <a:solidFill>
            <a:srgbClr val="DD7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bg1"/>
                </a:solidFill>
                <a:latin typeface="+mn-ea"/>
              </a:rPr>
              <a:t>지속가능한 공급망 관리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321D23E6-B140-4291-98FE-EB503A95133C}"/>
              </a:ext>
            </a:extLst>
          </p:cNvPr>
          <p:cNvSpPr/>
          <p:nvPr/>
        </p:nvSpPr>
        <p:spPr>
          <a:xfrm>
            <a:off x="3862798" y="9859073"/>
            <a:ext cx="1146235" cy="313440"/>
          </a:xfrm>
          <a:prstGeom prst="roundRect">
            <a:avLst>
              <a:gd name="adj" fmla="val 50000"/>
            </a:avLst>
          </a:prstGeom>
          <a:solidFill>
            <a:srgbClr val="DD7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bg1"/>
                </a:solidFill>
                <a:latin typeface="+mn-ea"/>
              </a:rPr>
              <a:t>인권 이슈 관리</a:t>
            </a: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2388490B-7F99-42E7-B620-5942AD6BE1F5}"/>
              </a:ext>
            </a:extLst>
          </p:cNvPr>
          <p:cNvSpPr/>
          <p:nvPr/>
        </p:nvSpPr>
        <p:spPr>
          <a:xfrm>
            <a:off x="5115507" y="9859073"/>
            <a:ext cx="1541419" cy="3134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tx1"/>
                </a:solidFill>
                <a:latin typeface="+mn-ea"/>
              </a:rPr>
              <a:t>제품 안전 및 품질 관리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8233B563-5365-44F0-BFAF-5914D5C5EAA8}"/>
              </a:ext>
            </a:extLst>
          </p:cNvPr>
          <p:cNvSpPr/>
          <p:nvPr/>
        </p:nvSpPr>
        <p:spPr>
          <a:xfrm>
            <a:off x="2214905" y="10261691"/>
            <a:ext cx="1322278" cy="3134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99" b="1" dirty="0">
                <a:solidFill>
                  <a:schemeClr val="tx1"/>
                </a:solidFill>
                <a:latin typeface="+mn-ea"/>
              </a:rPr>
              <a:t>다양성 및 포용 관리</a:t>
            </a:r>
          </a:p>
        </p:txBody>
      </p:sp>
      <p:grpSp>
        <p:nvGrpSpPr>
          <p:cNvPr id="110" name="그룹 109">
            <a:extLst>
              <a:ext uri="{FF2B5EF4-FFF2-40B4-BE49-F238E27FC236}">
                <a16:creationId xmlns:a16="http://schemas.microsoft.com/office/drawing/2014/main" id="{FCD3AE4A-099C-4BF3-A8E2-6A9772607A6B}"/>
              </a:ext>
            </a:extLst>
          </p:cNvPr>
          <p:cNvGrpSpPr/>
          <p:nvPr/>
        </p:nvGrpSpPr>
        <p:grpSpPr>
          <a:xfrm>
            <a:off x="5933554" y="8606643"/>
            <a:ext cx="1547398" cy="246684"/>
            <a:chOff x="5735960" y="4158414"/>
            <a:chExt cx="2408302" cy="218598"/>
          </a:xfrm>
        </p:grpSpPr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0AB06A1A-DC93-4579-B68F-DC2F1CC022CE}"/>
                </a:ext>
              </a:extLst>
            </p:cNvPr>
            <p:cNvSpPr/>
            <p:nvPr/>
          </p:nvSpPr>
          <p:spPr>
            <a:xfrm>
              <a:off x="5735960" y="4158414"/>
              <a:ext cx="1146235" cy="218598"/>
            </a:xfrm>
            <a:prstGeom prst="roundRect">
              <a:avLst>
                <a:gd name="adj" fmla="val 50000"/>
              </a:avLst>
            </a:prstGeom>
            <a:solidFill>
              <a:srgbClr val="DD700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999" b="1" dirty="0">
                  <a:solidFill>
                    <a:schemeClr val="bg1"/>
                  </a:solidFill>
                  <a:latin typeface="+mn-ea"/>
                </a:rPr>
                <a:t>매우 중요</a:t>
              </a:r>
            </a:p>
          </p:txBody>
        </p:sp>
        <p:sp>
          <p:nvSpPr>
            <p:cNvPr id="112" name="사각형: 둥근 모서리 111">
              <a:extLst>
                <a:ext uri="{FF2B5EF4-FFF2-40B4-BE49-F238E27FC236}">
                  <a16:creationId xmlns:a16="http://schemas.microsoft.com/office/drawing/2014/main" id="{079E7941-DD95-435D-A6E0-6BD43C022742}"/>
                </a:ext>
              </a:extLst>
            </p:cNvPr>
            <p:cNvSpPr/>
            <p:nvPr/>
          </p:nvSpPr>
          <p:spPr>
            <a:xfrm>
              <a:off x="6998026" y="4158414"/>
              <a:ext cx="1146236" cy="21859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999" b="1" dirty="0">
                  <a:solidFill>
                    <a:schemeClr val="tx1"/>
                  </a:solidFill>
                  <a:latin typeface="+mn-ea"/>
                </a:rPr>
                <a:t>중요</a:t>
              </a:r>
            </a:p>
          </p:txBody>
        </p:sp>
      </p:grpSp>
      <p:sp>
        <p:nvSpPr>
          <p:cNvPr id="3" name="말풍선: 사각형 2">
            <a:extLst>
              <a:ext uri="{FF2B5EF4-FFF2-40B4-BE49-F238E27FC236}">
                <a16:creationId xmlns:a16="http://schemas.microsoft.com/office/drawing/2014/main" id="{F9828F48-72C4-4D5B-8271-10A5752737F7}"/>
              </a:ext>
            </a:extLst>
          </p:cNvPr>
          <p:cNvSpPr/>
          <p:nvPr/>
        </p:nvSpPr>
        <p:spPr>
          <a:xfrm>
            <a:off x="8040209" y="3315093"/>
            <a:ext cx="3924316" cy="513777"/>
          </a:xfrm>
          <a:prstGeom prst="wedgeRectCallout">
            <a:avLst>
              <a:gd name="adj1" fmla="val -62085"/>
              <a:gd name="adj2" fmla="val -30682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차트 뒤에 회색 음영 넣어주세요 </a:t>
            </a:r>
          </a:p>
        </p:txBody>
      </p:sp>
      <p:sp>
        <p:nvSpPr>
          <p:cNvPr id="74" name="말풍선: 사각형 73">
            <a:extLst>
              <a:ext uri="{FF2B5EF4-FFF2-40B4-BE49-F238E27FC236}">
                <a16:creationId xmlns:a16="http://schemas.microsoft.com/office/drawing/2014/main" id="{04BBBA7A-61FC-4F75-8CC1-99E808AE76D8}"/>
              </a:ext>
            </a:extLst>
          </p:cNvPr>
          <p:cNvSpPr/>
          <p:nvPr/>
        </p:nvSpPr>
        <p:spPr>
          <a:xfrm>
            <a:off x="8011296" y="5083253"/>
            <a:ext cx="3924316" cy="601796"/>
          </a:xfrm>
          <a:prstGeom prst="wedgeRectCallout">
            <a:avLst>
              <a:gd name="adj1" fmla="val -60402"/>
              <a:gd name="adj2" fmla="val -21638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1" dirty="0" err="1">
                <a:solidFill>
                  <a:schemeClr val="tx1"/>
                </a:solidFill>
              </a:rPr>
              <a:t>활동별</a:t>
            </a:r>
            <a:r>
              <a:rPr lang="ko-KR" altLang="en-US" sz="1401" dirty="0">
                <a:solidFill>
                  <a:schemeClr val="tx1"/>
                </a:solidFill>
              </a:rPr>
              <a:t> 현황 부분</a:t>
            </a:r>
            <a:r>
              <a:rPr lang="en-US" altLang="ko-KR" sz="1401" dirty="0">
                <a:solidFill>
                  <a:schemeClr val="tx1"/>
                </a:solidFill>
              </a:rPr>
              <a:t>(</a:t>
            </a:r>
            <a:r>
              <a:rPr lang="ko-KR" altLang="en-US" sz="1401" dirty="0">
                <a:solidFill>
                  <a:schemeClr val="tx1"/>
                </a:solidFill>
              </a:rPr>
              <a:t>문장</a:t>
            </a:r>
            <a:r>
              <a:rPr lang="en-US" altLang="ko-KR" sz="1401" dirty="0">
                <a:solidFill>
                  <a:schemeClr val="tx1"/>
                </a:solidFill>
              </a:rPr>
              <a:t> </a:t>
            </a:r>
            <a:r>
              <a:rPr lang="ko-KR" altLang="en-US" sz="1401" dirty="0">
                <a:solidFill>
                  <a:schemeClr val="tx1"/>
                </a:solidFill>
              </a:rPr>
              <a:t>부분 제외</a:t>
            </a:r>
            <a:r>
              <a:rPr lang="en-US" altLang="ko-KR" sz="1401" dirty="0">
                <a:solidFill>
                  <a:schemeClr val="tx1"/>
                </a:solidFill>
              </a:rPr>
              <a:t>)</a:t>
            </a:r>
            <a:r>
              <a:rPr lang="ko-KR" altLang="en-US" sz="1401" dirty="0">
                <a:solidFill>
                  <a:schemeClr val="tx1"/>
                </a:solidFill>
              </a:rPr>
              <a:t>은 셀 높이가 조금 </a:t>
            </a:r>
            <a:r>
              <a:rPr lang="ko-KR" altLang="en-US" sz="1401" dirty="0" err="1">
                <a:solidFill>
                  <a:schemeClr val="tx1"/>
                </a:solidFill>
              </a:rPr>
              <a:t>더좁게</a:t>
            </a:r>
            <a:r>
              <a:rPr lang="ko-KR" altLang="en-US" sz="1401" dirty="0">
                <a:solidFill>
                  <a:schemeClr val="tx1"/>
                </a:solidFill>
              </a:rPr>
              <a:t> 해주세요</a:t>
            </a:r>
          </a:p>
        </p:txBody>
      </p:sp>
      <p:sp>
        <p:nvSpPr>
          <p:cNvPr id="81" name="말풍선: 사각형 80">
            <a:extLst>
              <a:ext uri="{FF2B5EF4-FFF2-40B4-BE49-F238E27FC236}">
                <a16:creationId xmlns:a16="http://schemas.microsoft.com/office/drawing/2014/main" id="{94898107-23B1-4A56-8185-DB697CEFEA39}"/>
              </a:ext>
            </a:extLst>
          </p:cNvPr>
          <p:cNvSpPr/>
          <p:nvPr/>
        </p:nvSpPr>
        <p:spPr>
          <a:xfrm>
            <a:off x="8011296" y="6281586"/>
            <a:ext cx="3924317" cy="473047"/>
          </a:xfrm>
          <a:prstGeom prst="wedgeRectCallout">
            <a:avLst>
              <a:gd name="adj1" fmla="val -63250"/>
              <a:gd name="adj2" fmla="val 24677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버튼은 위쪽 표에 조금 더 가깝게 위치시켜주세요</a:t>
            </a: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C6455CA3-2875-4FAE-BF6D-25AFA27BBCDD}"/>
              </a:ext>
            </a:extLst>
          </p:cNvPr>
          <p:cNvSpPr/>
          <p:nvPr/>
        </p:nvSpPr>
        <p:spPr>
          <a:xfrm>
            <a:off x="48208" y="41552"/>
            <a:ext cx="6047792" cy="2594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P003 ESG </a:t>
            </a:r>
            <a:r>
              <a:rPr lang="ko-KR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경영 자가진단 결과 화면 디자인 수정 요청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99B724DD-CFAB-4FE7-B35C-DF67965DC213}"/>
              </a:ext>
            </a:extLst>
          </p:cNvPr>
          <p:cNvGrpSpPr/>
          <p:nvPr/>
        </p:nvGrpSpPr>
        <p:grpSpPr>
          <a:xfrm>
            <a:off x="839416" y="7492883"/>
            <a:ext cx="7704855" cy="374294"/>
            <a:chOff x="1630680" y="7239000"/>
            <a:chExt cx="6035040" cy="696190"/>
          </a:xfrm>
        </p:grpSpPr>
        <p:sp>
          <p:nvSpPr>
            <p:cNvPr id="5" name="자유형: 도형 4">
              <a:extLst>
                <a:ext uri="{FF2B5EF4-FFF2-40B4-BE49-F238E27FC236}">
                  <a16:creationId xmlns:a16="http://schemas.microsoft.com/office/drawing/2014/main" id="{1A665747-9A35-49A7-B34F-79718B439CDC}"/>
                </a:ext>
              </a:extLst>
            </p:cNvPr>
            <p:cNvSpPr/>
            <p:nvPr/>
          </p:nvSpPr>
          <p:spPr>
            <a:xfrm>
              <a:off x="1630680" y="7239000"/>
              <a:ext cx="6035040" cy="503025"/>
            </a:xfrm>
            <a:custGeom>
              <a:avLst/>
              <a:gdLst>
                <a:gd name="connsiteX0" fmla="*/ 0 w 6035040"/>
                <a:gd name="connsiteY0" fmla="*/ 243840 h 503025"/>
                <a:gd name="connsiteX1" fmla="*/ 1615440 w 6035040"/>
                <a:gd name="connsiteY1" fmla="*/ 0 h 503025"/>
                <a:gd name="connsiteX2" fmla="*/ 3383280 w 6035040"/>
                <a:gd name="connsiteY2" fmla="*/ 243840 h 503025"/>
                <a:gd name="connsiteX3" fmla="*/ 4876800 w 6035040"/>
                <a:gd name="connsiteY3" fmla="*/ 502920 h 503025"/>
                <a:gd name="connsiteX4" fmla="*/ 6035040 w 6035040"/>
                <a:gd name="connsiteY4" fmla="*/ 213360 h 503025"/>
                <a:gd name="connsiteX5" fmla="*/ 6035040 w 6035040"/>
                <a:gd name="connsiteY5" fmla="*/ 213360 h 503025"/>
                <a:gd name="connsiteX6" fmla="*/ 6035040 w 6035040"/>
                <a:gd name="connsiteY6" fmla="*/ 213360 h 50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35040" h="503025">
                  <a:moveTo>
                    <a:pt x="0" y="243840"/>
                  </a:moveTo>
                  <a:cubicBezTo>
                    <a:pt x="525780" y="121920"/>
                    <a:pt x="1051560" y="0"/>
                    <a:pt x="1615440" y="0"/>
                  </a:cubicBezTo>
                  <a:cubicBezTo>
                    <a:pt x="2179320" y="0"/>
                    <a:pt x="2839720" y="160020"/>
                    <a:pt x="3383280" y="243840"/>
                  </a:cubicBezTo>
                  <a:cubicBezTo>
                    <a:pt x="3926840" y="327660"/>
                    <a:pt x="4434840" y="508000"/>
                    <a:pt x="4876800" y="502920"/>
                  </a:cubicBezTo>
                  <a:cubicBezTo>
                    <a:pt x="5318760" y="497840"/>
                    <a:pt x="6035040" y="213360"/>
                    <a:pt x="6035040" y="213360"/>
                  </a:cubicBezTo>
                  <a:lnTo>
                    <a:pt x="6035040" y="213360"/>
                  </a:lnTo>
                  <a:lnTo>
                    <a:pt x="6035040" y="213360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13" name="자유형: 도형 112">
              <a:extLst>
                <a:ext uri="{FF2B5EF4-FFF2-40B4-BE49-F238E27FC236}">
                  <a16:creationId xmlns:a16="http://schemas.microsoft.com/office/drawing/2014/main" id="{C9642E81-1909-4F85-BB13-182FEAE1FD8E}"/>
                </a:ext>
              </a:extLst>
            </p:cNvPr>
            <p:cNvSpPr/>
            <p:nvPr/>
          </p:nvSpPr>
          <p:spPr>
            <a:xfrm>
              <a:off x="1630680" y="7432165"/>
              <a:ext cx="6035040" cy="503025"/>
            </a:xfrm>
            <a:custGeom>
              <a:avLst/>
              <a:gdLst>
                <a:gd name="connsiteX0" fmla="*/ 0 w 6035040"/>
                <a:gd name="connsiteY0" fmla="*/ 243840 h 503025"/>
                <a:gd name="connsiteX1" fmla="*/ 1615440 w 6035040"/>
                <a:gd name="connsiteY1" fmla="*/ 0 h 503025"/>
                <a:gd name="connsiteX2" fmla="*/ 3383280 w 6035040"/>
                <a:gd name="connsiteY2" fmla="*/ 243840 h 503025"/>
                <a:gd name="connsiteX3" fmla="*/ 4876800 w 6035040"/>
                <a:gd name="connsiteY3" fmla="*/ 502920 h 503025"/>
                <a:gd name="connsiteX4" fmla="*/ 6035040 w 6035040"/>
                <a:gd name="connsiteY4" fmla="*/ 213360 h 503025"/>
                <a:gd name="connsiteX5" fmla="*/ 6035040 w 6035040"/>
                <a:gd name="connsiteY5" fmla="*/ 213360 h 503025"/>
                <a:gd name="connsiteX6" fmla="*/ 6035040 w 6035040"/>
                <a:gd name="connsiteY6" fmla="*/ 213360 h 50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35040" h="503025">
                  <a:moveTo>
                    <a:pt x="0" y="243840"/>
                  </a:moveTo>
                  <a:cubicBezTo>
                    <a:pt x="525780" y="121920"/>
                    <a:pt x="1051560" y="0"/>
                    <a:pt x="1615440" y="0"/>
                  </a:cubicBezTo>
                  <a:cubicBezTo>
                    <a:pt x="2179320" y="0"/>
                    <a:pt x="2839720" y="160020"/>
                    <a:pt x="3383280" y="243840"/>
                  </a:cubicBezTo>
                  <a:cubicBezTo>
                    <a:pt x="3926840" y="327660"/>
                    <a:pt x="4434840" y="508000"/>
                    <a:pt x="4876800" y="502920"/>
                  </a:cubicBezTo>
                  <a:cubicBezTo>
                    <a:pt x="5318760" y="497840"/>
                    <a:pt x="6035040" y="213360"/>
                    <a:pt x="6035040" y="213360"/>
                  </a:cubicBezTo>
                  <a:lnTo>
                    <a:pt x="6035040" y="213360"/>
                  </a:lnTo>
                  <a:lnTo>
                    <a:pt x="6035040" y="213360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115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8962045C-5C6F-48AD-B36D-482BB2D957D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627039" y="7798822"/>
            <a:ext cx="2572512" cy="13258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ko-KR" altLang="en-US" sz="999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주요 토픽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1C1091C-70BE-4EF8-AE86-5E68A72EF51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7072" t="6660" r="12300"/>
          <a:stretch/>
        </p:blipFill>
        <p:spPr>
          <a:xfrm>
            <a:off x="9051734" y="327557"/>
            <a:ext cx="3002749" cy="28893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6" name="말풍선: 사각형 115">
            <a:extLst>
              <a:ext uri="{FF2B5EF4-FFF2-40B4-BE49-F238E27FC236}">
                <a16:creationId xmlns:a16="http://schemas.microsoft.com/office/drawing/2014/main" id="{157939B5-359A-488F-94F1-18F9D87063F1}"/>
              </a:ext>
            </a:extLst>
          </p:cNvPr>
          <p:cNvSpPr/>
          <p:nvPr/>
        </p:nvSpPr>
        <p:spPr>
          <a:xfrm>
            <a:off x="8011296" y="3907940"/>
            <a:ext cx="3924316" cy="1033228"/>
          </a:xfrm>
          <a:prstGeom prst="wedgeRectCallout">
            <a:avLst>
              <a:gd name="adj1" fmla="val -62473"/>
              <a:gd name="adj2" fmla="val -21737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표 형태로 변경하고</a:t>
            </a:r>
            <a:r>
              <a:rPr lang="en-US" altLang="ko-KR" sz="1401" dirty="0">
                <a:solidFill>
                  <a:schemeClr val="tx1"/>
                </a:solidFill>
              </a:rPr>
              <a:t>, ESG </a:t>
            </a:r>
            <a:r>
              <a:rPr lang="ko-KR" altLang="en-US" sz="1401" dirty="0">
                <a:solidFill>
                  <a:schemeClr val="tx1"/>
                </a:solidFill>
              </a:rPr>
              <a:t>전략계획</a:t>
            </a:r>
            <a:r>
              <a:rPr lang="en-US" altLang="ko-KR" sz="1401" dirty="0">
                <a:solidFill>
                  <a:schemeClr val="tx1"/>
                </a:solidFill>
              </a:rPr>
              <a:t>/ </a:t>
            </a:r>
            <a:r>
              <a:rPr lang="ko-KR" altLang="en-US" sz="1401" dirty="0">
                <a:solidFill>
                  <a:schemeClr val="tx1"/>
                </a:solidFill>
              </a:rPr>
              <a:t>과제이행</a:t>
            </a:r>
            <a:r>
              <a:rPr lang="en-US" altLang="ko-KR" sz="1401" dirty="0">
                <a:solidFill>
                  <a:schemeClr val="tx1"/>
                </a:solidFill>
              </a:rPr>
              <a:t>/ </a:t>
            </a:r>
            <a:r>
              <a:rPr lang="ko-KR" altLang="en-US" sz="1401" dirty="0">
                <a:solidFill>
                  <a:schemeClr val="tx1"/>
                </a:solidFill>
              </a:rPr>
              <a:t>공시인증 단위별로 상단에 노란색 줄을 넣어주세요</a:t>
            </a:r>
            <a:r>
              <a:rPr lang="en-US" altLang="ko-KR" sz="1401" dirty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표 내부의 색깔은 </a:t>
            </a:r>
            <a:r>
              <a:rPr lang="ko-KR" altLang="en-US" sz="1401" dirty="0" err="1">
                <a:solidFill>
                  <a:schemeClr val="tx1"/>
                </a:solidFill>
              </a:rPr>
              <a:t>회색톤으로</a:t>
            </a:r>
            <a:r>
              <a:rPr lang="ko-KR" altLang="en-US" sz="1401" dirty="0">
                <a:solidFill>
                  <a:schemeClr val="tx1"/>
                </a:solidFill>
              </a:rPr>
              <a:t> 변경해주세요</a:t>
            </a:r>
            <a:r>
              <a:rPr lang="en-US" altLang="ko-KR" sz="1401" dirty="0">
                <a:solidFill>
                  <a:schemeClr val="tx1"/>
                </a:solidFill>
              </a:rPr>
              <a:t>.</a:t>
            </a:r>
            <a:endParaRPr lang="ko-KR" altLang="en-US" sz="1401" dirty="0">
              <a:solidFill>
                <a:schemeClr val="tx1"/>
              </a:solidFill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7916BB60-CED5-4625-91FD-CED13D923765}"/>
              </a:ext>
            </a:extLst>
          </p:cNvPr>
          <p:cNvSpPr/>
          <p:nvPr/>
        </p:nvSpPr>
        <p:spPr bwMode="auto">
          <a:xfrm>
            <a:off x="344651" y="11277872"/>
            <a:ext cx="8623903" cy="28126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9" tIns="44450" rIns="90489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39BE27FC-73F5-425B-958C-DC15D77A0005}"/>
              </a:ext>
            </a:extLst>
          </p:cNvPr>
          <p:cNvSpPr/>
          <p:nvPr/>
        </p:nvSpPr>
        <p:spPr>
          <a:xfrm>
            <a:off x="10818038" y="149600"/>
            <a:ext cx="1051919" cy="279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b="1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이전 버전</a:t>
            </a:r>
            <a:endParaRPr lang="ko-KR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28" name="말풍선: 사각형 127">
            <a:extLst>
              <a:ext uri="{FF2B5EF4-FFF2-40B4-BE49-F238E27FC236}">
                <a16:creationId xmlns:a16="http://schemas.microsoft.com/office/drawing/2014/main" id="{6655674B-4DAD-44E9-9DAC-E25403C5A5D7}"/>
              </a:ext>
            </a:extLst>
          </p:cNvPr>
          <p:cNvSpPr/>
          <p:nvPr/>
        </p:nvSpPr>
        <p:spPr>
          <a:xfrm>
            <a:off x="7016393" y="9695502"/>
            <a:ext cx="3924317" cy="473047"/>
          </a:xfrm>
          <a:prstGeom prst="wedgeRectCallout">
            <a:avLst>
              <a:gd name="adj1" fmla="val -63250"/>
              <a:gd name="adj2" fmla="val 24677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표 </a:t>
            </a:r>
            <a:r>
              <a:rPr lang="en-US" altLang="ko-KR" sz="1401" dirty="0">
                <a:solidFill>
                  <a:schemeClr val="tx1"/>
                </a:solidFill>
              </a:rPr>
              <a:t>&amp; </a:t>
            </a:r>
            <a:r>
              <a:rPr lang="ko-KR" altLang="en-US" sz="1401" dirty="0">
                <a:solidFill>
                  <a:schemeClr val="tx1"/>
                </a:solidFill>
              </a:rPr>
              <a:t>타원 높이를 조금 </a:t>
            </a:r>
            <a:r>
              <a:rPr lang="ko-KR" altLang="en-US" sz="1401" dirty="0" err="1">
                <a:solidFill>
                  <a:schemeClr val="tx1"/>
                </a:solidFill>
              </a:rPr>
              <a:t>여유있게</a:t>
            </a:r>
            <a:r>
              <a:rPr lang="ko-KR" altLang="en-US" sz="1401" dirty="0">
                <a:solidFill>
                  <a:schemeClr val="tx1"/>
                </a:solidFill>
              </a:rPr>
              <a:t> 해주세요</a:t>
            </a:r>
          </a:p>
        </p:txBody>
      </p:sp>
      <p:sp>
        <p:nvSpPr>
          <p:cNvPr id="108" name="말풍선: 사각형 107">
            <a:extLst>
              <a:ext uri="{FF2B5EF4-FFF2-40B4-BE49-F238E27FC236}">
                <a16:creationId xmlns:a16="http://schemas.microsoft.com/office/drawing/2014/main" id="{C91B6452-8CF8-455C-8460-74F9B8DEEEFE}"/>
              </a:ext>
            </a:extLst>
          </p:cNvPr>
          <p:cNvSpPr/>
          <p:nvPr/>
        </p:nvSpPr>
        <p:spPr>
          <a:xfrm>
            <a:off x="5177408" y="539253"/>
            <a:ext cx="4032679" cy="941234"/>
          </a:xfrm>
          <a:prstGeom prst="wedgeRectCallout">
            <a:avLst>
              <a:gd name="adj1" fmla="val -56466"/>
              <a:gd name="adj2" fmla="val -19594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1401" dirty="0">
                <a:solidFill>
                  <a:schemeClr val="tx1"/>
                </a:solidFill>
              </a:rPr>
              <a:t>제목 영역 붙여주세요</a:t>
            </a:r>
            <a:endParaRPr lang="en-US" altLang="ko-KR" sz="1401" dirty="0">
              <a:solidFill>
                <a:schemeClr val="tx1"/>
              </a:solidFill>
            </a:endParaRPr>
          </a:p>
          <a:p>
            <a:pPr algn="ctr"/>
            <a:endParaRPr lang="ko-KR" altLang="en-US" sz="1401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A458DE3-A7D3-451F-B29D-A7E6609BCDE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35178" y="818862"/>
            <a:ext cx="3826709" cy="53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01575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TextBox 87">
            <a:extLst>
              <a:ext uri="{FF2B5EF4-FFF2-40B4-BE49-F238E27FC236}">
                <a16:creationId xmlns:a16="http://schemas.microsoft.com/office/drawing/2014/main" id="{08B65E15-1F01-446D-ACCE-C9CCB46ECD91}"/>
              </a:ext>
            </a:extLst>
          </p:cNvPr>
          <p:cNvSpPr txBox="1"/>
          <p:nvPr/>
        </p:nvSpPr>
        <p:spPr>
          <a:xfrm>
            <a:off x="192456" y="275011"/>
            <a:ext cx="4392488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altLang="ko-KR" sz="12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12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경영 활동 가이드 화면 구성</a:t>
            </a:r>
            <a:endParaRPr lang="en-US" altLang="ko-KR" sz="12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1CFB768-8B56-40E3-9387-0D78304A6A3B}"/>
              </a:ext>
            </a:extLst>
          </p:cNvPr>
          <p:cNvGrpSpPr/>
          <p:nvPr/>
        </p:nvGrpSpPr>
        <p:grpSpPr>
          <a:xfrm>
            <a:off x="335360" y="699047"/>
            <a:ext cx="5616624" cy="5663678"/>
            <a:chOff x="0" y="13433"/>
            <a:chExt cx="11880000" cy="11979526"/>
          </a:xfrm>
          <a:solidFill>
            <a:schemeClr val="bg1"/>
          </a:solidFill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B8EF7A95-82E9-4D30-88CF-8FC8F86E4261}"/>
                </a:ext>
              </a:extLst>
            </p:cNvPr>
            <p:cNvGrpSpPr/>
            <p:nvPr/>
          </p:nvGrpSpPr>
          <p:grpSpPr>
            <a:xfrm>
              <a:off x="0" y="13433"/>
              <a:ext cx="11880000" cy="11979526"/>
              <a:chOff x="0" y="14845"/>
              <a:chExt cx="13056177" cy="13238876"/>
            </a:xfrm>
            <a:grpFill/>
          </p:grpSpPr>
          <p:pic>
            <p:nvPicPr>
              <p:cNvPr id="14" name="그림 13">
                <a:extLst>
                  <a:ext uri="{FF2B5EF4-FFF2-40B4-BE49-F238E27FC236}">
                    <a16:creationId xmlns:a16="http://schemas.microsoft.com/office/drawing/2014/main" id="{32D7C784-B01E-4C2C-A4AC-DE484A08D6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595" y="14845"/>
                <a:ext cx="13005708" cy="5291125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15" name="그림 14">
                <a:extLst>
                  <a:ext uri="{FF2B5EF4-FFF2-40B4-BE49-F238E27FC236}">
                    <a16:creationId xmlns:a16="http://schemas.microsoft.com/office/drawing/2014/main" id="{85910BEA-800B-4C82-9045-7DDDADD44D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38282"/>
              <a:stretch/>
            </p:blipFill>
            <p:spPr>
              <a:xfrm>
                <a:off x="0" y="12185073"/>
                <a:ext cx="13056177" cy="1068648"/>
              </a:xfrm>
              <a:prstGeom prst="rect">
                <a:avLst/>
              </a:prstGeom>
              <a:grpFill/>
            </p:spPr>
          </p:pic>
        </p:grpSp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AF31AC4D-4B3C-40E5-B412-A92EE5E8E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1" r="191"/>
            <a:stretch/>
          </p:blipFill>
          <p:spPr>
            <a:xfrm>
              <a:off x="221547" y="4864550"/>
              <a:ext cx="11625757" cy="5860472"/>
            </a:xfrm>
            <a:prstGeom prst="rect">
              <a:avLst/>
            </a:prstGeom>
            <a:grpFill/>
          </p:spPr>
        </p:pic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9FAD0E3B-15CB-4AA1-B646-313E2CD1A7F9}"/>
              </a:ext>
            </a:extLst>
          </p:cNvPr>
          <p:cNvSpPr/>
          <p:nvPr/>
        </p:nvSpPr>
        <p:spPr>
          <a:xfrm>
            <a:off x="1161356" y="1251671"/>
            <a:ext cx="792088" cy="2393353"/>
          </a:xfrm>
          <a:prstGeom prst="rect">
            <a:avLst/>
          </a:prstGeom>
          <a:noFill/>
          <a:ln>
            <a:solidFill>
              <a:srgbClr val="C04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C84C81B6-D45D-45B7-9F4B-CE17B60B0567}"/>
              </a:ext>
            </a:extLst>
          </p:cNvPr>
          <p:cNvSpPr/>
          <p:nvPr/>
        </p:nvSpPr>
        <p:spPr>
          <a:xfrm>
            <a:off x="69615" y="1190911"/>
            <a:ext cx="1137270" cy="220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경영활동가이드 목차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33186B-7C21-4B4D-84FE-CC09D0DC33C9}"/>
              </a:ext>
            </a:extLst>
          </p:cNvPr>
          <p:cNvSpPr/>
          <p:nvPr/>
        </p:nvSpPr>
        <p:spPr>
          <a:xfrm>
            <a:off x="4750718" y="1038177"/>
            <a:ext cx="1137270" cy="220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본문 영역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475F6468-A47C-4929-A06C-88B3DC7AE488}"/>
              </a:ext>
            </a:extLst>
          </p:cNvPr>
          <p:cNvSpPr/>
          <p:nvPr/>
        </p:nvSpPr>
        <p:spPr>
          <a:xfrm>
            <a:off x="9003686" y="0"/>
            <a:ext cx="3188314" cy="3997819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9&gt;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사이드바 기능 추가하여 경영활동가이드 목차 출력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클릭 시 해당 화면으로 이동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0518DA9-30BD-4EC1-8A2F-595F14295BAB}"/>
              </a:ext>
            </a:extLst>
          </p:cNvPr>
          <p:cNvSpPr/>
          <p:nvPr/>
        </p:nvSpPr>
        <p:spPr>
          <a:xfrm>
            <a:off x="9171710" y="552010"/>
            <a:ext cx="2827834" cy="316835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경영활동가이드 개요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진입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화면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(P004)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전략계획 </a:t>
            </a:r>
            <a:r>
              <a:rPr kumimoji="0" lang="en-US" altLang="ko-KR" sz="800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D9D9D9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클릭영역 아님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)       </a:t>
            </a:r>
            <a:endParaRPr kumimoji="0" lang="en-US" altLang="ko-KR" sz="800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highlight>
                <a:srgbClr val="D9D9D9"/>
              </a:highlight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경영전략 수립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05</a:t>
            </a: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경영체계 수립     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P006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과제이행 </a:t>
            </a:r>
            <a:r>
              <a:rPr kumimoji="0" lang="en-US" altLang="ko-KR" sz="800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D9D9D9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클릭영역 아님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환경 과제               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07</a:t>
            </a: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ㄴ 사회 과제                    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P008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거버넌스 과제        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09</a:t>
            </a: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ㄴ 지속가능금융              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P010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영향평가        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11</a:t>
            </a: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ㄴ 시스템 운영                 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P012</a:t>
            </a:r>
          </a:p>
          <a:p>
            <a:pPr defTabSz="914400">
              <a:lnSpc>
                <a:spcPct val="13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공시∙인증∙평가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en-US" altLang="ko-KR" sz="800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highlight>
                  <a:srgbClr val="D9D9D9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클릭영역 아님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D9D9D9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               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13</a:t>
            </a:r>
          </a:p>
          <a:p>
            <a:pPr defTabSz="914400">
              <a:lnSpc>
                <a:spcPct val="130000"/>
              </a:lnSpc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평가                                      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- P014</a:t>
            </a:r>
          </a:p>
          <a:p>
            <a:pPr defTabSz="914400">
              <a:lnSpc>
                <a:spcPct val="13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인증                                   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P015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88FBACD3-6015-42B0-8A34-E06BFC0C4D60}"/>
              </a:ext>
            </a:extLst>
          </p:cNvPr>
          <p:cNvCxnSpPr>
            <a:cxnSpLocks/>
          </p:cNvCxnSpPr>
          <p:nvPr/>
        </p:nvCxnSpPr>
        <p:spPr>
          <a:xfrm>
            <a:off x="4954538" y="1253126"/>
            <a:ext cx="277366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A6243A31-14F7-4E88-9023-B062E587745D}"/>
              </a:ext>
            </a:extLst>
          </p:cNvPr>
          <p:cNvCxnSpPr>
            <a:cxnSpLocks/>
          </p:cNvCxnSpPr>
          <p:nvPr/>
        </p:nvCxnSpPr>
        <p:spPr>
          <a:xfrm>
            <a:off x="4954538" y="5773308"/>
            <a:ext cx="277366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3A860521-B3FF-40C2-A605-F1C2D507FAC0}"/>
              </a:ext>
            </a:extLst>
          </p:cNvPr>
          <p:cNvCxnSpPr>
            <a:cxnSpLocks/>
          </p:cNvCxnSpPr>
          <p:nvPr/>
        </p:nvCxnSpPr>
        <p:spPr>
          <a:xfrm>
            <a:off x="5093221" y="1253126"/>
            <a:ext cx="0" cy="4520182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C7179E7A-875F-4C52-AF69-0734786F2F93}"/>
              </a:ext>
            </a:extLst>
          </p:cNvPr>
          <p:cNvCxnSpPr>
            <a:cxnSpLocks/>
          </p:cNvCxnSpPr>
          <p:nvPr/>
        </p:nvCxnSpPr>
        <p:spPr>
          <a:xfrm>
            <a:off x="1991544" y="1700808"/>
            <a:ext cx="3386697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6375FA89-6591-4CF8-A937-6768B42EFE83}"/>
              </a:ext>
            </a:extLst>
          </p:cNvPr>
          <p:cNvCxnSpPr>
            <a:cxnSpLocks/>
          </p:cNvCxnSpPr>
          <p:nvPr/>
        </p:nvCxnSpPr>
        <p:spPr>
          <a:xfrm>
            <a:off x="1991544" y="1251671"/>
            <a:ext cx="3386697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D1C2F373-F432-417B-8CE0-D1BFFB75D7F1}"/>
              </a:ext>
            </a:extLst>
          </p:cNvPr>
          <p:cNvSpPr/>
          <p:nvPr/>
        </p:nvSpPr>
        <p:spPr>
          <a:xfrm>
            <a:off x="5093221" y="1397417"/>
            <a:ext cx="801775" cy="195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개요</a:t>
            </a:r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73D96E2C-E4BD-4F0F-99E7-B35BCA649752}"/>
              </a:ext>
            </a:extLst>
          </p:cNvPr>
          <p:cNvCxnSpPr>
            <a:cxnSpLocks/>
          </p:cNvCxnSpPr>
          <p:nvPr/>
        </p:nvCxnSpPr>
        <p:spPr>
          <a:xfrm>
            <a:off x="1991544" y="2956553"/>
            <a:ext cx="3386697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5ECCDD59-B22D-44FB-9408-9785F42D197F}"/>
              </a:ext>
            </a:extLst>
          </p:cNvPr>
          <p:cNvSpPr/>
          <p:nvPr/>
        </p:nvSpPr>
        <p:spPr>
          <a:xfrm>
            <a:off x="5093221" y="2262794"/>
            <a:ext cx="801775" cy="195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주요활동</a:t>
            </a: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80D69A8-791B-4270-BF15-6C78ACC08388}"/>
              </a:ext>
            </a:extLst>
          </p:cNvPr>
          <p:cNvCxnSpPr>
            <a:cxnSpLocks/>
          </p:cNvCxnSpPr>
          <p:nvPr/>
        </p:nvCxnSpPr>
        <p:spPr>
          <a:xfrm>
            <a:off x="1994782" y="3513217"/>
            <a:ext cx="3386697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95BC7A7F-9C29-4BB0-BAC4-D2154AA3BAE8}"/>
              </a:ext>
            </a:extLst>
          </p:cNvPr>
          <p:cNvSpPr/>
          <p:nvPr/>
        </p:nvSpPr>
        <p:spPr>
          <a:xfrm>
            <a:off x="5549504" y="3025746"/>
            <a:ext cx="465723" cy="559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8F738D34-9D3B-447F-89C4-1EA2586C0B74}"/>
              </a:ext>
            </a:extLst>
          </p:cNvPr>
          <p:cNvSpPr/>
          <p:nvPr/>
        </p:nvSpPr>
        <p:spPr>
          <a:xfrm>
            <a:off x="5104140" y="3141336"/>
            <a:ext cx="943861" cy="195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필요 업무 역량</a:t>
            </a:r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128FD5A8-BC6F-464F-941A-27F5EFDF7173}"/>
              </a:ext>
            </a:extLst>
          </p:cNvPr>
          <p:cNvCxnSpPr>
            <a:cxnSpLocks/>
          </p:cNvCxnSpPr>
          <p:nvPr/>
        </p:nvCxnSpPr>
        <p:spPr>
          <a:xfrm>
            <a:off x="1977523" y="4581128"/>
            <a:ext cx="3386697" cy="0"/>
          </a:xfrm>
          <a:prstGeom prst="line">
            <a:avLst/>
          </a:prstGeom>
          <a:ln w="19050">
            <a:solidFill>
              <a:srgbClr val="C04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175ECEBE-345D-40AE-B2AF-D82190934610}"/>
              </a:ext>
            </a:extLst>
          </p:cNvPr>
          <p:cNvSpPr/>
          <p:nvPr/>
        </p:nvSpPr>
        <p:spPr>
          <a:xfrm>
            <a:off x="5109727" y="3988886"/>
            <a:ext cx="943861" cy="195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추천 컨텐츠</a:t>
            </a: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02CA6C16-8F68-4A5E-8365-BFC585B5E526}"/>
              </a:ext>
            </a:extLst>
          </p:cNvPr>
          <p:cNvCxnSpPr>
            <a:cxnSpLocks/>
          </p:cNvCxnSpPr>
          <p:nvPr/>
        </p:nvCxnSpPr>
        <p:spPr>
          <a:xfrm>
            <a:off x="1977522" y="5773308"/>
            <a:ext cx="3386697" cy="0"/>
          </a:xfrm>
          <a:prstGeom prst="line">
            <a:avLst/>
          </a:prstGeom>
          <a:ln w="19050"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25F4A7D-B02C-4181-9A32-44C8A096029D}"/>
              </a:ext>
            </a:extLst>
          </p:cNvPr>
          <p:cNvSpPr/>
          <p:nvPr/>
        </p:nvSpPr>
        <p:spPr>
          <a:xfrm>
            <a:off x="5113003" y="5091751"/>
            <a:ext cx="943861" cy="195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/>
                <a:cs typeface="Arial"/>
              </a:rPr>
              <a:t>서비스 안내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7A4E3693-CD72-4BFE-BC60-848D980B2464}"/>
              </a:ext>
            </a:extLst>
          </p:cNvPr>
          <p:cNvSpPr/>
          <p:nvPr/>
        </p:nvSpPr>
        <p:spPr>
          <a:xfrm>
            <a:off x="1593022" y="2151942"/>
            <a:ext cx="144016" cy="720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7C41C028-8EAE-4885-9086-2B74580F7AC0}"/>
              </a:ext>
            </a:extLst>
          </p:cNvPr>
          <p:cNvSpPr/>
          <p:nvPr/>
        </p:nvSpPr>
        <p:spPr>
          <a:xfrm>
            <a:off x="1593022" y="2284183"/>
            <a:ext cx="144016" cy="720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8B9B0A75-E021-4908-AA44-F0267295056D}"/>
              </a:ext>
            </a:extLst>
          </p:cNvPr>
          <p:cNvSpPr/>
          <p:nvPr/>
        </p:nvSpPr>
        <p:spPr>
          <a:xfrm>
            <a:off x="1692082" y="2422216"/>
            <a:ext cx="144016" cy="720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5315535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8739639B-1C74-4E6F-9AB5-A65E82293706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요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동일 활동분류에 대한 경영가이드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수립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~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15 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가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39459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19554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요 </a:t>
            </a: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C52E1F2C-FC91-41B8-AA6D-311E3A18641A}"/>
              </a:ext>
            </a:extLst>
          </p:cNvPr>
          <p:cNvSpPr/>
          <p:nvPr/>
        </p:nvSpPr>
        <p:spPr>
          <a:xfrm>
            <a:off x="479425" y="1916832"/>
            <a:ext cx="170750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경영의 개념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AAB0715E-8324-4A7E-B29F-4FF2BC8486E6}"/>
              </a:ext>
            </a:extLst>
          </p:cNvPr>
          <p:cNvSpPr/>
          <p:nvPr/>
        </p:nvSpPr>
        <p:spPr>
          <a:xfrm>
            <a:off x="550863" y="2180742"/>
            <a:ext cx="8208962" cy="55968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</a:t>
            </a:r>
            <a:r>
              <a:rPr lang="ko-KR" altLang="en-US" sz="900" dirty="0">
                <a:solidFill>
                  <a:schemeClr val="tx1"/>
                </a:solidFill>
              </a:rPr>
              <a:t>란 기업의 비재무적 요소인 환경</a:t>
            </a:r>
            <a:r>
              <a:rPr lang="en-US" altLang="ko-KR" sz="900" dirty="0">
                <a:solidFill>
                  <a:schemeClr val="tx1"/>
                </a:solidFill>
              </a:rPr>
              <a:t>(Environmental), </a:t>
            </a:r>
            <a:r>
              <a:rPr lang="ko-KR" altLang="en-US" sz="900" dirty="0">
                <a:solidFill>
                  <a:schemeClr val="tx1"/>
                </a:solidFill>
              </a:rPr>
              <a:t>사회</a:t>
            </a:r>
            <a:r>
              <a:rPr lang="en-US" altLang="ko-KR" sz="900" dirty="0">
                <a:solidFill>
                  <a:schemeClr val="tx1"/>
                </a:solidFill>
              </a:rPr>
              <a:t>(Social), </a:t>
            </a:r>
            <a:r>
              <a:rPr lang="ko-KR" altLang="en-US" sz="900" dirty="0">
                <a:solidFill>
                  <a:schemeClr val="tx1"/>
                </a:solidFill>
              </a:rPr>
              <a:t>지배구조</a:t>
            </a:r>
            <a:r>
              <a:rPr lang="en-US" altLang="ko-KR" sz="900" dirty="0">
                <a:solidFill>
                  <a:schemeClr val="tx1"/>
                </a:solidFill>
              </a:rPr>
              <a:t>(Governance)</a:t>
            </a:r>
            <a:r>
              <a:rPr lang="ko-KR" altLang="en-US" sz="900" dirty="0">
                <a:solidFill>
                  <a:schemeClr val="tx1"/>
                </a:solidFill>
              </a:rPr>
              <a:t>약자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의 지속가능성 및 가치의 평가에 재무적 요소 뿐 아니라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요소가 함께 반영되어야 한다는 개념으로 활용되고 있습니다</a:t>
            </a:r>
            <a:r>
              <a:rPr lang="en-US" altLang="ko-KR" sz="900" dirty="0">
                <a:solidFill>
                  <a:schemeClr val="tx1"/>
                </a:solidFill>
              </a:rPr>
              <a:t>. ESG </a:t>
            </a:r>
            <a:r>
              <a:rPr lang="ko-KR" altLang="en-US" sz="900" dirty="0">
                <a:solidFill>
                  <a:schemeClr val="tx1"/>
                </a:solidFill>
              </a:rPr>
              <a:t>경영은 기업의 지속가능한 발전을 위해 경영 활동에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요소를 반영하는 것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환경보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사회적 책임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배구조 개선을 위한 활동을 수행하는 것을 의미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4142CD7E-B239-472A-8CD9-33D78BCCE5C8}"/>
              </a:ext>
            </a:extLst>
          </p:cNvPr>
          <p:cNvSpPr/>
          <p:nvPr/>
        </p:nvSpPr>
        <p:spPr>
          <a:xfrm>
            <a:off x="479425" y="2756806"/>
            <a:ext cx="2499638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경영활동 가이드의 목적</a:t>
            </a: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E1C952D4-744C-4650-9AE8-3B34BD10EDA0}"/>
              </a:ext>
            </a:extLst>
          </p:cNvPr>
          <p:cNvGrpSpPr/>
          <p:nvPr/>
        </p:nvGrpSpPr>
        <p:grpSpPr>
          <a:xfrm>
            <a:off x="1646165" y="3021695"/>
            <a:ext cx="7113659" cy="482463"/>
            <a:chOff x="677425" y="4307589"/>
            <a:chExt cx="7113659" cy="482463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D7C6382D-EDCA-4F2C-8EBB-99412D1A95A0}"/>
                </a:ext>
              </a:extLst>
            </p:cNvPr>
            <p:cNvSpPr/>
            <p:nvPr/>
          </p:nvSpPr>
          <p:spPr>
            <a:xfrm>
              <a:off x="911423" y="4307589"/>
              <a:ext cx="6879661" cy="4824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52000" rIns="36000" rtlCol="0" anchor="ctr"/>
            <a:lstStyle/>
            <a:p>
              <a:r>
                <a:rPr lang="en-US" altLang="ko-KR" sz="900" dirty="0">
                  <a:solidFill>
                    <a:schemeClr val="tx1"/>
                  </a:solidFill>
                </a:rPr>
                <a:t>ESG </a:t>
              </a:r>
              <a:r>
                <a:rPr lang="ko-KR" altLang="en-US" sz="900" dirty="0">
                  <a:solidFill>
                    <a:schemeClr val="tx1"/>
                  </a:solidFill>
                </a:rPr>
                <a:t>경영 체계 내의 개별 활동들을 정의하고</a:t>
              </a:r>
              <a:r>
                <a:rPr lang="en-US" altLang="ko-KR" sz="900" dirty="0">
                  <a:solidFill>
                    <a:schemeClr val="tx1"/>
                  </a:solidFill>
                </a:rPr>
                <a:t>, </a:t>
              </a:r>
              <a:r>
                <a:rPr lang="ko-KR" altLang="en-US" sz="900" dirty="0">
                  <a:solidFill>
                    <a:schemeClr val="tx1"/>
                  </a:solidFill>
                </a:rPr>
                <a:t>세부 활동 및 필요 역량을 규정하여 기업이 어떤 활동을 수행해야 하는지를 확인할 수 있도록 합니다</a:t>
              </a:r>
              <a:r>
                <a:rPr lang="en-US" altLang="ko-KR" sz="900" dirty="0">
                  <a:solidFill>
                    <a:schemeClr val="tx1"/>
                  </a:solidFill>
                </a:rPr>
                <a:t>.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78" name="타원 77">
              <a:extLst>
                <a:ext uri="{FF2B5EF4-FFF2-40B4-BE49-F238E27FC236}">
                  <a16:creationId xmlns:a16="http://schemas.microsoft.com/office/drawing/2014/main" id="{14FD0523-A43C-4BBB-8242-B6E91245234A}"/>
                </a:ext>
              </a:extLst>
            </p:cNvPr>
            <p:cNvSpPr/>
            <p:nvPr/>
          </p:nvSpPr>
          <p:spPr>
            <a:xfrm>
              <a:off x="677425" y="4307589"/>
              <a:ext cx="482463" cy="4824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79" name="타원 78">
              <a:extLst>
                <a:ext uri="{FF2B5EF4-FFF2-40B4-BE49-F238E27FC236}">
                  <a16:creationId xmlns:a16="http://schemas.microsoft.com/office/drawing/2014/main" id="{BE8C7C04-FC3C-4184-BE17-3E6E06FA236B}"/>
                </a:ext>
              </a:extLst>
            </p:cNvPr>
            <p:cNvSpPr/>
            <p:nvPr/>
          </p:nvSpPr>
          <p:spPr>
            <a:xfrm>
              <a:off x="751430" y="4379596"/>
              <a:ext cx="338447" cy="3384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+mn-ea"/>
                  <a:cs typeface="Arial"/>
                </a:rPr>
                <a:t>1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endParaRPr>
            </a:p>
          </p:txBody>
        </p:sp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0D855D2-8BF4-48BD-B0B0-769A7E872556}"/>
              </a:ext>
            </a:extLst>
          </p:cNvPr>
          <p:cNvGrpSpPr/>
          <p:nvPr/>
        </p:nvGrpSpPr>
        <p:grpSpPr>
          <a:xfrm>
            <a:off x="1646165" y="3576165"/>
            <a:ext cx="7113659" cy="482463"/>
            <a:chOff x="677425" y="4862059"/>
            <a:chExt cx="7113659" cy="482463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0D97574C-283C-4A1A-8FE3-07EDA8FBD67E}"/>
                </a:ext>
              </a:extLst>
            </p:cNvPr>
            <p:cNvSpPr/>
            <p:nvPr/>
          </p:nvSpPr>
          <p:spPr>
            <a:xfrm>
              <a:off x="911424" y="4862059"/>
              <a:ext cx="6879660" cy="4824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52000" rIns="36000" rtlCol="0" anchor="ctr"/>
            <a:lstStyle/>
            <a:p>
              <a:r>
                <a:rPr lang="en-US" altLang="ko-KR" sz="900" dirty="0">
                  <a:solidFill>
                    <a:schemeClr val="tx1"/>
                  </a:solidFill>
                </a:rPr>
                <a:t>ESG </a:t>
              </a:r>
              <a:r>
                <a:rPr lang="ko-KR" altLang="en-US" sz="900" dirty="0">
                  <a:solidFill>
                    <a:schemeClr val="tx1"/>
                  </a:solidFill>
                </a:rPr>
                <a:t>경영 활동의 수행에 도움이 될 수 있는 참고 자료를 </a:t>
              </a:r>
              <a:r>
                <a:rPr lang="ko-KR" altLang="en-US" sz="900" dirty="0" err="1">
                  <a:solidFill>
                    <a:schemeClr val="tx1"/>
                  </a:solidFill>
                </a:rPr>
                <a:t>큐레이팅하여</a:t>
              </a:r>
              <a:r>
                <a:rPr lang="ko-KR" altLang="en-US" sz="900" dirty="0">
                  <a:solidFill>
                    <a:schemeClr val="tx1"/>
                  </a:solidFill>
                </a:rPr>
                <a:t> 제공하며</a:t>
              </a:r>
              <a:r>
                <a:rPr lang="en-US" altLang="ko-KR" sz="900" dirty="0">
                  <a:solidFill>
                    <a:schemeClr val="tx1"/>
                  </a:solidFill>
                </a:rPr>
                <a:t>, </a:t>
              </a:r>
              <a:r>
                <a:rPr lang="ko-KR" alt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「삼일</a:t>
              </a:r>
              <a:r>
                <a:rPr lang="en-US" altLang="ko-KR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 ESG</a:t>
              </a:r>
              <a:r>
                <a:rPr lang="ko-KR" altLang="en-US" sz="9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」</a:t>
              </a:r>
              <a:r>
                <a:rPr lang="ko-KR" altLang="en-US" sz="900" dirty="0">
                  <a:solidFill>
                    <a:schemeClr val="tx1"/>
                  </a:solidFill>
                </a:rPr>
                <a:t>의 지원 가능 분야를 안내해드립니다</a:t>
              </a:r>
              <a:r>
                <a:rPr lang="en-US" altLang="ko-KR" sz="900" dirty="0">
                  <a:solidFill>
                    <a:schemeClr val="tx1"/>
                  </a:solidFill>
                </a:rPr>
                <a:t>.</a:t>
              </a:r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82" name="타원 81">
              <a:extLst>
                <a:ext uri="{FF2B5EF4-FFF2-40B4-BE49-F238E27FC236}">
                  <a16:creationId xmlns:a16="http://schemas.microsoft.com/office/drawing/2014/main" id="{8BA62D26-4C49-43C4-9E1C-7321136BA56A}"/>
                </a:ext>
              </a:extLst>
            </p:cNvPr>
            <p:cNvSpPr/>
            <p:nvPr/>
          </p:nvSpPr>
          <p:spPr>
            <a:xfrm>
              <a:off x="677425" y="4862059"/>
              <a:ext cx="482463" cy="4824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cs typeface="Arial"/>
              </a:endParaRPr>
            </a:p>
          </p:txBody>
        </p:sp>
        <p:sp>
          <p:nvSpPr>
            <p:cNvPr id="83" name="타원 82">
              <a:extLst>
                <a:ext uri="{FF2B5EF4-FFF2-40B4-BE49-F238E27FC236}">
                  <a16:creationId xmlns:a16="http://schemas.microsoft.com/office/drawing/2014/main" id="{B425681B-7500-46C5-9FAA-B296AE1585BE}"/>
                </a:ext>
              </a:extLst>
            </p:cNvPr>
            <p:cNvSpPr/>
            <p:nvPr/>
          </p:nvSpPr>
          <p:spPr>
            <a:xfrm>
              <a:off x="751430" y="4934066"/>
              <a:ext cx="338447" cy="33844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+mn-ea"/>
                  <a:cs typeface="Arial"/>
                </a:rPr>
                <a:t>2</a:t>
              </a:r>
              <a:endPara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endParaRPr>
            </a:p>
          </p:txBody>
        </p:sp>
      </p:grp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BD6D8BE5-CFAC-4F75-B252-1D1794A9E042}"/>
              </a:ext>
            </a:extLst>
          </p:cNvPr>
          <p:cNvSpPr/>
          <p:nvPr/>
        </p:nvSpPr>
        <p:spPr>
          <a:xfrm>
            <a:off x="479425" y="4172534"/>
            <a:ext cx="2499638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경영활동 가이드 목차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3DA20B73-5DF3-4DF3-8952-640B64E40460}"/>
              </a:ext>
            </a:extLst>
          </p:cNvPr>
          <p:cNvSpPr/>
          <p:nvPr/>
        </p:nvSpPr>
        <p:spPr>
          <a:xfrm>
            <a:off x="550863" y="4427550"/>
            <a:ext cx="8281987" cy="216980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8C88E8CA-A557-413A-A6A4-80E0A3BD0613}"/>
              </a:ext>
            </a:extLst>
          </p:cNvPr>
          <p:cNvGrpSpPr/>
          <p:nvPr/>
        </p:nvGrpSpPr>
        <p:grpSpPr>
          <a:xfrm>
            <a:off x="1673918" y="5171574"/>
            <a:ext cx="1512000" cy="423121"/>
            <a:chOff x="4058820" y="3096735"/>
            <a:chExt cx="1512000" cy="423121"/>
          </a:xfrm>
          <a:solidFill>
            <a:schemeClr val="bg1"/>
          </a:solidFill>
        </p:grpSpPr>
        <p:sp>
          <p:nvSpPr>
            <p:cNvPr id="86" name="사각형: 둥근 모서리 85">
              <a:extLst>
                <a:ext uri="{FF2B5EF4-FFF2-40B4-BE49-F238E27FC236}">
                  <a16:creationId xmlns:a16="http://schemas.microsoft.com/office/drawing/2014/main" id="{48C31CDE-9147-4E5A-9336-F6B1D5A867A9}"/>
                </a:ext>
              </a:extLst>
            </p:cNvPr>
            <p:cNvSpPr/>
            <p:nvPr/>
          </p:nvSpPr>
          <p:spPr>
            <a:xfrm>
              <a:off x="4058820" y="3096735"/>
              <a:ext cx="1512000" cy="18693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경영전략 수립</a:t>
              </a:r>
            </a:p>
          </p:txBody>
        </p:sp>
        <p:sp>
          <p:nvSpPr>
            <p:cNvPr id="87" name="사각형: 둥근 모서리 86">
              <a:extLst>
                <a:ext uri="{FF2B5EF4-FFF2-40B4-BE49-F238E27FC236}">
                  <a16:creationId xmlns:a16="http://schemas.microsoft.com/office/drawing/2014/main" id="{7F8C74F4-E7E2-41A3-A374-ADF28C6DFB2E}"/>
                </a:ext>
              </a:extLst>
            </p:cNvPr>
            <p:cNvSpPr/>
            <p:nvPr/>
          </p:nvSpPr>
          <p:spPr>
            <a:xfrm>
              <a:off x="4058820" y="3332926"/>
              <a:ext cx="1512000" cy="186930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lnSpc>
                  <a:spcPct val="100000"/>
                </a:lnSpc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경영체계 수립</a:t>
              </a:r>
            </a:p>
          </p:txBody>
        </p: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F47FCF9D-C640-495A-BCD9-D5B5722C346A}"/>
              </a:ext>
            </a:extLst>
          </p:cNvPr>
          <p:cNvGrpSpPr/>
          <p:nvPr/>
        </p:nvGrpSpPr>
        <p:grpSpPr>
          <a:xfrm>
            <a:off x="4327422" y="5171574"/>
            <a:ext cx="1512000" cy="1372859"/>
            <a:chOff x="4039791" y="3622051"/>
            <a:chExt cx="1512000" cy="1372859"/>
          </a:xfrm>
        </p:grpSpPr>
        <p:sp>
          <p:nvSpPr>
            <p:cNvPr id="89" name="사각형: 둥근 모서리 88">
              <a:extLst>
                <a:ext uri="{FF2B5EF4-FFF2-40B4-BE49-F238E27FC236}">
                  <a16:creationId xmlns:a16="http://schemas.microsoft.com/office/drawing/2014/main" id="{6B8B67FA-9AE7-434A-A3EF-626331BE33F3}"/>
                </a:ext>
              </a:extLst>
            </p:cNvPr>
            <p:cNvSpPr/>
            <p:nvPr/>
          </p:nvSpPr>
          <p:spPr>
            <a:xfrm>
              <a:off x="4039791" y="3622051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환경 과제</a:t>
              </a:r>
              <a:r>
                <a:rPr lang="ko-KR" altLang="en-US" sz="900" b="1" u="sng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이행</a:t>
              </a: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09278CB6-E7A1-473F-B0A9-42BCD0802E6B}"/>
                </a:ext>
              </a:extLst>
            </p:cNvPr>
            <p:cNvSpPr/>
            <p:nvPr/>
          </p:nvSpPr>
          <p:spPr>
            <a:xfrm>
              <a:off x="4039791" y="3859237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lnSpc>
                  <a:spcPct val="100000"/>
                </a:lnSpc>
                <a:buFont typeface="Wingdings" panose="05000000000000000000" pitchFamily="2" charset="2"/>
                <a:buChar char="§"/>
              </a:pP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사회 과제</a:t>
              </a:r>
              <a:r>
                <a:rPr lang="ko-KR" altLang="en-US" sz="900" b="1" u="sng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이행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C359D06B-C248-47D4-AF77-8AE0A56274DC}"/>
                </a:ext>
              </a:extLst>
            </p:cNvPr>
            <p:cNvSpPr/>
            <p:nvPr/>
          </p:nvSpPr>
          <p:spPr>
            <a:xfrm>
              <a:off x="4039791" y="4096423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거버넌스 과제</a:t>
              </a:r>
              <a:r>
                <a:rPr lang="ko-KR" altLang="en-US" sz="900" b="1" u="sng" strike="sngStrike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이행</a:t>
              </a:r>
            </a:p>
          </p:txBody>
        </p:sp>
        <p:sp>
          <p:nvSpPr>
            <p:cNvPr id="92" name="사각형: 둥근 모서리 91">
              <a:extLst>
                <a:ext uri="{FF2B5EF4-FFF2-40B4-BE49-F238E27FC236}">
                  <a16:creationId xmlns:a16="http://schemas.microsoft.com/office/drawing/2014/main" id="{3088DF78-A8D1-44CF-8705-28D16F3E63E2}"/>
                </a:ext>
              </a:extLst>
            </p:cNvPr>
            <p:cNvSpPr/>
            <p:nvPr/>
          </p:nvSpPr>
          <p:spPr>
            <a:xfrm>
              <a:off x="4039791" y="4333609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지속가능 금융</a:t>
              </a: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1C19A14C-F6BC-4ACD-9E49-27305E547010}"/>
                </a:ext>
              </a:extLst>
            </p:cNvPr>
            <p:cNvSpPr/>
            <p:nvPr/>
          </p:nvSpPr>
          <p:spPr>
            <a:xfrm>
              <a:off x="4039791" y="4570795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 영향평가</a:t>
              </a:r>
            </a:p>
          </p:txBody>
        </p:sp>
        <p:sp>
          <p:nvSpPr>
            <p:cNvPr id="94" name="사각형: 둥근 모서리 93">
              <a:extLst>
                <a:ext uri="{FF2B5EF4-FFF2-40B4-BE49-F238E27FC236}">
                  <a16:creationId xmlns:a16="http://schemas.microsoft.com/office/drawing/2014/main" id="{00665A64-DE57-4258-B679-4C66A419A185}"/>
                </a:ext>
              </a:extLst>
            </p:cNvPr>
            <p:cNvSpPr/>
            <p:nvPr/>
          </p:nvSpPr>
          <p:spPr>
            <a:xfrm>
              <a:off x="4039791" y="4807980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rPr>
                <a:t>ESG 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rPr>
                <a:t>시스템 운영</a:t>
              </a:r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4D269FDA-A74A-4931-B2A7-3D745DB2C0A8}"/>
              </a:ext>
            </a:extLst>
          </p:cNvPr>
          <p:cNvGrpSpPr/>
          <p:nvPr/>
        </p:nvGrpSpPr>
        <p:grpSpPr>
          <a:xfrm>
            <a:off x="6989430" y="5171574"/>
            <a:ext cx="1512000" cy="655428"/>
            <a:chOff x="6128025" y="3601351"/>
            <a:chExt cx="1512000" cy="655428"/>
          </a:xfrm>
        </p:grpSpPr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0E21B704-0FF8-4369-9A98-7181F4267BFD}"/>
                </a:ext>
              </a:extLst>
            </p:cNvPr>
            <p:cNvSpPr/>
            <p:nvPr/>
          </p:nvSpPr>
          <p:spPr>
            <a:xfrm>
              <a:off x="6128025" y="3601351"/>
              <a:ext cx="1512000" cy="18804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lnSpc>
                  <a:spcPct val="100000"/>
                </a:lnSpc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공시</a:t>
              </a:r>
            </a:p>
          </p:txBody>
        </p:sp>
        <p:sp>
          <p:nvSpPr>
            <p:cNvPr id="97" name="사각형: 둥근 모서리 96">
              <a:extLst>
                <a:ext uri="{FF2B5EF4-FFF2-40B4-BE49-F238E27FC236}">
                  <a16:creationId xmlns:a16="http://schemas.microsoft.com/office/drawing/2014/main" id="{72AA40AE-0367-489B-A66B-22DB09306843}"/>
                </a:ext>
              </a:extLst>
            </p:cNvPr>
            <p:cNvSpPr/>
            <p:nvPr/>
          </p:nvSpPr>
          <p:spPr>
            <a:xfrm>
              <a:off x="6128025" y="3835600"/>
              <a:ext cx="1512000" cy="1869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rPr>
                <a:t>ESG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highlight>
                    <a:srgbClr val="FFFF00"/>
                  </a:highlight>
                  <a:latin typeface="+mn-ea"/>
                  <a:cs typeface="Arial"/>
                </a:rPr>
                <a:t> 평가</a:t>
              </a:r>
            </a:p>
          </p:txBody>
        </p:sp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CED655BF-A62E-486A-B71F-C1C7BA6C8780}"/>
                </a:ext>
              </a:extLst>
            </p:cNvPr>
            <p:cNvSpPr/>
            <p:nvPr/>
          </p:nvSpPr>
          <p:spPr>
            <a:xfrm>
              <a:off x="6128025" y="4068733"/>
              <a:ext cx="1512000" cy="18804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171450" indent="-171450">
                <a:lnSpc>
                  <a:spcPct val="100000"/>
                </a:lnSpc>
                <a:buFont typeface="Wingdings" panose="05000000000000000000" pitchFamily="2" charset="2"/>
                <a:buChar char="§"/>
              </a:pPr>
              <a:r>
                <a:rPr lang="en-US" altLang="ko-KR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ESG </a:t>
              </a:r>
              <a:r>
                <a:rPr lang="ko-KR" altLang="en-US" sz="900" b="1" u="sng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  <a:cs typeface="Arial"/>
                </a:rPr>
                <a:t>인증</a:t>
              </a:r>
            </a:p>
          </p:txBody>
        </p:sp>
      </p:grpSp>
      <p:sp>
        <p:nvSpPr>
          <p:cNvPr id="99" name="현 98">
            <a:extLst>
              <a:ext uri="{FF2B5EF4-FFF2-40B4-BE49-F238E27FC236}">
                <a16:creationId xmlns:a16="http://schemas.microsoft.com/office/drawing/2014/main" id="{C0F551A0-1614-4B3A-A321-BDAB9001A53A}"/>
              </a:ext>
            </a:extLst>
          </p:cNvPr>
          <p:cNvSpPr/>
          <p:nvPr/>
        </p:nvSpPr>
        <p:spPr>
          <a:xfrm rot="10800000">
            <a:off x="2775093" y="4615498"/>
            <a:ext cx="1488825" cy="1488825"/>
          </a:xfrm>
          <a:prstGeom prst="chord">
            <a:avLst>
              <a:gd name="adj1" fmla="val 5436352"/>
              <a:gd name="adj2" fmla="val 16164884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cxnSp>
        <p:nvCxnSpPr>
          <p:cNvPr id="100" name="직선 연결선 99">
            <a:extLst>
              <a:ext uri="{FF2B5EF4-FFF2-40B4-BE49-F238E27FC236}">
                <a16:creationId xmlns:a16="http://schemas.microsoft.com/office/drawing/2014/main" id="{F971E02B-09DC-45F3-9C85-BFA8112FA213}"/>
              </a:ext>
            </a:extLst>
          </p:cNvPr>
          <p:cNvCxnSpPr>
            <a:cxnSpLocks/>
          </p:cNvCxnSpPr>
          <p:nvPr/>
        </p:nvCxnSpPr>
        <p:spPr>
          <a:xfrm>
            <a:off x="3527841" y="4509120"/>
            <a:ext cx="0" cy="198000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90273089-B1BD-4EF1-9728-1F62C73BE513}"/>
              </a:ext>
            </a:extLst>
          </p:cNvPr>
          <p:cNvSpPr/>
          <p:nvPr/>
        </p:nvSpPr>
        <p:spPr>
          <a:xfrm>
            <a:off x="3455833" y="4698773"/>
            <a:ext cx="850759" cy="67073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02. 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+mn-ea"/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ESG </a:t>
            </a:r>
            <a:b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</a:b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과제 이행</a:t>
            </a:r>
          </a:p>
        </p:txBody>
      </p:sp>
      <p:sp>
        <p:nvSpPr>
          <p:cNvPr id="102" name="현 101">
            <a:extLst>
              <a:ext uri="{FF2B5EF4-FFF2-40B4-BE49-F238E27FC236}">
                <a16:creationId xmlns:a16="http://schemas.microsoft.com/office/drawing/2014/main" id="{ED735C6A-1CE8-4C6D-B89B-C60B621ADBFD}"/>
              </a:ext>
            </a:extLst>
          </p:cNvPr>
          <p:cNvSpPr/>
          <p:nvPr/>
        </p:nvSpPr>
        <p:spPr>
          <a:xfrm rot="10800000">
            <a:off x="121589" y="4537872"/>
            <a:ext cx="1488825" cy="1488825"/>
          </a:xfrm>
          <a:prstGeom prst="chord">
            <a:avLst>
              <a:gd name="adj1" fmla="val 5436352"/>
              <a:gd name="adj2" fmla="val 16164884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/>
          </a:p>
        </p:txBody>
      </p:sp>
      <p:cxnSp>
        <p:nvCxnSpPr>
          <p:cNvPr id="103" name="직선 연결선 102">
            <a:extLst>
              <a:ext uri="{FF2B5EF4-FFF2-40B4-BE49-F238E27FC236}">
                <a16:creationId xmlns:a16="http://schemas.microsoft.com/office/drawing/2014/main" id="{EF1D3C9D-ABA7-43AE-A2DF-C98FA355ED1F}"/>
              </a:ext>
            </a:extLst>
          </p:cNvPr>
          <p:cNvCxnSpPr>
            <a:cxnSpLocks/>
          </p:cNvCxnSpPr>
          <p:nvPr/>
        </p:nvCxnSpPr>
        <p:spPr>
          <a:xfrm>
            <a:off x="874337" y="4509120"/>
            <a:ext cx="0" cy="198000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12F6E6ED-D39C-4EA8-B30D-61F070DBD255}"/>
              </a:ext>
            </a:extLst>
          </p:cNvPr>
          <p:cNvSpPr/>
          <p:nvPr/>
        </p:nvSpPr>
        <p:spPr>
          <a:xfrm>
            <a:off x="802329" y="4698773"/>
            <a:ext cx="850759" cy="67073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01. 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+mn-ea"/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ESG </a:t>
            </a:r>
            <a:b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</a:b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전략 계획</a:t>
            </a:r>
          </a:p>
        </p:txBody>
      </p:sp>
      <p:sp>
        <p:nvSpPr>
          <p:cNvPr id="105" name="현 104">
            <a:extLst>
              <a:ext uri="{FF2B5EF4-FFF2-40B4-BE49-F238E27FC236}">
                <a16:creationId xmlns:a16="http://schemas.microsoft.com/office/drawing/2014/main" id="{028065BB-3735-442B-B507-2843E750948A}"/>
              </a:ext>
            </a:extLst>
          </p:cNvPr>
          <p:cNvSpPr/>
          <p:nvPr/>
        </p:nvSpPr>
        <p:spPr>
          <a:xfrm rot="10800000">
            <a:off x="5428597" y="4615498"/>
            <a:ext cx="1488825" cy="1488825"/>
          </a:xfrm>
          <a:prstGeom prst="chord">
            <a:avLst>
              <a:gd name="adj1" fmla="val 5436352"/>
              <a:gd name="adj2" fmla="val 16164884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FB753973-53C7-4F5F-8480-156C36234805}"/>
              </a:ext>
            </a:extLst>
          </p:cNvPr>
          <p:cNvCxnSpPr>
            <a:cxnSpLocks/>
          </p:cNvCxnSpPr>
          <p:nvPr/>
        </p:nvCxnSpPr>
        <p:spPr>
          <a:xfrm>
            <a:off x="6181345" y="4509120"/>
            <a:ext cx="0" cy="198000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7152D182-921C-4F18-AAC0-C95596EDAB38}"/>
              </a:ext>
            </a:extLst>
          </p:cNvPr>
          <p:cNvSpPr/>
          <p:nvPr/>
        </p:nvSpPr>
        <p:spPr>
          <a:xfrm>
            <a:off x="6109337" y="4698773"/>
            <a:ext cx="850759" cy="67073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+mn-ea"/>
                <a:cs typeface="Arial"/>
              </a:rPr>
              <a:t>03. </a:t>
            </a:r>
            <a:endParaRPr lang="en-US" altLang="ko-KR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+mn-ea"/>
              <a:cs typeface="Arial"/>
            </a:endParaRPr>
          </a:p>
          <a:p>
            <a:pPr>
              <a:lnSpc>
                <a:spcPct val="100000"/>
              </a:lnSpc>
            </a:pPr>
            <a:r>
              <a:rPr lang="en-US" altLang="ko-KR" sz="10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ESG </a:t>
            </a:r>
            <a:r>
              <a:rPr lang="ko-KR" altLang="en-US" sz="10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10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 </a:t>
            </a:r>
            <a:r>
              <a:rPr lang="ko-KR" altLang="en-US" sz="10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인증</a:t>
            </a:r>
            <a:endParaRPr lang="ko-KR" altLang="en-US" sz="10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+mn-ea"/>
              <a:cs typeface="Arial"/>
            </a:endParaRPr>
          </a:p>
        </p:txBody>
      </p:sp>
      <p:cxnSp>
        <p:nvCxnSpPr>
          <p:cNvPr id="108" name="직선 연결선 107">
            <a:extLst>
              <a:ext uri="{FF2B5EF4-FFF2-40B4-BE49-F238E27FC236}">
                <a16:creationId xmlns:a16="http://schemas.microsoft.com/office/drawing/2014/main" id="{53938067-5857-44C1-8E05-1271CA37DE8D}"/>
              </a:ext>
            </a:extLst>
          </p:cNvPr>
          <p:cNvCxnSpPr>
            <a:cxnSpLocks/>
          </p:cNvCxnSpPr>
          <p:nvPr/>
        </p:nvCxnSpPr>
        <p:spPr>
          <a:xfrm>
            <a:off x="8760296" y="4509120"/>
            <a:ext cx="0" cy="198000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09" name="그래픽 108" descr="종이 클립 단색으로 채워진">
            <a:extLst>
              <a:ext uri="{FF2B5EF4-FFF2-40B4-BE49-F238E27FC236}">
                <a16:creationId xmlns:a16="http://schemas.microsoft.com/office/drawing/2014/main" id="{6480ACF2-CCFC-4C20-AD19-DC3A1A50CF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50863" y="4334576"/>
            <a:ext cx="335001" cy="335001"/>
          </a:xfrm>
          <a:prstGeom prst="rect">
            <a:avLst/>
          </a:prstGeom>
        </p:spPr>
      </p:pic>
      <p:pic>
        <p:nvPicPr>
          <p:cNvPr id="110" name="Picture 8" descr="외부 링크 ">
            <a:extLst>
              <a:ext uri="{FF2B5EF4-FFF2-40B4-BE49-F238E27FC236}">
                <a16:creationId xmlns:a16="http://schemas.microsoft.com/office/drawing/2014/main" id="{54078238-ED60-473A-9AE2-1417EB035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518611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8" descr="외부 링크 ">
            <a:extLst>
              <a:ext uri="{FF2B5EF4-FFF2-40B4-BE49-F238E27FC236}">
                <a16:creationId xmlns:a16="http://schemas.microsoft.com/office/drawing/2014/main" id="{84A8109B-227B-4AAF-8FD8-B3016F35C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542782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8" descr="외부 링크 ">
            <a:extLst>
              <a:ext uri="{FF2B5EF4-FFF2-40B4-BE49-F238E27FC236}">
                <a16:creationId xmlns:a16="http://schemas.microsoft.com/office/drawing/2014/main" id="{6EACFF78-A063-4680-8893-41769EFF6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6394642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8" descr="외부 링크 ">
            <a:extLst>
              <a:ext uri="{FF2B5EF4-FFF2-40B4-BE49-F238E27FC236}">
                <a16:creationId xmlns:a16="http://schemas.microsoft.com/office/drawing/2014/main" id="{B7B4B17A-1AD9-4A92-8230-5552F603F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615293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8" descr="외부 링크 ">
            <a:extLst>
              <a:ext uri="{FF2B5EF4-FFF2-40B4-BE49-F238E27FC236}">
                <a16:creationId xmlns:a16="http://schemas.microsoft.com/office/drawing/2014/main" id="{DB197CA8-6F2D-4BC1-8209-89C8366F1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591123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8" descr="외부 링크 ">
            <a:extLst>
              <a:ext uri="{FF2B5EF4-FFF2-40B4-BE49-F238E27FC236}">
                <a16:creationId xmlns:a16="http://schemas.microsoft.com/office/drawing/2014/main" id="{90C6A0A2-FEF5-4E45-8387-0BE82AC05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411" y="566952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8" descr="외부 링크 ">
            <a:extLst>
              <a:ext uri="{FF2B5EF4-FFF2-40B4-BE49-F238E27FC236}">
                <a16:creationId xmlns:a16="http://schemas.microsoft.com/office/drawing/2014/main" id="{BCA91B64-081F-40EE-824F-2C1083A4C4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249" y="518611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8" descr="외부 링크 ">
            <a:extLst>
              <a:ext uri="{FF2B5EF4-FFF2-40B4-BE49-F238E27FC236}">
                <a16:creationId xmlns:a16="http://schemas.microsoft.com/office/drawing/2014/main" id="{B47E4CFD-F8B7-4871-B565-BDEE30AB3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249" y="5427820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8" descr="외부 링크 ">
            <a:extLst>
              <a:ext uri="{FF2B5EF4-FFF2-40B4-BE49-F238E27FC236}">
                <a16:creationId xmlns:a16="http://schemas.microsoft.com/office/drawing/2014/main" id="{069597A8-D254-4744-AF2D-D3AE25A8A7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249" y="5669525"/>
            <a:ext cx="105647" cy="1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그룹 118">
            <a:extLst>
              <a:ext uri="{FF2B5EF4-FFF2-40B4-BE49-F238E27FC236}">
                <a16:creationId xmlns:a16="http://schemas.microsoft.com/office/drawing/2014/main" id="{204D9AE0-638B-4A9B-8A5B-4D0FB8C0886A}"/>
              </a:ext>
            </a:extLst>
          </p:cNvPr>
          <p:cNvGrpSpPr/>
          <p:nvPr/>
        </p:nvGrpSpPr>
        <p:grpSpPr>
          <a:xfrm>
            <a:off x="2999656" y="5186115"/>
            <a:ext cx="105647" cy="353460"/>
            <a:chOff x="8253649" y="3768999"/>
            <a:chExt cx="105647" cy="353460"/>
          </a:xfrm>
        </p:grpSpPr>
        <p:pic>
          <p:nvPicPr>
            <p:cNvPr id="120" name="Picture 8" descr="외부 링크 ">
              <a:extLst>
                <a:ext uri="{FF2B5EF4-FFF2-40B4-BE49-F238E27FC236}">
                  <a16:creationId xmlns:a16="http://schemas.microsoft.com/office/drawing/2014/main" id="{A782F7D2-260C-4B98-985C-B45F563851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3649" y="3768999"/>
              <a:ext cx="105647" cy="111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1" name="Picture 8" descr="외부 링크 ">
              <a:extLst>
                <a:ext uri="{FF2B5EF4-FFF2-40B4-BE49-F238E27FC236}">
                  <a16:creationId xmlns:a16="http://schemas.microsoft.com/office/drawing/2014/main" id="{9E8D5300-5388-4B3E-AD8C-827CD30307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3649" y="4010704"/>
              <a:ext cx="105647" cy="111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96D25526-7026-4A62-832A-A06CD58B4A28}"/>
              </a:ext>
            </a:extLst>
          </p:cNvPr>
          <p:cNvSpPr/>
          <p:nvPr/>
        </p:nvSpPr>
        <p:spPr>
          <a:xfrm>
            <a:off x="3070718" y="51095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Google Shape;3055;p417">
            <a:extLst>
              <a:ext uri="{FF2B5EF4-FFF2-40B4-BE49-F238E27FC236}">
                <a16:creationId xmlns:a16="http://schemas.microsoft.com/office/drawing/2014/main" id="{A4B78230-8C9B-4F98-B6ED-8708669BB2C0}"/>
              </a:ext>
            </a:extLst>
          </p:cNvPr>
          <p:cNvSpPr txBox="1"/>
          <p:nvPr/>
        </p:nvSpPr>
        <p:spPr>
          <a:xfrm>
            <a:off x="1499359" y="4435205"/>
            <a:ext cx="1980000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2437985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전사 경영 활동에의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핵심요소 내재화를 위해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, 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경영 전략 및 이를 실행하기 위한 경영 체계 수립이 선행되어야 합니다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.</a:t>
            </a:r>
          </a:p>
        </p:txBody>
      </p:sp>
      <p:sp>
        <p:nvSpPr>
          <p:cNvPr id="124" name="Google Shape;3055;p417">
            <a:extLst>
              <a:ext uri="{FF2B5EF4-FFF2-40B4-BE49-F238E27FC236}">
                <a16:creationId xmlns:a16="http://schemas.microsoft.com/office/drawing/2014/main" id="{5679A0E3-FDCA-4FA5-9D4E-4DE3C42DCEC8}"/>
              </a:ext>
            </a:extLst>
          </p:cNvPr>
          <p:cNvSpPr txBox="1"/>
          <p:nvPr/>
        </p:nvSpPr>
        <p:spPr>
          <a:xfrm>
            <a:off x="4151784" y="4435205"/>
            <a:ext cx="1980000" cy="67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2437985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SG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경영 과제의 이행을 위해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각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과제별로 정책 및 프로그램을 기획하여 운영하고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운영 현황을 모니터링하고  성과를 측정하여야 합니다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.</a:t>
            </a:r>
          </a:p>
        </p:txBody>
      </p:sp>
      <p:sp>
        <p:nvSpPr>
          <p:cNvPr id="125" name="Google Shape;3055;p417">
            <a:extLst>
              <a:ext uri="{FF2B5EF4-FFF2-40B4-BE49-F238E27FC236}">
                <a16:creationId xmlns:a16="http://schemas.microsoft.com/office/drawing/2014/main" id="{67B81270-B811-49A9-B9E1-5FC7B99A2667}"/>
              </a:ext>
            </a:extLst>
          </p:cNvPr>
          <p:cNvSpPr txBox="1"/>
          <p:nvPr/>
        </p:nvSpPr>
        <p:spPr>
          <a:xfrm>
            <a:off x="6816080" y="4435205"/>
            <a:ext cx="1980000" cy="67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defTabSz="2437985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이해관계자의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지지 및 투자를 확보하기 위해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,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 투명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정보 공시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객관적인 등급 평가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,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공시 자료의 신뢰성 확보를 위한 인증이 중요합니다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Arial"/>
              </a:rPr>
              <a:t>.</a:t>
            </a:r>
          </a:p>
        </p:txBody>
      </p:sp>
      <p:pic>
        <p:nvPicPr>
          <p:cNvPr id="126" name="그림 125">
            <a:extLst>
              <a:ext uri="{FF2B5EF4-FFF2-40B4-BE49-F238E27FC236}">
                <a16:creationId xmlns:a16="http://schemas.microsoft.com/office/drawing/2014/main" id="{AF4A3842-0E94-45FD-BA57-0557FD0634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028" y="2997262"/>
            <a:ext cx="922506" cy="1067040"/>
          </a:xfrm>
          <a:prstGeom prst="rect">
            <a:avLst/>
          </a:prstGeom>
        </p:spPr>
      </p:pic>
      <p:grpSp>
        <p:nvGrpSpPr>
          <p:cNvPr id="68" name="그룹 67">
            <a:extLst>
              <a:ext uri="{FF2B5EF4-FFF2-40B4-BE49-F238E27FC236}">
                <a16:creationId xmlns:a16="http://schemas.microsoft.com/office/drawing/2014/main" id="{8F14FF7E-3696-4DAF-993B-91431A550DEC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69" name="그림 68">
              <a:extLst>
                <a:ext uri="{FF2B5EF4-FFF2-40B4-BE49-F238E27FC236}">
                  <a16:creationId xmlns:a16="http://schemas.microsoft.com/office/drawing/2014/main" id="{6BEB49CD-436C-4C1F-89BE-9AFE42C1D3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BB38F14-1048-4F2C-9628-3D12A6697D8B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73" name="그림 72">
              <a:extLst>
                <a:ext uri="{FF2B5EF4-FFF2-40B4-BE49-F238E27FC236}">
                  <a16:creationId xmlns:a16="http://schemas.microsoft.com/office/drawing/2014/main" id="{038BB36F-97F9-4B93-9F71-CF062E84F5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C530184F-81F5-4FD7-A9AF-F413A123FBF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39C483E6-A126-478C-BDBB-F671B68E22FB}"/>
              </a:ext>
            </a:extLst>
          </p:cNvPr>
          <p:cNvSpPr/>
          <p:nvPr/>
        </p:nvSpPr>
        <p:spPr>
          <a:xfrm>
            <a:off x="5052581" y="5177864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EF8ACE45-6493-4967-ACDA-ED788CD98581}"/>
              </a:ext>
            </a:extLst>
          </p:cNvPr>
          <p:cNvSpPr/>
          <p:nvPr/>
        </p:nvSpPr>
        <p:spPr>
          <a:xfrm>
            <a:off x="5048079" y="5423486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6B7B1E83-808D-4574-AA9D-44CDACF0D3C4}"/>
              </a:ext>
            </a:extLst>
          </p:cNvPr>
          <p:cNvSpPr/>
          <p:nvPr/>
        </p:nvSpPr>
        <p:spPr>
          <a:xfrm>
            <a:off x="5287393" y="5657345"/>
            <a:ext cx="258676" cy="151268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A8803F6F-ACF0-489E-A7AD-0C054ECA1010}"/>
              </a:ext>
            </a:extLst>
          </p:cNvPr>
          <p:cNvSpPr/>
          <p:nvPr/>
        </p:nvSpPr>
        <p:spPr>
          <a:xfrm>
            <a:off x="8972055" y="-1686"/>
            <a:ext cx="3218221" cy="17024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25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가진단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가이드 전체 반영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환경과제 이행 → 환경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회 과제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행 → 사회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거버넌스 과제 → 거버넌스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29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PwC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800" dirty="0">
                <a:solidFill>
                  <a:schemeClr val="tx1"/>
                </a:solidFill>
              </a:rPr>
              <a:t>「삼일</a:t>
            </a:r>
            <a:r>
              <a:rPr lang="en-US" altLang="ko-KR" sz="800" dirty="0">
                <a:solidFill>
                  <a:schemeClr val="tx1"/>
                </a:solidFill>
              </a:rPr>
              <a:t> ESG</a:t>
            </a:r>
            <a:r>
              <a:rPr lang="ko-KR" altLang="en-US" sz="800" dirty="0">
                <a:solidFill>
                  <a:schemeClr val="tx1"/>
                </a:solidFill>
              </a:rPr>
              <a:t>」</a:t>
            </a:r>
            <a:endParaRPr lang="en-US" altLang="ko-KR" sz="800" dirty="0">
              <a:solidFill>
                <a:schemeClr val="tx1"/>
              </a:solidFill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시스템 구축 및 운영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시스템 운영</a:t>
            </a:r>
            <a:endParaRPr lang="ko-KR" altLang="en-US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평가 및 인증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인증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워딩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평가 대응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 ESG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평가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Wingdings" panose="05000000000000000000" pitchFamily="2" charset="2"/>
              </a:rPr>
              <a:t> </a:t>
            </a:r>
            <a:endParaRPr lang="ko-KR" altLang="en-US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Wingdings" panose="05000000000000000000" pitchFamily="2" charset="2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9DAC39CF-22D4-4DC8-B334-30B4F00182C4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B6EA205-9592-47C7-9D58-85E82C7B8E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741839" y="2006106"/>
            <a:ext cx="2057578" cy="435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9636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348843BA-752B-4CB3-BD6C-BC371E256109}"/>
              </a:ext>
            </a:extLst>
          </p:cNvPr>
          <p:cNvSpPr/>
          <p:nvPr/>
        </p:nvSpPr>
        <p:spPr>
          <a:xfrm>
            <a:off x="200616" y="3833976"/>
            <a:ext cx="6032544" cy="1440160"/>
          </a:xfrm>
          <a:prstGeom prst="rect">
            <a:avLst/>
          </a:prstGeom>
          <a:solidFill>
            <a:schemeClr val="bg1"/>
          </a:solidFill>
          <a:ln w="9525">
            <a:solidFill>
              <a:srgbClr val="C7C7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pic>
        <p:nvPicPr>
          <p:cNvPr id="2" name="그림 1">
            <a:extLst>
              <a:ext uri="{FF2B5EF4-FFF2-40B4-BE49-F238E27FC236}">
                <a16:creationId xmlns:a16="http://schemas.microsoft.com/office/drawing/2014/main" id="{85F50ED2-90E0-46C9-AD33-30B680C308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r="2419" b="40555"/>
          <a:stretch/>
        </p:blipFill>
        <p:spPr>
          <a:xfrm>
            <a:off x="195536" y="620688"/>
            <a:ext cx="6049544" cy="355885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08B65E15-1F01-446D-ACCE-C9CCB46ECD91}"/>
              </a:ext>
            </a:extLst>
          </p:cNvPr>
          <p:cNvSpPr txBox="1"/>
          <p:nvPr/>
        </p:nvSpPr>
        <p:spPr>
          <a:xfrm>
            <a:off x="192456" y="275010"/>
            <a:ext cx="4392488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200" b="1" dirty="0">
                <a:solidFill>
                  <a:schemeClr val="tx1"/>
                </a:solidFill>
                <a:latin typeface="+mn-ea"/>
              </a:rPr>
              <a:t>경영 활동 가이드 화면 개요</a:t>
            </a:r>
            <a:endParaRPr lang="en-US" altLang="ko-KR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F410330-8F92-43D3-9681-1151988EDBE5}"/>
              </a:ext>
            </a:extLst>
          </p:cNvPr>
          <p:cNvSpPr/>
          <p:nvPr/>
        </p:nvSpPr>
        <p:spPr>
          <a:xfrm>
            <a:off x="263353" y="1859106"/>
            <a:ext cx="5832648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E30A256C-AFD3-4AE6-9522-B88A0D8F98F3}"/>
              </a:ext>
            </a:extLst>
          </p:cNvPr>
          <p:cNvSpPr/>
          <p:nvPr/>
        </p:nvSpPr>
        <p:spPr>
          <a:xfrm>
            <a:off x="2639616" y="1844215"/>
            <a:ext cx="936104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79543CB8-9C24-466B-A2F3-F7D2AAC859F8}"/>
              </a:ext>
            </a:extLst>
          </p:cNvPr>
          <p:cNvSpPr/>
          <p:nvPr/>
        </p:nvSpPr>
        <p:spPr>
          <a:xfrm>
            <a:off x="4367808" y="3363482"/>
            <a:ext cx="1656184" cy="223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8B59FC0-84F3-403C-8656-531CCE2EBCA3}"/>
              </a:ext>
            </a:extLst>
          </p:cNvPr>
          <p:cNvSpPr/>
          <p:nvPr/>
        </p:nvSpPr>
        <p:spPr>
          <a:xfrm>
            <a:off x="5242560" y="2914074"/>
            <a:ext cx="674190" cy="139976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DCF38758-A37F-47F6-B02B-0321C2FE00D5}"/>
              </a:ext>
            </a:extLst>
          </p:cNvPr>
          <p:cNvSpPr/>
          <p:nvPr/>
        </p:nvSpPr>
        <p:spPr>
          <a:xfrm>
            <a:off x="5242560" y="3217147"/>
            <a:ext cx="674190" cy="139976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265CA59-C504-4BDA-9825-23DEF9F51F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751" y="4206561"/>
            <a:ext cx="5758181" cy="1022639"/>
          </a:xfrm>
          <a:prstGeom prst="rect">
            <a:avLst/>
          </a:prstGeom>
        </p:spPr>
      </p:pic>
      <p:pic>
        <p:nvPicPr>
          <p:cNvPr id="43" name="그림 42">
            <a:extLst>
              <a:ext uri="{FF2B5EF4-FFF2-40B4-BE49-F238E27FC236}">
                <a16:creationId xmlns:a16="http://schemas.microsoft.com/office/drawing/2014/main" id="{7C1AEFF0-5793-424D-865E-E20079E2E6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3468" r="2419" b="71"/>
          <a:stretch/>
        </p:blipFill>
        <p:spPr>
          <a:xfrm>
            <a:off x="195536" y="5229200"/>
            <a:ext cx="6049544" cy="158417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22F86061-98F2-4CF8-9694-2568DAA4C2A4}"/>
              </a:ext>
            </a:extLst>
          </p:cNvPr>
          <p:cNvSpPr/>
          <p:nvPr/>
        </p:nvSpPr>
        <p:spPr>
          <a:xfrm>
            <a:off x="3576832" y="5603718"/>
            <a:ext cx="2016224" cy="720080"/>
          </a:xfrm>
          <a:prstGeom prst="rect">
            <a:avLst/>
          </a:prstGeom>
          <a:solidFill>
            <a:schemeClr val="bg1">
              <a:lumMod val="50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b="1" dirty="0">
                <a:solidFill>
                  <a:schemeClr val="tx1"/>
                </a:solidFill>
              </a:rPr>
              <a:t>삭제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04757D5C-D1E0-46DD-A11B-7BE355083D27}"/>
              </a:ext>
            </a:extLst>
          </p:cNvPr>
          <p:cNvSpPr/>
          <p:nvPr/>
        </p:nvSpPr>
        <p:spPr>
          <a:xfrm>
            <a:off x="489244" y="6296775"/>
            <a:ext cx="2333204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</p:spTree>
    <p:extLst>
      <p:ext uri="{BB962C8B-B14F-4D97-AF65-F5344CB8AC3E}">
        <p14:creationId xmlns:p14="http://schemas.microsoft.com/office/powerpoint/2010/main" val="156881712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직사각형 52">
            <a:extLst>
              <a:ext uri="{FF2B5EF4-FFF2-40B4-BE49-F238E27FC236}">
                <a16:creationId xmlns:a16="http://schemas.microsoft.com/office/drawing/2014/main" id="{B684E7FA-FE5F-4A71-9300-F1D697B583A4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계획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전략 수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itle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별 고정 설명 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의 탭 이동과 무관하게 내용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004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현재 화면명과 동일한 목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현재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하여 탭 간 이동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ED114411-4420-43E4-959D-2F146D520E06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9A25D588-F7AB-4309-B26A-CBA6E09BD7E4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07A6C9E9-0611-46F1-9805-F7D83761920E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3" name="사각형: 둥근 위쪽 모서리 2">
              <a:extLst>
                <a:ext uri="{FF2B5EF4-FFF2-40B4-BE49-F238E27FC236}">
                  <a16:creationId xmlns:a16="http://schemas.microsoft.com/office/drawing/2014/main" id="{10E82A3C-390A-4818-BFCF-F4AC1947CEAF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65" name="사각형: 둥근 위쪽 모서리 64">
              <a:extLst>
                <a:ext uri="{FF2B5EF4-FFF2-40B4-BE49-F238E27FC236}">
                  <a16:creationId xmlns:a16="http://schemas.microsoft.com/office/drawing/2014/main" id="{AAE5B265-444D-4775-96AD-9FFCAC81869C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2888353-667D-485A-802C-D8BB8B692A92}"/>
              </a:ext>
            </a:extLst>
          </p:cNvPr>
          <p:cNvSpPr/>
          <p:nvPr/>
        </p:nvSpPr>
        <p:spPr>
          <a:xfrm>
            <a:off x="479425" y="3565176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356AD6CA-B8A7-4E7F-95B1-F9EAA933F62E}"/>
              </a:ext>
            </a:extLst>
          </p:cNvPr>
          <p:cNvSpPr/>
          <p:nvPr/>
        </p:nvSpPr>
        <p:spPr>
          <a:xfrm>
            <a:off x="550863" y="3866899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전사 비전</a:t>
            </a:r>
            <a:b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수립</a:t>
            </a: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66766D9B-049C-4004-B8F3-CE66D35AC1E1}"/>
              </a:ext>
            </a:extLst>
          </p:cNvPr>
          <p:cNvSpPr/>
          <p:nvPr/>
        </p:nvSpPr>
        <p:spPr>
          <a:xfrm>
            <a:off x="550863" y="4541619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중장기 목표 수립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94C5CA55-A86D-4C89-B825-0CBE9F2CB129}"/>
              </a:ext>
            </a:extLst>
          </p:cNvPr>
          <p:cNvSpPr/>
          <p:nvPr/>
        </p:nvSpPr>
        <p:spPr>
          <a:xfrm>
            <a:off x="550863" y="5222803"/>
            <a:ext cx="1225713" cy="968265"/>
          </a:xfrm>
          <a:prstGeom prst="roundRect">
            <a:avLst>
              <a:gd name="adj" fmla="val 838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실행과제 및 계획 수립</a:t>
            </a: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0875A8C5-D87D-449D-ADDA-74B5A2E79E5B}"/>
              </a:ext>
            </a:extLst>
          </p:cNvPr>
          <p:cNvSpPr/>
          <p:nvPr/>
        </p:nvSpPr>
        <p:spPr>
          <a:xfrm>
            <a:off x="1832069" y="3869069"/>
            <a:ext cx="6820706" cy="526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 환경경영과 사회적 책임경영을 실현하기 위한 전략적 방향성과 비전 수립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7A9356BB-1D31-4FE5-BF55-BDA98969CC73}"/>
              </a:ext>
            </a:extLst>
          </p:cNvPr>
          <p:cNvSpPr/>
          <p:nvPr/>
        </p:nvSpPr>
        <p:spPr>
          <a:xfrm>
            <a:off x="1832069" y="4543789"/>
            <a:ext cx="6820706" cy="539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책임과 성과에 대한 중장기 단계별 목표 및 경영계획 수립</a:t>
            </a: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2E064351-ED8D-4DEE-8462-A1D1CE42E794}"/>
              </a:ext>
            </a:extLst>
          </p:cNvPr>
          <p:cNvSpPr/>
          <p:nvPr/>
        </p:nvSpPr>
        <p:spPr>
          <a:xfrm>
            <a:off x="1832069" y="5247127"/>
            <a:ext cx="6820706" cy="920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기업의 핵심 사업 및 활동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제품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서비스의 성격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규모 등의 내부 환경과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제도적 규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산업 동향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에 의한 영향 등의 외부 환경을 고려하여 기업이 직면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기회와 위험 요인을 </a:t>
            </a:r>
            <a:r>
              <a:rPr lang="ko-KR" altLang="en-US" sz="900" dirty="0" err="1">
                <a:solidFill>
                  <a:schemeClr val="tx1"/>
                </a:solidFill>
              </a:rPr>
              <a:t>분석∙식별</a:t>
            </a:r>
            <a:endParaRPr lang="ko-KR" altLang="en-US" sz="9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영향도와 시급성이 높은 주요 이슈를 선정하여 실행과제 정의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실행과제를 이행하기 위한 구체적인 이행계획을 단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중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장기로 구분하여 수립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5B4D095-22DA-4302-8C0C-153F7F3AA653}"/>
              </a:ext>
            </a:extLst>
          </p:cNvPr>
          <p:cNvSpPr/>
          <p:nvPr/>
        </p:nvSpPr>
        <p:spPr>
          <a:xfrm>
            <a:off x="550863" y="3052918"/>
            <a:ext cx="8208962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전략 수립은 내</a:t>
            </a:r>
            <a:r>
              <a:rPr lang="en-US" altLang="ko-KR" sz="900" dirty="0">
                <a:solidFill>
                  <a:schemeClr val="tx1"/>
                </a:solidFill>
              </a:rPr>
              <a:t>·</a:t>
            </a:r>
            <a:r>
              <a:rPr lang="ko-KR" altLang="en-US" sz="900" dirty="0">
                <a:solidFill>
                  <a:schemeClr val="tx1"/>
                </a:solidFill>
              </a:rPr>
              <a:t>외부 환경분석을 통해 기업의 전략적 방향성과 핵심 가치체계를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점에서 재정립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를 반영하여 비즈니스 전략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목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실행과제를 수립하는 단계입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A6E0E8C7-75CA-483C-8AEA-2E8848C1F6F2}"/>
              </a:ext>
            </a:extLst>
          </p:cNvPr>
          <p:cNvCxnSpPr/>
          <p:nvPr/>
        </p:nvCxnSpPr>
        <p:spPr>
          <a:xfrm>
            <a:off x="498469" y="4456205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EC51447C-39D6-4AEC-B9C3-CDF665BFA61F}"/>
              </a:ext>
            </a:extLst>
          </p:cNvPr>
          <p:cNvCxnSpPr/>
          <p:nvPr/>
        </p:nvCxnSpPr>
        <p:spPr>
          <a:xfrm>
            <a:off x="498469" y="5143467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337E148B-49E6-4520-B5E7-CF992FCB31AD}"/>
              </a:ext>
            </a:extLst>
          </p:cNvPr>
          <p:cNvSpPr/>
          <p:nvPr/>
        </p:nvSpPr>
        <p:spPr>
          <a:xfrm>
            <a:off x="263361" y="19240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2D44111F-F5F2-423E-9040-E8A850F8D816}"/>
              </a:ext>
            </a:extLst>
          </p:cNvPr>
          <p:cNvSpPr/>
          <p:nvPr/>
        </p:nvSpPr>
        <p:spPr>
          <a:xfrm>
            <a:off x="263361" y="24868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EC3BC06-490C-4E64-B37F-A55D0B447EE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789531DA-1A95-40F2-85A7-83C831328D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FC034C08-04A2-4A1A-A5CF-A23E737ACD5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B6FE5B43-788E-4590-A525-94D6F8F45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552BFA2-4DA0-487F-8897-D6413E20EA3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AD29F0D4-FD57-4A43-B10E-80A77CCF4E65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42E256C5-2180-4880-99BA-7BDF55F4D83F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BF22DBE-2984-4A11-B6E5-FDB8AF4ABB03}"/>
              </a:ext>
            </a:extLst>
          </p:cNvPr>
          <p:cNvSpPr/>
          <p:nvPr/>
        </p:nvSpPr>
        <p:spPr>
          <a:xfrm>
            <a:off x="486469" y="3570331"/>
            <a:ext cx="1008633" cy="240456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실행 과제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3DE82DA8-312A-47D6-A847-0D31A424147B}"/>
              </a:ext>
            </a:extLst>
          </p:cNvPr>
          <p:cNvSpPr/>
          <p:nvPr/>
        </p:nvSpPr>
        <p:spPr>
          <a:xfrm>
            <a:off x="8972055" y="-32937"/>
            <a:ext cx="3218221" cy="517178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25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∙ </a:t>
            </a:r>
            <a:r>
              <a:rPr lang="ko-KR" altLang="en-US" sz="800" b="1" kern="0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섹션명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가이드 전체 반영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</a:t>
            </a:r>
            <a:r>
              <a: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경영활동 → 주요 실행 과제</a:t>
            </a:r>
            <a:endParaRPr lang="en-US" altLang="ko-KR" sz="800" b="1" kern="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5FB07805-841E-47BE-A6A2-601D60054414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C363BED6-1191-432B-9800-909F7CC0E355}"/>
              </a:ext>
            </a:extLst>
          </p:cNvPr>
          <p:cNvSpPr/>
          <p:nvPr/>
        </p:nvSpPr>
        <p:spPr>
          <a:xfrm>
            <a:off x="2097493" y="1557268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AD42DD5-0826-4113-85F6-4C580B9BA5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63057" y="2184513"/>
            <a:ext cx="2035746" cy="4219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234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891148"/>
              </p:ext>
            </p:extLst>
          </p:nvPr>
        </p:nvGraphicFramePr>
        <p:xfrm>
          <a:off x="342860" y="871487"/>
          <a:ext cx="11513780" cy="55338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3266779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04056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323641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308278">
                <a:tc rowSpan="1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 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(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전략 수립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 컨텐츠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 형태로 구성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Default =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수립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931517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계획 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(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-1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체계 수립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 형태로 구성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020924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</a:p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(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과제이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740049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 과제이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4443403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 과제이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573686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 금융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08623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향평가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71008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제 이행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스템 운영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952685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55101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계획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평가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13087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증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1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 활동 가이드 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ESG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∙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(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부업무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요역량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식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천컨텐츠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기술한 화면 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 F/W </a:t>
                      </a:r>
                      <a:r>
                        <a:rPr lang="ko-KR" altLang="en-US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에 따라 변경 가능</a:t>
                      </a:r>
                      <a:r>
                        <a:rPr lang="en-US" altLang="ko-KR" sz="8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20066"/>
                  </a:ext>
                </a:extLst>
              </a:tr>
              <a:tr h="308278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nvirionment</a:t>
                      </a:r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환경</a:t>
                      </a:r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1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nvironment(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1691530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ocial (</a:t>
                      </a:r>
                      <a:r>
                        <a:rPr lang="ko-KR" alt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회</a:t>
                      </a:r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2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0" hangingPunct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ocial(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913067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overnance (</a:t>
                      </a:r>
                      <a:r>
                        <a:rPr lang="ko-KR" alt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버넌스</a:t>
                      </a:r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overnance (</a:t>
                      </a:r>
                      <a:r>
                        <a:rPr lang="ko-KR" alt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버넌스</a:t>
                      </a:r>
                      <a:r>
                        <a:rPr lang="en-US" altLang="ko-KR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335973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inance (</a:t>
                      </a:r>
                      <a:r>
                        <a:rPr lang="ko-KR" alt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</a:t>
                      </a:r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4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inance (</a:t>
                      </a:r>
                      <a:r>
                        <a:rPr lang="ko-KR" alt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융</a:t>
                      </a:r>
                      <a:r>
                        <a:rPr lang="en-US" altLang="ko-KR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08144"/>
                  </a:ext>
                </a:extLst>
              </a:tr>
              <a:tr h="30827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Tax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5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Tax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606493"/>
                  </a:ext>
                </a:extLst>
              </a:tr>
              <a:tr h="27776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Deal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spc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00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Deal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외부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료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등을 주제별로 분류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약해서 보여주는 화면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Topic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화면 구성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 주제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406827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BBDEFD6-D5CA-40A9-A7FD-0981AD49B33A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3/6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28746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직사각형 92">
            <a:extLst>
              <a:ext uri="{FF2B5EF4-FFF2-40B4-BE49-F238E27FC236}">
                <a16:creationId xmlns:a16="http://schemas.microsoft.com/office/drawing/2014/main" id="{59B38AD5-8792-4AC5-A001-3EE89A2FAEE4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2F05DFE9-5326-4719-B339-60098CB24FF8}"/>
              </a:ext>
            </a:extLst>
          </p:cNvPr>
          <p:cNvGrpSpPr/>
          <p:nvPr/>
        </p:nvGrpSpPr>
        <p:grpSpPr>
          <a:xfrm>
            <a:off x="550865" y="3737452"/>
            <a:ext cx="8212843" cy="1450404"/>
            <a:chOff x="550865" y="3737452"/>
            <a:chExt cx="8212843" cy="1450404"/>
          </a:xfrm>
        </p:grpSpPr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91DF0B29-8439-4323-9D71-1C5E7DEA3A07}"/>
                </a:ext>
              </a:extLst>
            </p:cNvPr>
            <p:cNvSpPr/>
            <p:nvPr/>
          </p:nvSpPr>
          <p:spPr>
            <a:xfrm>
              <a:off x="550865" y="3740185"/>
              <a:ext cx="8212842" cy="144767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endParaRPr lang="ko-KR" alt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35" name="직사각형 134">
              <a:extLst>
                <a:ext uri="{FF2B5EF4-FFF2-40B4-BE49-F238E27FC236}">
                  <a16:creationId xmlns:a16="http://schemas.microsoft.com/office/drawing/2014/main" id="{1C3907F1-CB33-4A41-8F63-52364EEBE82B}"/>
                </a:ext>
              </a:extLst>
            </p:cNvPr>
            <p:cNvSpPr/>
            <p:nvPr/>
          </p:nvSpPr>
          <p:spPr>
            <a:xfrm>
              <a:off x="8611368" y="3737452"/>
              <a:ext cx="152340" cy="14504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ko-KR" altLang="en-US" sz="900" b="1" dirty="0">
                  <a:solidFill>
                    <a:schemeClr val="tx1"/>
                  </a:solidFill>
                </a:rPr>
                <a:t>▶</a:t>
              </a:r>
            </a:p>
          </p:txBody>
        </p:sp>
        <p:pic>
          <p:nvPicPr>
            <p:cNvPr id="154" name="Picture 2" descr="자연 사진, 5,726,000개 이상의 고품질 무료 스톡 사진">
              <a:extLst>
                <a:ext uri="{FF2B5EF4-FFF2-40B4-BE49-F238E27FC236}">
                  <a16:creationId xmlns:a16="http://schemas.microsoft.com/office/drawing/2014/main" id="{389DC18D-BBC1-4974-8C62-22020315FD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74" b="8576"/>
            <a:stretch/>
          </p:blipFill>
          <p:spPr bwMode="auto">
            <a:xfrm>
              <a:off x="983119" y="3824015"/>
              <a:ext cx="1510563" cy="8167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5" name="사각형: 둥근 모서리 154">
              <a:extLst>
                <a:ext uri="{FF2B5EF4-FFF2-40B4-BE49-F238E27FC236}">
                  <a16:creationId xmlns:a16="http://schemas.microsoft.com/office/drawing/2014/main" id="{3B22378A-B210-48F0-8679-24565A45B35A}"/>
                </a:ext>
              </a:extLst>
            </p:cNvPr>
            <p:cNvSpPr/>
            <p:nvPr/>
          </p:nvSpPr>
          <p:spPr>
            <a:xfrm>
              <a:off x="978065" y="4678638"/>
              <a:ext cx="480645" cy="15767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700" b="1" dirty="0">
                  <a:solidFill>
                    <a:schemeClr val="bg1">
                      <a:lumMod val="50000"/>
                    </a:schemeClr>
                  </a:solidFill>
                </a:rPr>
                <a:t>업무분류</a:t>
              </a:r>
            </a:p>
          </p:txBody>
        </p:sp>
        <p:sp>
          <p:nvSpPr>
            <p:cNvPr id="156" name="사각형: 둥근 모서리 155">
              <a:extLst>
                <a:ext uri="{FF2B5EF4-FFF2-40B4-BE49-F238E27FC236}">
                  <a16:creationId xmlns:a16="http://schemas.microsoft.com/office/drawing/2014/main" id="{685BF48A-398A-4904-8003-F55344E70F87}"/>
                </a:ext>
              </a:extLst>
            </p:cNvPr>
            <p:cNvSpPr/>
            <p:nvPr/>
          </p:nvSpPr>
          <p:spPr>
            <a:xfrm>
              <a:off x="1495551" y="4678638"/>
              <a:ext cx="480645" cy="15767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700" b="1" dirty="0">
                  <a:solidFill>
                    <a:schemeClr val="bg1">
                      <a:lumMod val="50000"/>
                    </a:schemeClr>
                  </a:solidFill>
                </a:rPr>
                <a:t>주제분류</a:t>
              </a:r>
            </a:p>
          </p:txBody>
        </p:sp>
        <p:sp>
          <p:nvSpPr>
            <p:cNvPr id="157" name="사각형: 둥근 모서리 156">
              <a:extLst>
                <a:ext uri="{FF2B5EF4-FFF2-40B4-BE49-F238E27FC236}">
                  <a16:creationId xmlns:a16="http://schemas.microsoft.com/office/drawing/2014/main" id="{13315276-6B3E-414B-95E6-1037B0196594}"/>
                </a:ext>
              </a:extLst>
            </p:cNvPr>
            <p:cNvSpPr/>
            <p:nvPr/>
          </p:nvSpPr>
          <p:spPr>
            <a:xfrm>
              <a:off x="2013037" y="4678638"/>
              <a:ext cx="480645" cy="15767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/>
            <a:lstStyle/>
            <a:p>
              <a:pPr algn="ctr"/>
              <a:r>
                <a:rPr lang="ko-KR" altLang="en-US" sz="700" b="1" dirty="0" err="1">
                  <a:solidFill>
                    <a:schemeClr val="bg1">
                      <a:lumMod val="50000"/>
                    </a:schemeClr>
                  </a:solidFill>
                </a:rPr>
                <a:t>토픽키워드</a:t>
              </a:r>
              <a:endParaRPr lang="ko-KR" altLang="en-US" sz="7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59" name="직사각형 158">
              <a:extLst>
                <a:ext uri="{FF2B5EF4-FFF2-40B4-BE49-F238E27FC236}">
                  <a16:creationId xmlns:a16="http://schemas.microsoft.com/office/drawing/2014/main" id="{D3D4BAEC-0AEC-4932-9475-6E62CD66BF13}"/>
                </a:ext>
              </a:extLst>
            </p:cNvPr>
            <p:cNvSpPr/>
            <p:nvPr/>
          </p:nvSpPr>
          <p:spPr>
            <a:xfrm>
              <a:off x="982626" y="4869160"/>
              <a:ext cx="312480" cy="16838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ko-KR" altLang="en-US" sz="500" b="1" dirty="0"/>
                <a:t>컨텐츠 종류</a:t>
              </a:r>
            </a:p>
          </p:txBody>
        </p:sp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056A60F3-F5CF-4B16-9AFA-F653068D139C}"/>
                </a:ext>
              </a:extLst>
            </p:cNvPr>
            <p:cNvSpPr/>
            <p:nvPr/>
          </p:nvSpPr>
          <p:spPr>
            <a:xfrm>
              <a:off x="1301634" y="4869160"/>
              <a:ext cx="1193966" cy="2919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ko-KR" altLang="en-US" sz="800" b="1" dirty="0">
                  <a:solidFill>
                    <a:schemeClr val="tx1"/>
                  </a:solidFill>
                </a:rPr>
                <a:t>제목</a:t>
              </a:r>
              <a:endParaRPr lang="en-US" altLang="ko-KR" sz="800" b="1" dirty="0">
                <a:solidFill>
                  <a:schemeClr val="tx1"/>
                </a:solidFill>
              </a:endParaRPr>
            </a:p>
            <a:p>
              <a:endParaRPr lang="ko-KR" altLang="en-US" sz="800" b="1" dirty="0">
                <a:solidFill>
                  <a:schemeClr val="tx1"/>
                </a:solidFill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346E8AAE-C4B1-4FE9-8147-522CCC924872}"/>
                </a:ext>
              </a:extLst>
            </p:cNvPr>
            <p:cNvGrpSpPr/>
            <p:nvPr/>
          </p:nvGrpSpPr>
          <p:grpSpPr>
            <a:xfrm>
              <a:off x="2930913" y="3824015"/>
              <a:ext cx="1517535" cy="1337124"/>
              <a:chOff x="2403032" y="3824015"/>
              <a:chExt cx="1517535" cy="1337124"/>
            </a:xfrm>
          </p:grpSpPr>
          <p:sp>
            <p:nvSpPr>
              <p:cNvPr id="162" name="사각형: 둥근 모서리 161">
                <a:extLst>
                  <a:ext uri="{FF2B5EF4-FFF2-40B4-BE49-F238E27FC236}">
                    <a16:creationId xmlns:a16="http://schemas.microsoft.com/office/drawing/2014/main" id="{292E23F2-94CC-4629-A2D1-2613B8AFC68C}"/>
                  </a:ext>
                </a:extLst>
              </p:cNvPr>
              <p:cNvSpPr/>
              <p:nvPr/>
            </p:nvSpPr>
            <p:spPr>
              <a:xfrm>
                <a:off x="2403032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경영</a:t>
                </a:r>
              </a:p>
            </p:txBody>
          </p:sp>
          <p:sp>
            <p:nvSpPr>
              <p:cNvPr id="163" name="사각형: 둥근 모서리 162">
                <a:extLst>
                  <a:ext uri="{FF2B5EF4-FFF2-40B4-BE49-F238E27FC236}">
                    <a16:creationId xmlns:a16="http://schemas.microsoft.com/office/drawing/2014/main" id="{0920E7C5-9A11-4EF5-92F9-E2AC43221004}"/>
                  </a:ext>
                </a:extLst>
              </p:cNvPr>
              <p:cNvSpPr/>
              <p:nvPr/>
            </p:nvSpPr>
            <p:spPr>
              <a:xfrm>
                <a:off x="2920518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금융</a:t>
                </a:r>
              </a:p>
            </p:txBody>
          </p:sp>
          <p:sp>
            <p:nvSpPr>
              <p:cNvPr id="164" name="사각형: 둥근 모서리 163">
                <a:extLst>
                  <a:ext uri="{FF2B5EF4-FFF2-40B4-BE49-F238E27FC236}">
                    <a16:creationId xmlns:a16="http://schemas.microsoft.com/office/drawing/2014/main" id="{107414A7-B3A6-42CC-AC0C-31E1549173CA}"/>
                  </a:ext>
                </a:extLst>
              </p:cNvPr>
              <p:cNvSpPr/>
              <p:nvPr/>
            </p:nvSpPr>
            <p:spPr>
              <a:xfrm>
                <a:off x="3438004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투자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DFF15D2B-153B-4559-A180-A0C357D1896B}"/>
                  </a:ext>
                </a:extLst>
              </p:cNvPr>
              <p:cNvSpPr/>
              <p:nvPr/>
            </p:nvSpPr>
            <p:spPr>
              <a:xfrm>
                <a:off x="2407593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/>
                  <a:t>문서</a:t>
                </a: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750B416A-8B6A-4EF3-841D-0A9D40EBA9A7}"/>
                  </a:ext>
                </a:extLst>
              </p:cNvPr>
              <p:cNvSpPr/>
              <p:nvPr/>
            </p:nvSpPr>
            <p:spPr>
              <a:xfrm>
                <a:off x="2726601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ko-KR" altLang="en-US" sz="800" b="1" dirty="0">
                    <a:solidFill>
                      <a:schemeClr val="tx1"/>
                    </a:solidFill>
                  </a:rPr>
                  <a:t>금융기관에게 </a:t>
                </a:r>
                <a:r>
                  <a:rPr lang="en-US" altLang="ko-KR" sz="800" b="1" dirty="0">
                    <a:solidFill>
                      <a:schemeClr val="tx1"/>
                    </a:solidFill>
                  </a:rPr>
                  <a:t>ESG </a:t>
                </a:r>
                <a:r>
                  <a:rPr lang="ko-KR" altLang="en-US" sz="800" b="1" dirty="0">
                    <a:solidFill>
                      <a:schemeClr val="tx1"/>
                    </a:solidFill>
                  </a:rPr>
                  <a:t>경영이 갖는 </a:t>
                </a:r>
                <a:r>
                  <a:rPr lang="ko-KR" altLang="en-US" sz="800" b="1" dirty="0" err="1">
                    <a:solidFill>
                      <a:schemeClr val="tx1"/>
                    </a:solidFill>
                  </a:rPr>
                  <a:t>의미란</a:t>
                </a:r>
                <a:endParaRPr lang="ko-KR" altLang="en-US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67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<a:extLst>
                  <a:ext uri="{FF2B5EF4-FFF2-40B4-BE49-F238E27FC236}">
                    <a16:creationId xmlns:a16="http://schemas.microsoft.com/office/drawing/2014/main" id="{E1A34960-0A73-498B-873E-6CF7845C1D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1709" b="19729"/>
              <a:stretch/>
            </p:blipFill>
            <p:spPr bwMode="auto">
              <a:xfrm>
                <a:off x="2403032" y="3824015"/>
                <a:ext cx="1510563" cy="806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68" name="그룹 167">
              <a:extLst>
                <a:ext uri="{FF2B5EF4-FFF2-40B4-BE49-F238E27FC236}">
                  <a16:creationId xmlns:a16="http://schemas.microsoft.com/office/drawing/2014/main" id="{3A4F76C7-61BA-46EE-8746-13DD2117AA6E}"/>
                </a:ext>
              </a:extLst>
            </p:cNvPr>
            <p:cNvGrpSpPr/>
            <p:nvPr/>
          </p:nvGrpSpPr>
          <p:grpSpPr>
            <a:xfrm>
              <a:off x="4885679" y="3828801"/>
              <a:ext cx="1517535" cy="1337124"/>
              <a:chOff x="2403032" y="3824015"/>
              <a:chExt cx="1517535" cy="1337124"/>
            </a:xfrm>
          </p:grpSpPr>
          <p:sp>
            <p:nvSpPr>
              <p:cNvPr id="169" name="사각형: 둥근 모서리 168">
                <a:extLst>
                  <a:ext uri="{FF2B5EF4-FFF2-40B4-BE49-F238E27FC236}">
                    <a16:creationId xmlns:a16="http://schemas.microsoft.com/office/drawing/2014/main" id="{2EB29AE8-E7C6-4BC0-B1F9-DB964C4E6162}"/>
                  </a:ext>
                </a:extLst>
              </p:cNvPr>
              <p:cNvSpPr/>
              <p:nvPr/>
            </p:nvSpPr>
            <p:spPr>
              <a:xfrm>
                <a:off x="2403032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경영</a:t>
                </a:r>
              </a:p>
            </p:txBody>
          </p:sp>
          <p:sp>
            <p:nvSpPr>
              <p:cNvPr id="170" name="사각형: 둥근 모서리 169">
                <a:extLst>
                  <a:ext uri="{FF2B5EF4-FFF2-40B4-BE49-F238E27FC236}">
                    <a16:creationId xmlns:a16="http://schemas.microsoft.com/office/drawing/2014/main" id="{F0A9BDF6-3C98-4ED2-8D21-3100AEB3C810}"/>
                  </a:ext>
                </a:extLst>
              </p:cNvPr>
              <p:cNvSpPr/>
              <p:nvPr/>
            </p:nvSpPr>
            <p:spPr>
              <a:xfrm>
                <a:off x="2920518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일반</a:t>
                </a:r>
              </a:p>
            </p:txBody>
          </p:sp>
          <p:sp>
            <p:nvSpPr>
              <p:cNvPr id="172" name="직사각형 171">
                <a:extLst>
                  <a:ext uri="{FF2B5EF4-FFF2-40B4-BE49-F238E27FC236}">
                    <a16:creationId xmlns:a16="http://schemas.microsoft.com/office/drawing/2014/main" id="{809106EE-08BA-438F-8C7C-DD3DB406C768}"/>
                  </a:ext>
                </a:extLst>
              </p:cNvPr>
              <p:cNvSpPr/>
              <p:nvPr/>
            </p:nvSpPr>
            <p:spPr>
              <a:xfrm>
                <a:off x="2407593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/>
                  <a:t>문서</a:t>
                </a:r>
              </a:p>
            </p:txBody>
          </p: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316F07C5-A69A-47A7-AA0A-3DCF87B7CB59}"/>
                  </a:ext>
                </a:extLst>
              </p:cNvPr>
              <p:cNvSpPr/>
              <p:nvPr/>
            </p:nvSpPr>
            <p:spPr>
              <a:xfrm>
                <a:off x="2726601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en-US" altLang="ko-KR" sz="800" b="1" dirty="0">
                    <a:solidFill>
                      <a:schemeClr val="tx1"/>
                    </a:solidFill>
                  </a:rPr>
                  <a:t>ESG </a:t>
                </a:r>
                <a:r>
                  <a:rPr lang="ko-KR" altLang="en-US" sz="800" b="1" dirty="0">
                    <a:solidFill>
                      <a:schemeClr val="tx1"/>
                    </a:solidFill>
                  </a:rPr>
                  <a:t>경영의 개념 및 이해</a:t>
                </a:r>
                <a:endParaRPr lang="en-US" altLang="ko-KR" sz="800" b="1" dirty="0">
                  <a:solidFill>
                    <a:schemeClr val="tx1"/>
                  </a:solidFill>
                </a:endParaRPr>
              </a:p>
              <a:p>
                <a:endParaRPr lang="ko-KR" altLang="en-US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74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<a:extLst>
                  <a:ext uri="{FF2B5EF4-FFF2-40B4-BE49-F238E27FC236}">
                    <a16:creationId xmlns:a16="http://schemas.microsoft.com/office/drawing/2014/main" id="{38C5FE60-0D39-40AA-B1B1-DCBA6A7173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1709" b="19729"/>
              <a:stretch/>
            </p:blipFill>
            <p:spPr bwMode="auto">
              <a:xfrm>
                <a:off x="2403032" y="3824015"/>
                <a:ext cx="1510563" cy="806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75" name="그룹 174">
              <a:extLst>
                <a:ext uri="{FF2B5EF4-FFF2-40B4-BE49-F238E27FC236}">
                  <a16:creationId xmlns:a16="http://schemas.microsoft.com/office/drawing/2014/main" id="{4AC21F21-625E-4444-87F8-4AC0B5241D97}"/>
                </a:ext>
              </a:extLst>
            </p:cNvPr>
            <p:cNvGrpSpPr/>
            <p:nvPr/>
          </p:nvGrpSpPr>
          <p:grpSpPr>
            <a:xfrm>
              <a:off x="6840446" y="3823035"/>
              <a:ext cx="1517535" cy="1337124"/>
              <a:chOff x="2403032" y="3824015"/>
              <a:chExt cx="1517535" cy="1337124"/>
            </a:xfrm>
          </p:grpSpPr>
          <p:sp>
            <p:nvSpPr>
              <p:cNvPr id="176" name="사각형: 둥근 모서리 175">
                <a:extLst>
                  <a:ext uri="{FF2B5EF4-FFF2-40B4-BE49-F238E27FC236}">
                    <a16:creationId xmlns:a16="http://schemas.microsoft.com/office/drawing/2014/main" id="{0F402ED7-2D89-44FC-A3AD-7C99EB2052EA}"/>
                  </a:ext>
                </a:extLst>
              </p:cNvPr>
              <p:cNvSpPr/>
              <p:nvPr/>
            </p:nvSpPr>
            <p:spPr>
              <a:xfrm>
                <a:off x="2403032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경영</a:t>
                </a:r>
              </a:p>
            </p:txBody>
          </p:sp>
          <p:sp>
            <p:nvSpPr>
              <p:cNvPr id="177" name="사각형: 둥근 모서리 176">
                <a:extLst>
                  <a:ext uri="{FF2B5EF4-FFF2-40B4-BE49-F238E27FC236}">
                    <a16:creationId xmlns:a16="http://schemas.microsoft.com/office/drawing/2014/main" id="{DD67412E-9A9B-4AAC-AC82-A3A98E72303B}"/>
                  </a:ext>
                </a:extLst>
              </p:cNvPr>
              <p:cNvSpPr/>
              <p:nvPr/>
            </p:nvSpPr>
            <p:spPr>
              <a:xfrm>
                <a:off x="2920518" y="4684120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en-US" altLang="ko-KR" sz="700" b="1" dirty="0">
                    <a:solidFill>
                      <a:schemeClr val="bg1">
                        <a:lumMod val="50000"/>
                      </a:schemeClr>
                    </a:solidFill>
                  </a:rPr>
                  <a:t>ESG </a:t>
                </a:r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일반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08182A44-8128-46E9-A8F4-6345B5B6DDBA}"/>
                  </a:ext>
                </a:extLst>
              </p:cNvPr>
              <p:cNvSpPr/>
              <p:nvPr/>
            </p:nvSpPr>
            <p:spPr>
              <a:xfrm>
                <a:off x="2407593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/>
                  <a:t>영상</a:t>
                </a:r>
              </a:p>
            </p:txBody>
          </p:sp>
          <p:sp>
            <p:nvSpPr>
              <p:cNvPr id="180" name="직사각형 179">
                <a:extLst>
                  <a:ext uri="{FF2B5EF4-FFF2-40B4-BE49-F238E27FC236}">
                    <a16:creationId xmlns:a16="http://schemas.microsoft.com/office/drawing/2014/main" id="{1E29C085-AC48-42E2-90BB-0446013A1846}"/>
                  </a:ext>
                </a:extLst>
              </p:cNvPr>
              <p:cNvSpPr/>
              <p:nvPr/>
            </p:nvSpPr>
            <p:spPr>
              <a:xfrm>
                <a:off x="2726601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ko-KR" altLang="en-US" sz="800" b="1" dirty="0">
                    <a:solidFill>
                      <a:schemeClr val="tx1"/>
                    </a:solidFill>
                  </a:rPr>
                  <a:t>중소중견기업 </a:t>
                </a:r>
                <a:r>
                  <a:rPr lang="en-US" altLang="ko-KR" sz="800" b="1" dirty="0">
                    <a:solidFill>
                      <a:schemeClr val="tx1"/>
                    </a:solidFill>
                  </a:rPr>
                  <a:t>ESG </a:t>
                </a:r>
                <a:r>
                  <a:rPr lang="ko-KR" altLang="en-US" sz="800" b="1" dirty="0">
                    <a:solidFill>
                      <a:schemeClr val="tx1"/>
                    </a:solidFill>
                  </a:rPr>
                  <a:t>온라인 교육</a:t>
                </a:r>
                <a:r>
                  <a:rPr lang="en-US" altLang="ko-KR" sz="800" b="1" dirty="0">
                    <a:solidFill>
                      <a:schemeClr val="tx1"/>
                    </a:solidFill>
                  </a:rPr>
                  <a:t>: ESG</a:t>
                </a:r>
                <a:r>
                  <a:rPr lang="ko-KR" altLang="en-US" sz="800" b="1" dirty="0">
                    <a:solidFill>
                      <a:schemeClr val="tx1"/>
                    </a:solidFill>
                  </a:rPr>
                  <a:t>경영의 이해</a:t>
                </a:r>
              </a:p>
            </p:txBody>
          </p:sp>
          <p:pic>
            <p:nvPicPr>
              <p:cNvPr id="181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<a:extLst>
                  <a:ext uri="{FF2B5EF4-FFF2-40B4-BE49-F238E27FC236}">
                    <a16:creationId xmlns:a16="http://schemas.microsoft.com/office/drawing/2014/main" id="{7843F93A-35C5-4EFC-AFEF-5E7893ACCBD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1709" b="19729"/>
              <a:stretch/>
            </p:blipFill>
            <p:spPr bwMode="auto">
              <a:xfrm>
                <a:off x="2403032" y="3824015"/>
                <a:ext cx="1510563" cy="806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6CB956FC-E35E-45DC-8AD4-9183FC4ECC97}"/>
              </a:ext>
            </a:extLst>
          </p:cNvPr>
          <p:cNvSpPr/>
          <p:nvPr/>
        </p:nvSpPr>
        <p:spPr>
          <a:xfrm>
            <a:off x="550865" y="5229200"/>
            <a:ext cx="8212842" cy="1138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658F93F-2116-4FEE-8D04-6837896FD782}"/>
              </a:ext>
            </a:extLst>
          </p:cNvPr>
          <p:cNvSpPr/>
          <p:nvPr/>
        </p:nvSpPr>
        <p:spPr>
          <a:xfrm>
            <a:off x="479425" y="5271907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삼일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서비스 안내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AB309DF8-113D-4133-838C-4CB0FF152C18}"/>
              </a:ext>
            </a:extLst>
          </p:cNvPr>
          <p:cNvSpPr/>
          <p:nvPr/>
        </p:nvSpPr>
        <p:spPr>
          <a:xfrm>
            <a:off x="735379" y="5504980"/>
            <a:ext cx="3983660" cy="5057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ESG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연계 경영전략 수립 컨설팅</a:t>
            </a:r>
            <a:br>
              <a:rPr lang="en-US" altLang="ko-KR" sz="10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ESG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비전 및 전략</a:t>
            </a: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,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목표 수립 등</a:t>
            </a:r>
            <a:endParaRPr lang="en-US" altLang="ko-KR" sz="900" b="1" dirty="0">
              <a:solidFill>
                <a:prstClr val="black"/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3F36A892-7A54-437B-A35E-AEA09F611498}"/>
              </a:ext>
            </a:extLst>
          </p:cNvPr>
          <p:cNvGrpSpPr/>
          <p:nvPr/>
        </p:nvGrpSpPr>
        <p:grpSpPr>
          <a:xfrm>
            <a:off x="4898222" y="5504980"/>
            <a:ext cx="3459759" cy="808403"/>
            <a:chOff x="3738568" y="4473314"/>
            <a:chExt cx="2758118" cy="808403"/>
          </a:xfrm>
        </p:grpSpPr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ADE6D878-C432-4C27-896F-F966F6CAB10B}"/>
                </a:ext>
              </a:extLst>
            </p:cNvPr>
            <p:cNvGrpSpPr/>
            <p:nvPr/>
          </p:nvGrpSpPr>
          <p:grpSpPr>
            <a:xfrm>
              <a:off x="3738568" y="4473314"/>
              <a:ext cx="2758118" cy="808403"/>
              <a:chOff x="3662622" y="3994118"/>
              <a:chExt cx="3054276" cy="845797"/>
            </a:xfrm>
          </p:grpSpPr>
          <p:sp>
            <p:nvSpPr>
              <p:cNvPr id="101" name="사각형: 둥근 모서리 100">
                <a:extLst>
                  <a:ext uri="{FF2B5EF4-FFF2-40B4-BE49-F238E27FC236}">
                    <a16:creationId xmlns:a16="http://schemas.microsoft.com/office/drawing/2014/main" id="{F9B16FB2-5610-4E5C-A392-8CFDB738CCB4}"/>
                  </a:ext>
                </a:extLst>
              </p:cNvPr>
              <p:cNvSpPr/>
              <p:nvPr/>
            </p:nvSpPr>
            <p:spPr>
              <a:xfrm>
                <a:off x="3715463" y="3994118"/>
                <a:ext cx="2843252" cy="845797"/>
              </a:xfrm>
              <a:prstGeom prst="roundRect">
                <a:avLst>
                  <a:gd name="adj" fmla="val 8806"/>
                </a:avLst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03EDB0DA-02C4-41AB-9375-13DA98657C9B}"/>
                  </a:ext>
                </a:extLst>
              </p:cNvPr>
              <p:cNvSpPr/>
              <p:nvPr/>
            </p:nvSpPr>
            <p:spPr>
              <a:xfrm>
                <a:off x="3662622" y="4296303"/>
                <a:ext cx="3054276" cy="312540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삼일회계법인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Assurance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본부 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ko-KR" altLang="en-US" sz="8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권미엽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  | 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이진규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8388DB7C-4634-438A-A908-6D7275A80C2F}"/>
                  </a:ext>
                </a:extLst>
              </p:cNvPr>
              <p:cNvSpPr/>
              <p:nvPr/>
            </p:nvSpPr>
            <p:spPr>
              <a:xfrm>
                <a:off x="3662622" y="4099935"/>
                <a:ext cx="1600740" cy="118117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●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담당 부서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105" name="Picture 2" descr="집 ">
                <a:extLst>
                  <a:ext uri="{FF2B5EF4-FFF2-40B4-BE49-F238E27FC236}">
                    <a16:creationId xmlns:a16="http://schemas.microsoft.com/office/drawing/2014/main" id="{1415C467-3D47-4790-B173-B6A1894845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7863" y="4283616"/>
                <a:ext cx="94162" cy="94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89" name="직선 연결선 88">
              <a:extLst>
                <a:ext uri="{FF2B5EF4-FFF2-40B4-BE49-F238E27FC236}">
                  <a16:creationId xmlns:a16="http://schemas.microsoft.com/office/drawing/2014/main" id="{C19C8E1D-7111-4C54-AFF0-59E74C75EF10}"/>
                </a:ext>
              </a:extLst>
            </p:cNvPr>
            <p:cNvCxnSpPr>
              <a:cxnSpLocks/>
            </p:cNvCxnSpPr>
            <p:nvPr/>
          </p:nvCxnSpPr>
          <p:spPr>
            <a:xfrm>
              <a:off x="3856339" y="4872866"/>
              <a:ext cx="1124121" cy="0"/>
            </a:xfrm>
            <a:prstGeom prst="line">
              <a:avLst/>
            </a:prstGeom>
            <a:ln w="28575">
              <a:solidFill>
                <a:srgbClr val="C04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59A7CC27-3A9D-4E7B-9A63-CAB1F8E6F1C6}"/>
              </a:ext>
            </a:extLst>
          </p:cNvPr>
          <p:cNvSpPr/>
          <p:nvPr/>
        </p:nvSpPr>
        <p:spPr>
          <a:xfrm>
            <a:off x="4845381" y="58503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1CAC1FAD-29C3-48DE-8CEE-A8BE4C6C4361}"/>
              </a:ext>
            </a:extLst>
          </p:cNvPr>
          <p:cNvSpPr/>
          <p:nvPr/>
        </p:nvSpPr>
        <p:spPr>
          <a:xfrm>
            <a:off x="516326" y="61513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EB9809DA-F58F-4A76-AF9A-CC327A251433}"/>
              </a:ext>
            </a:extLst>
          </p:cNvPr>
          <p:cNvSpPr/>
          <p:nvPr/>
        </p:nvSpPr>
        <p:spPr>
          <a:xfrm>
            <a:off x="4852897" y="5547993"/>
            <a:ext cx="3550408" cy="671524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리스트 제거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/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5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5AD181CD-A870-44C7-898E-BB88A4C1DA20}"/>
              </a:ext>
            </a:extLst>
          </p:cNvPr>
          <p:cNvSpPr/>
          <p:nvPr/>
        </p:nvSpPr>
        <p:spPr>
          <a:xfrm>
            <a:off x="735379" y="6094735"/>
            <a:ext cx="3983659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4D9DD6FB-8AB4-4EF7-8191-9F65CB1BFB14}"/>
              </a:ext>
            </a:extLst>
          </p:cNvPr>
          <p:cNvSpPr/>
          <p:nvPr/>
        </p:nvSpPr>
        <p:spPr>
          <a:xfrm>
            <a:off x="479425" y="3522874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관련 컨텐츠</a:t>
            </a: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5" cy="60689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440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16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연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여부에 따라 다른 내용의 팝업화면이 생성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목록은 별도로 전달 예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항목명 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 기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~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없는 경우 임의의 일러스트 넣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4968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가 한 화면에 보여지는 개수보다 많은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살표를 클릭해서 관련 컨텐츠 목록을 더 확인할 수 있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3709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해당 부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명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사이트로 이동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Platform: https://www.pwc.com/kr/ko/services/esg-platform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ssurance: https://www.pwc.com/kr/ko/assur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ax: https://www.pwc.com/kr/ko/tax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als: https://www.pwc.com/kr/ko/deal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공부문 컨설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.com/kr/ko/services/krsrc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consulting.co.kr/ko/services/risk-compli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FS: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pwcconsulting.co.kr/ko/services/financial-services.html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1838431"/>
                  </a:ext>
                </a:extLst>
              </a:tr>
              <a:tr h="17011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Q001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및 요청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팝업 화면이 생성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서비스제공문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[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] 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문의로 디폴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2490722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708920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필요 업무역량</a:t>
            </a:r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DFA29D21-3A8F-4DAC-92DE-88600313B656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>
            <a:extLst>
              <a:ext uri="{FF2B5EF4-FFF2-40B4-BE49-F238E27FC236}">
                <a16:creationId xmlns:a16="http://schemas.microsoft.com/office/drawing/2014/main" id="{AB8A5F99-CCFC-4892-A11D-09590107BE32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표 65">
            <a:extLst>
              <a:ext uri="{FF2B5EF4-FFF2-40B4-BE49-F238E27FC236}">
                <a16:creationId xmlns:a16="http://schemas.microsoft.com/office/drawing/2014/main" id="{B6D36F3E-64DC-4D1C-992A-3DAC64229C88}"/>
              </a:ext>
            </a:extLst>
          </p:cNvPr>
          <p:cNvGraphicFramePr>
            <a:graphicFrameLocks noGrp="1"/>
          </p:cNvGraphicFramePr>
          <p:nvPr/>
        </p:nvGraphicFramePr>
        <p:xfrm>
          <a:off x="3904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계획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전략 수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62" name="직사각형 61">
            <a:extLst>
              <a:ext uri="{FF2B5EF4-FFF2-40B4-BE49-F238E27FC236}">
                <a16:creationId xmlns:a16="http://schemas.microsoft.com/office/drawing/2014/main" id="{67F875CC-06D7-4F24-823E-9D3D62135BCD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80C9187A-3AB9-4B3E-8F3E-29CA401FB388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94EA45C4-FA19-4966-B617-88BA29212B61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CB5D5081-C4DC-4955-B173-76ACA6DDB5B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DF2E3E09-E96E-4777-AE47-99DD6D9E9BFD}"/>
                  </a:ext>
                </a:extLst>
              </p:cNvPr>
              <p:cNvSpPr/>
              <p:nvPr/>
            </p:nvSpPr>
            <p:spPr>
              <a:xfrm>
                <a:off x="9201495" y="467369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B5AF2D6B-9BDA-4911-B92D-6EFA97BB496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75" name="직사각형 74">
                <a:extLst>
                  <a:ext uri="{FF2B5EF4-FFF2-40B4-BE49-F238E27FC236}">
                    <a16:creationId xmlns:a16="http://schemas.microsoft.com/office/drawing/2014/main" id="{0A0A893F-FD11-46DE-9C42-1450695780B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6B7BD58D-AF10-46B3-A71E-677B9BF8EE52}"/>
              </a:ext>
            </a:extLst>
          </p:cNvPr>
          <p:cNvSpPr/>
          <p:nvPr/>
        </p:nvSpPr>
        <p:spPr>
          <a:xfrm>
            <a:off x="364498" y="35811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115FC6E7-C678-49EB-99F3-E12825083E32}"/>
              </a:ext>
            </a:extLst>
          </p:cNvPr>
          <p:cNvSpPr/>
          <p:nvPr/>
        </p:nvSpPr>
        <p:spPr>
          <a:xfrm>
            <a:off x="8549933" y="36895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A7E64697-B97C-47D9-94DE-3A4E5689A978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8F462BF6-2E59-4EF4-B0E3-64B7AB8C27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8F672AE8-A439-4416-858A-121A5C582D53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1" name="그림 80">
              <a:extLst>
                <a:ext uri="{FF2B5EF4-FFF2-40B4-BE49-F238E27FC236}">
                  <a16:creationId xmlns:a16="http://schemas.microsoft.com/office/drawing/2014/main" id="{53C0045E-BAE1-46C8-86DD-98BB89271B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DD11A34A-44C2-4C82-BED9-0D00F1EE75B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8D7279EB-42A7-4FD6-908A-FF790351F6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8347" y="5681000"/>
            <a:ext cx="1635835" cy="1087664"/>
          </a:xfrm>
          <a:prstGeom prst="rect">
            <a:avLst/>
          </a:prstGeom>
        </p:spPr>
      </p:pic>
      <p:graphicFrame>
        <p:nvGraphicFramePr>
          <p:cNvPr id="83" name="표 3">
            <a:extLst>
              <a:ext uri="{FF2B5EF4-FFF2-40B4-BE49-F238E27FC236}">
                <a16:creationId xmlns:a16="http://schemas.microsoft.com/office/drawing/2014/main" id="{01AA28E8-B9E5-470B-B22F-DDC1153ABBB2}"/>
              </a:ext>
            </a:extLst>
          </p:cNvPr>
          <p:cNvGraphicFramePr>
            <a:graphicFrameLocks noGrp="1"/>
          </p:cNvGraphicFramePr>
          <p:nvPr/>
        </p:nvGraphicFramePr>
        <p:xfrm>
          <a:off x="659908" y="2924944"/>
          <a:ext cx="8064948" cy="611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74">
                  <a:extLst>
                    <a:ext uri="{9D8B030D-6E8A-4147-A177-3AD203B41FA5}">
                      <a16:colId xmlns:a16="http://schemas.microsoft.com/office/drawing/2014/main" val="3838718113"/>
                    </a:ext>
                  </a:extLst>
                </a:gridCol>
                <a:gridCol w="4032474">
                  <a:extLst>
                    <a:ext uri="{9D8B030D-6E8A-4147-A177-3AD203B41FA5}">
                      <a16:colId xmlns:a16="http://schemas.microsoft.com/office/drawing/2014/main" val="4047136683"/>
                    </a:ext>
                  </a:extLst>
                </a:gridCol>
              </a:tblGrid>
              <a:tr h="3056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경영활동 전반에 대한 이해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지식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전사 비전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목표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경영전략 수립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063471"/>
                  </a:ext>
                </a:extLst>
              </a:tr>
              <a:tr h="3056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중장기 로드맵 수립 및 전략과제 정의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구체적인 과제별 이행계획 수립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636748"/>
                  </a:ext>
                </a:extLst>
              </a:tr>
            </a:tbl>
          </a:graphicData>
        </a:graphic>
      </p:graphicFrame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55C065B4-8CDC-4093-8924-6639B7A65B8A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113" name="사각형: 둥근 위쪽 모서리 112">
              <a:extLst>
                <a:ext uri="{FF2B5EF4-FFF2-40B4-BE49-F238E27FC236}">
                  <a16:creationId xmlns:a16="http://schemas.microsoft.com/office/drawing/2014/main" id="{E6407374-075D-4723-B7A7-94408F93E672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114" name="사각형: 둥근 위쪽 모서리 113">
              <a:extLst>
                <a:ext uri="{FF2B5EF4-FFF2-40B4-BE49-F238E27FC236}">
                  <a16:creationId xmlns:a16="http://schemas.microsoft.com/office/drawing/2014/main" id="{E5483770-54DA-412A-BAEF-4C55C7FFBCFD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082FC74-7BDB-48FF-B676-08C62A1BC24D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5DBCED-6139-43C5-80E5-47ED232C1A20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AE151AA7-34EA-4B53-87A2-B11C12912CE9}"/>
              </a:ext>
            </a:extLst>
          </p:cNvPr>
          <p:cNvGrpSpPr/>
          <p:nvPr/>
        </p:nvGrpSpPr>
        <p:grpSpPr>
          <a:xfrm>
            <a:off x="8943505" y="2215647"/>
            <a:ext cx="3218221" cy="3369517"/>
            <a:chOff x="8943505" y="2215647"/>
            <a:chExt cx="3218221" cy="3369517"/>
          </a:xfrm>
        </p:grpSpPr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03E12F05-3D62-4CE6-86F0-9C80CC574B99}"/>
                </a:ext>
              </a:extLst>
            </p:cNvPr>
            <p:cNvGrpSpPr/>
            <p:nvPr/>
          </p:nvGrpSpPr>
          <p:grpSpPr>
            <a:xfrm>
              <a:off x="8943505" y="2215647"/>
              <a:ext cx="3218221" cy="3369517"/>
              <a:chOff x="8972055" y="-1"/>
              <a:chExt cx="3218221" cy="3369517"/>
            </a:xfrm>
          </p:grpSpPr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60C304A1-B9A8-4CBC-991D-9B5D4768C273}"/>
                  </a:ext>
                </a:extLst>
              </p:cNvPr>
              <p:cNvSpPr/>
              <p:nvPr/>
            </p:nvSpPr>
            <p:spPr>
              <a:xfrm>
                <a:off x="8972055" y="-1"/>
                <a:ext cx="3218221" cy="3369517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sq" cmpd="sng" algn="ctr">
                <a:solidFill>
                  <a:srgbClr val="D04A02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/>
                    <a:cs typeface="Arial"/>
                  </a:rPr>
                  <a:t>&lt;23.08.09&gt; </a:t>
                </a:r>
                <a:r>
                  <a:rPr kumimoji="0" lang="ko-KR" altLang="en-US" sz="800" b="1" i="0" u="none" strike="noStrike" kern="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/>
                    <a:cs typeface="Arial"/>
                  </a:rPr>
                  <a:t>수정</a:t>
                </a:r>
                <a:endPara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∙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삼일 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ESG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서비스 안내 → 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PwC Korea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서비스 안내로 </a:t>
                </a:r>
                <a:r>
                  <a:rPr lang="ko-KR" altLang="en-US" sz="800" b="1" kern="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워딩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 변경</a:t>
                </a: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kumimoji="0" lang="en-US" altLang="ko-KR" sz="800" b="1" i="0" u="none" strike="noStrike" kern="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/>
                    <a:cs typeface="Arial"/>
                  </a:rPr>
                  <a:t>    [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5]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사진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,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이름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 +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직급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,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소속부서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,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소속법인 순으로 출력</a:t>
                </a: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         -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소속 클릭 시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,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해당 부서 사이트로 이동하는 기능 삭제</a:t>
                </a: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kumimoji="0" lang="en-US" altLang="ko-KR" sz="800" b="1" i="0" u="none" strike="noStrike" kern="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kumimoji="0" lang="en-US" altLang="ko-KR" sz="800" b="1" i="0" u="none" strike="noStrike" kern="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/>
                    <a:cs typeface="Arial"/>
                  </a:rPr>
                  <a:t>     [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6</a:t>
                </a:r>
                <a:r>
                  <a:rPr kumimoji="0" lang="en-US" altLang="ko-KR" sz="800" b="1" i="0" u="none" strike="noStrike" kern="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/>
                    <a:cs typeface="Arial"/>
                  </a:rPr>
                  <a:t>]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삼일 서비스 문의하기 → 서비스 문의하기로 </a:t>
                </a:r>
                <a:r>
                  <a:rPr lang="ko-KR" altLang="en-US" sz="800" b="1" kern="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워딩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 변경</a:t>
                </a: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&lt;23.08.25&gt;</a:t>
                </a:r>
              </a:p>
              <a:p>
                <a:pPr defTabSz="914400">
                  <a:lnSpc>
                    <a:spcPct val="110000"/>
                  </a:lnSpc>
                </a:pP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∙ 경영 활동 가이드 내 전문가 리스트 제거 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(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경영활동 가이드 전체 반영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)</a:t>
                </a: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&lt;23.08.29&gt; 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기획서 통합</a:t>
                </a:r>
                <a:endPara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∙ 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‘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관련 컨텐츠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’ 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영역을 디자인 시안에 맞게 변경 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(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유형분류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+</a:t>
                </a:r>
                <a:r>
                  <a:rPr lang="ko-KR" altLang="en-US" sz="800" b="1" kern="0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컨텐츠종류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+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제목 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 </a:t>
                </a:r>
                <a:b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</a:b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업무분류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+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주제분류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+</a:t>
                </a:r>
                <a:r>
                  <a:rPr lang="ko-KR" altLang="en-US" sz="800" b="1" kern="0" spc="-30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토픽키워드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+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제목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)</a:t>
                </a:r>
              </a:p>
              <a:p>
                <a:pPr defTabSz="914400">
                  <a:lnSpc>
                    <a:spcPct val="110000"/>
                  </a:lnSpc>
                </a:pP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관련하여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, [3] 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기능 설명 수정함</a:t>
                </a:r>
                <a:endPara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단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, 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디자인 시안에 문서</a:t>
                </a:r>
                <a:r>
                  <a:rPr lang="en-US" altLang="ko-KR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/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  <a:sym typeface="Wingdings" panose="05000000000000000000" pitchFamily="2" charset="2"/>
                  </a:rPr>
                  <a:t>영상 구분 박스 필요함</a:t>
                </a:r>
                <a:r>
                  <a:rPr lang="ko-KR" altLang="en-US" sz="800" b="1" kern="0" spc="-3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 </a:t>
                </a:r>
                <a:endPara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en-US" altLang="ko-KR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‘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삼일 서비스 문의하기</a:t>
                </a:r>
                <a:r>
                  <a:rPr lang="en-US" altLang="ko-KR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‘ </a:t>
                </a: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버튼 위치를 </a:t>
                </a:r>
                <a:endPara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r>
                  <a:rPr lang="ko-KR" altLang="en-US" sz="800" b="1" kern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 panose="020B0604020202020204" pitchFamily="34" charset="0"/>
                    <a:ea typeface="맑은 고딕"/>
                    <a:cs typeface="Arial"/>
                  </a:rPr>
                  <a:t>디자인 시안과 같이 왼쪽으로 이동</a:t>
                </a:r>
                <a:endParaRPr lang="en-US" altLang="ko-KR" sz="800" i="0" u="none" strike="noStrike" kern="1200" cap="none" spc="-30" baseline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defTabSz="914400">
                  <a:lnSpc>
                    <a:spcPct val="110000"/>
                  </a:lnSpc>
                </a:pPr>
                <a:endParaRPr lang="ko-KR" altLang="en-US" sz="8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4" name="그림 3">
                <a:extLst>
                  <a:ext uri="{FF2B5EF4-FFF2-40B4-BE49-F238E27FC236}">
                    <a16:creationId xmlns:a16="http://schemas.microsoft.com/office/drawing/2014/main" id="{5C55D370-B332-4132-B994-DB55C5977D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322928" y="930327"/>
                <a:ext cx="2825825" cy="337727"/>
              </a:xfrm>
              <a:prstGeom prst="rect">
                <a:avLst/>
              </a:prstGeom>
            </p:spPr>
          </p:pic>
        </p:grpSp>
        <p:pic>
          <p:nvPicPr>
            <p:cNvPr id="121" name="그림 120">
              <a:extLst>
                <a:ext uri="{FF2B5EF4-FFF2-40B4-BE49-F238E27FC236}">
                  <a16:creationId xmlns:a16="http://schemas.microsoft.com/office/drawing/2014/main" id="{97B666A7-E16B-4318-913B-566E2F257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117493" y="4221088"/>
              <a:ext cx="883163" cy="870854"/>
            </a:xfrm>
            <a:prstGeom prst="rect">
              <a:avLst/>
            </a:prstGeom>
          </p:spPr>
        </p:pic>
      </p:grp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265E90CA-96BD-4A7A-9B09-5D0C23B2F29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C9792782-5A22-4507-B35F-D70DA05D5530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351D4180-A3F5-45ED-8F77-75E022DDCFD4}"/>
              </a:ext>
            </a:extLst>
          </p:cNvPr>
          <p:cNvSpPr/>
          <p:nvPr/>
        </p:nvSpPr>
        <p:spPr>
          <a:xfrm>
            <a:off x="2132645" y="1592233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95" name="그림 94">
            <a:extLst>
              <a:ext uri="{FF2B5EF4-FFF2-40B4-BE49-F238E27FC236}">
                <a16:creationId xmlns:a16="http://schemas.microsoft.com/office/drawing/2014/main" id="{2CB1748F-2430-41AA-85B2-527CE7EBDE4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1763057" y="2184513"/>
            <a:ext cx="2035746" cy="4219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08855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F8B1EC4E-EBEA-4925-A75E-67C45AE18AF6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계획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체계 수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3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36E2D1-BD15-4401-9A1B-A163F37581B4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9A25D588-F7AB-4309-B26A-CBA6E09BD7E4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837604E-625E-4ADE-BF8D-73B2998E2B81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2888353-667D-485A-802C-D8BB8B692A92}"/>
              </a:ext>
            </a:extLst>
          </p:cNvPr>
          <p:cNvSpPr/>
          <p:nvPr/>
        </p:nvSpPr>
        <p:spPr>
          <a:xfrm>
            <a:off x="479425" y="3565176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85B4D095-22DA-4302-8C0C-153F7F3AA653}"/>
              </a:ext>
            </a:extLst>
          </p:cNvPr>
          <p:cNvSpPr/>
          <p:nvPr/>
        </p:nvSpPr>
        <p:spPr>
          <a:xfrm>
            <a:off x="550863" y="3052918"/>
            <a:ext cx="8208962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효과적인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리를 위해 전사 차원에서 중점 관리영역을 정의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해당 영역별 이슈를 관리하고 적시에 경영진 보고가 가능한 운영체계를 수립하는 단계입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EC3BC06-490C-4E64-B37F-A55D0B447EE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789531DA-1A95-40F2-85A7-83C831328D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FC034C08-04A2-4A1A-A5CF-A23E737ACD5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B6FE5B43-788E-4590-A525-94D6F8F45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552BFA2-4DA0-487F-8897-D6413E20EA3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212909AB-D63A-41C6-9A46-94864C4B402A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48" name="사각형: 둥근 위쪽 모서리 47">
              <a:extLst>
                <a:ext uri="{FF2B5EF4-FFF2-40B4-BE49-F238E27FC236}">
                  <a16:creationId xmlns:a16="http://schemas.microsoft.com/office/drawing/2014/main" id="{F65C60C8-2D6A-482B-A2BB-DB93FE28BE18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전략 수립</a:t>
              </a:r>
            </a:p>
          </p:txBody>
        </p:sp>
        <p:sp>
          <p:nvSpPr>
            <p:cNvPr id="49" name="사각형: 둥근 위쪽 모서리 48">
              <a:extLst>
                <a:ext uri="{FF2B5EF4-FFF2-40B4-BE49-F238E27FC236}">
                  <a16:creationId xmlns:a16="http://schemas.microsoft.com/office/drawing/2014/main" id="{3012978B-B1AF-4119-A8E1-9ADF7953590E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체계 수립</a:t>
              </a:r>
            </a:p>
          </p:txBody>
        </p:sp>
      </p:grp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59722586-B22E-4A7B-930A-6D8BA644AB6C}"/>
              </a:ext>
            </a:extLst>
          </p:cNvPr>
          <p:cNvSpPr/>
          <p:nvPr/>
        </p:nvSpPr>
        <p:spPr>
          <a:xfrm>
            <a:off x="550863" y="3866899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의사결정체계 구축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6A9A6E68-2A69-48F3-80A9-2A28AD346EA6}"/>
              </a:ext>
            </a:extLst>
          </p:cNvPr>
          <p:cNvSpPr/>
          <p:nvPr/>
        </p:nvSpPr>
        <p:spPr>
          <a:xfrm>
            <a:off x="550863" y="4541619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경영관리체계 구축</a:t>
            </a: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495B1A90-02FC-418B-A72C-ADFFC408E3D5}"/>
              </a:ext>
            </a:extLst>
          </p:cNvPr>
          <p:cNvSpPr/>
          <p:nvPr/>
        </p:nvSpPr>
        <p:spPr>
          <a:xfrm>
            <a:off x="550863" y="5222803"/>
            <a:ext cx="1225713" cy="867915"/>
          </a:xfrm>
          <a:prstGeom prst="roundRect">
            <a:avLst>
              <a:gd name="adj" fmla="val 838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영역별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PI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정의 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9FA589B0-9030-4C4D-9119-4CBE4B24CBFA}"/>
              </a:ext>
            </a:extLst>
          </p:cNvPr>
          <p:cNvSpPr/>
          <p:nvPr/>
        </p:nvSpPr>
        <p:spPr>
          <a:xfrm>
            <a:off x="1832069" y="3869069"/>
            <a:ext cx="6820706" cy="526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</a:t>
            </a:r>
            <a:r>
              <a:rPr lang="ko-KR" altLang="en-US" sz="900" dirty="0">
                <a:solidFill>
                  <a:schemeClr val="tx1"/>
                </a:solidFill>
              </a:rPr>
              <a:t>와 관련한 기업의 주요 경영 이슈와 의사결정사항을 주기적으로 </a:t>
            </a:r>
            <a:r>
              <a:rPr lang="ko-KR" altLang="en-US" sz="900" dirty="0" err="1">
                <a:solidFill>
                  <a:schemeClr val="tx1"/>
                </a:solidFill>
              </a:rPr>
              <a:t>검토∙논의할</a:t>
            </a:r>
            <a:r>
              <a:rPr lang="ko-KR" altLang="en-US" sz="900" dirty="0">
                <a:solidFill>
                  <a:schemeClr val="tx1"/>
                </a:solidFill>
              </a:rPr>
              <a:t> 수 있도록 절차를 수립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의사결정을 위한 이사회 및 이사회 산하 위원회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경영진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전담조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실무협의체의 구성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</a:rPr>
              <a:t>역할∙책임</a:t>
            </a:r>
            <a:r>
              <a:rPr lang="ko-KR" altLang="en-US" sz="900" dirty="0">
                <a:solidFill>
                  <a:schemeClr val="tx1"/>
                </a:solidFill>
              </a:rPr>
              <a:t> 정의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E5020C97-A628-4B84-A5F9-2740E2A45DED}"/>
              </a:ext>
            </a:extLst>
          </p:cNvPr>
          <p:cNvSpPr/>
          <p:nvPr/>
        </p:nvSpPr>
        <p:spPr>
          <a:xfrm>
            <a:off x="1832069" y="4543789"/>
            <a:ext cx="6820706" cy="539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사업 계획에 따른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활동 수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모니터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업무 개선과 성과평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보고 등의 일련의 프로세스를 정의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를 내재화하기 위한 </a:t>
            </a:r>
            <a:r>
              <a:rPr lang="en-US" altLang="ko-KR" sz="900" dirty="0">
                <a:solidFill>
                  <a:schemeClr val="tx1"/>
                </a:solidFill>
              </a:rPr>
              <a:t>R&amp;R</a:t>
            </a:r>
            <a:r>
              <a:rPr lang="ko-KR" altLang="en-US" sz="900" dirty="0">
                <a:solidFill>
                  <a:schemeClr val="tx1"/>
                </a:solidFill>
              </a:rPr>
              <a:t>과 </a:t>
            </a:r>
            <a:r>
              <a:rPr lang="ko-KR" altLang="en-US" sz="900" dirty="0" err="1">
                <a:solidFill>
                  <a:schemeClr val="tx1"/>
                </a:solidFill>
              </a:rPr>
              <a:t>기준∙지침의</a:t>
            </a:r>
            <a:r>
              <a:rPr lang="ko-KR" altLang="en-US" sz="900" dirty="0">
                <a:solidFill>
                  <a:schemeClr val="tx1"/>
                </a:solidFill>
              </a:rPr>
              <a:t> 수립</a:t>
            </a: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FE6ED782-51D2-4124-A107-6A6D8D4E07C5}"/>
              </a:ext>
            </a:extLst>
          </p:cNvPr>
          <p:cNvSpPr/>
          <p:nvPr/>
        </p:nvSpPr>
        <p:spPr>
          <a:xfrm>
            <a:off x="1832069" y="5247127"/>
            <a:ext cx="6820706" cy="825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기업의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주요 이슈를 고려하여</a:t>
            </a:r>
            <a:r>
              <a:rPr lang="en-US" altLang="ko-KR" sz="900" dirty="0">
                <a:solidFill>
                  <a:schemeClr val="tx1"/>
                </a:solidFill>
              </a:rPr>
              <a:t>, ESG </a:t>
            </a:r>
            <a:r>
              <a:rPr lang="ko-KR" altLang="en-US" sz="900" dirty="0">
                <a:solidFill>
                  <a:schemeClr val="tx1"/>
                </a:solidFill>
              </a:rPr>
              <a:t>경영 활동 목표 달성을 위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성과관리지표</a:t>
            </a:r>
            <a:r>
              <a:rPr lang="en-US" altLang="ko-KR" sz="900" dirty="0">
                <a:solidFill>
                  <a:schemeClr val="tx1"/>
                </a:solidFill>
              </a:rPr>
              <a:t>(KPI) </a:t>
            </a:r>
            <a:r>
              <a:rPr lang="ko-KR" altLang="en-US" sz="900" dirty="0">
                <a:solidFill>
                  <a:schemeClr val="tx1"/>
                </a:solidFill>
              </a:rPr>
              <a:t>수립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KPI</a:t>
            </a:r>
            <a:r>
              <a:rPr lang="ko-KR" altLang="en-US" sz="900" dirty="0">
                <a:solidFill>
                  <a:schemeClr val="tx1"/>
                </a:solidFill>
              </a:rPr>
              <a:t>를 통해 세부 조직과 개별 구성원 단위까지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활동에 대한 명확한 목표를 제시하고</a:t>
            </a:r>
            <a:r>
              <a:rPr lang="en-US" altLang="ko-KR" sz="900" dirty="0">
                <a:solidFill>
                  <a:schemeClr val="tx1"/>
                </a:solidFill>
              </a:rPr>
              <a:t>, ESG </a:t>
            </a:r>
            <a:r>
              <a:rPr lang="ko-KR" altLang="en-US" sz="900" dirty="0">
                <a:solidFill>
                  <a:schemeClr val="tx1"/>
                </a:solidFill>
              </a:rPr>
              <a:t>성과를 효율적으로 </a:t>
            </a:r>
            <a:r>
              <a:rPr lang="ko-KR" altLang="en-US" sz="900" dirty="0" err="1">
                <a:solidFill>
                  <a:schemeClr val="tx1"/>
                </a:solidFill>
              </a:rPr>
              <a:t>모니터링∙관리</a:t>
            </a:r>
            <a:r>
              <a:rPr lang="ko-KR" altLang="en-US" sz="900" dirty="0">
                <a:solidFill>
                  <a:schemeClr val="tx1"/>
                </a:solidFill>
              </a:rPr>
              <a:t> 가능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목표 달성 상의 문제점을 파악하여 개선 활동으로 연계</a:t>
            </a:r>
          </a:p>
        </p:txBody>
      </p: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9F46A805-E237-4F5E-B266-3FC6C519D3B7}"/>
              </a:ext>
            </a:extLst>
          </p:cNvPr>
          <p:cNvCxnSpPr/>
          <p:nvPr/>
        </p:nvCxnSpPr>
        <p:spPr>
          <a:xfrm>
            <a:off x="498469" y="4456205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837DCBBC-471F-455B-823F-EDC8F02A8069}"/>
              </a:ext>
            </a:extLst>
          </p:cNvPr>
          <p:cNvCxnSpPr/>
          <p:nvPr/>
        </p:nvCxnSpPr>
        <p:spPr>
          <a:xfrm>
            <a:off x="498469" y="5143467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>
            <a:extLst>
              <a:ext uri="{FF2B5EF4-FFF2-40B4-BE49-F238E27FC236}">
                <a16:creationId xmlns:a16="http://schemas.microsoft.com/office/drawing/2014/main" id="{5FE80EF0-A346-49E5-8870-A413CF925AD9}"/>
              </a:ext>
            </a:extLst>
          </p:cNvPr>
          <p:cNvCxnSpPr/>
          <p:nvPr/>
        </p:nvCxnSpPr>
        <p:spPr>
          <a:xfrm>
            <a:off x="498469" y="6165304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284CBEFC-509B-46EE-96EA-D162AC2AD05A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AA3F535-803D-4004-9C10-CA35859A894C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5E430CB5-9C9B-4F85-8DED-07A7CD7137CB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3E3A61C9-35D9-4CF8-B4DA-2CA185DB374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C6EBCD51-7D25-4248-A237-8810083A8DE3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E4ECED14-BA42-4A1E-95C4-322F28557E15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73" name="그림 72">
            <a:extLst>
              <a:ext uri="{FF2B5EF4-FFF2-40B4-BE49-F238E27FC236}">
                <a16:creationId xmlns:a16="http://schemas.microsoft.com/office/drawing/2014/main" id="{7AE477E3-E9C8-4E87-8CF8-F01D7D68A1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63057" y="2184513"/>
            <a:ext cx="2035746" cy="4219011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7F02CB2F-2DF7-43A8-9F10-4DDF7B4F1722}"/>
              </a:ext>
            </a:extLst>
          </p:cNvPr>
          <p:cNvSpPr/>
          <p:nvPr/>
        </p:nvSpPr>
        <p:spPr>
          <a:xfrm>
            <a:off x="-1608856" y="2999857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 수립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24999F2E-B598-4DD9-9E4E-974CF521140E}"/>
              </a:ext>
            </a:extLst>
          </p:cNvPr>
          <p:cNvSpPr/>
          <p:nvPr/>
        </p:nvSpPr>
        <p:spPr>
          <a:xfrm>
            <a:off x="-1608856" y="3212153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체계 수립</a:t>
            </a:r>
          </a:p>
        </p:txBody>
      </p:sp>
    </p:spTree>
    <p:extLst>
      <p:ext uri="{BB962C8B-B14F-4D97-AF65-F5344CB8AC3E}">
        <p14:creationId xmlns:p14="http://schemas.microsoft.com/office/powerpoint/2010/main" val="232628480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직사각형 75">
            <a:extLst>
              <a:ext uri="{FF2B5EF4-FFF2-40B4-BE49-F238E27FC236}">
                <a16:creationId xmlns:a16="http://schemas.microsoft.com/office/drawing/2014/main" id="{864368CF-A74B-400A-AC3A-D1E0232D07E5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계획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체계 수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EC3BC06-490C-4E64-B37F-A55D0B447EE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789531DA-1A95-40F2-85A7-83C831328D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FC034C08-04A2-4A1A-A5CF-A23E737ACD5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B6FE5B43-788E-4590-A525-94D6F8F45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552BFA2-4DA0-487F-8897-D6413E20EA3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212909AB-D63A-41C6-9A46-94864C4B402A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48" name="사각형: 둥근 위쪽 모서리 47">
              <a:extLst>
                <a:ext uri="{FF2B5EF4-FFF2-40B4-BE49-F238E27FC236}">
                  <a16:creationId xmlns:a16="http://schemas.microsoft.com/office/drawing/2014/main" id="{F65C60C8-2D6A-482B-A2BB-DB93FE28BE18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전략 수립</a:t>
              </a:r>
            </a:p>
          </p:txBody>
        </p:sp>
        <p:sp>
          <p:nvSpPr>
            <p:cNvPr id="49" name="사각형: 둥근 위쪽 모서리 48">
              <a:extLst>
                <a:ext uri="{FF2B5EF4-FFF2-40B4-BE49-F238E27FC236}">
                  <a16:creationId xmlns:a16="http://schemas.microsoft.com/office/drawing/2014/main" id="{3012978B-B1AF-4119-A8E1-9ADF7953590E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체계 수립</a:t>
              </a:r>
            </a:p>
          </p:txBody>
        </p:sp>
      </p:grp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2CA287F0-4A57-4B9A-8FDD-3B2CFB273E8A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7F494852-177E-4B93-B681-9E77DA56F5A6}"/>
              </a:ext>
            </a:extLst>
          </p:cNvPr>
          <p:cNvSpPr/>
          <p:nvPr/>
        </p:nvSpPr>
        <p:spPr>
          <a:xfrm>
            <a:off x="550863" y="3356992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리스크 관리체계 수립</a:t>
            </a: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70CEA431-406D-4F44-9269-528F69D9778A}"/>
              </a:ext>
            </a:extLst>
          </p:cNvPr>
          <p:cNvSpPr/>
          <p:nvPr/>
        </p:nvSpPr>
        <p:spPr>
          <a:xfrm>
            <a:off x="1832069" y="3359162"/>
            <a:ext cx="6820706" cy="539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활동에 영향을 주는 위험과 기회를 식별하여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리스크를 정의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식별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리스크를 </a:t>
            </a:r>
            <a:r>
              <a:rPr lang="ko-KR" altLang="en-US" sz="900" dirty="0" err="1">
                <a:solidFill>
                  <a:schemeClr val="tx1"/>
                </a:solidFill>
              </a:rPr>
              <a:t>측정∙평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모니터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보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</a:rPr>
              <a:t>통제∙경감하기</a:t>
            </a:r>
            <a:r>
              <a:rPr lang="ko-KR" altLang="en-US" sz="900" dirty="0">
                <a:solidFill>
                  <a:schemeClr val="tx1"/>
                </a:solidFill>
              </a:rPr>
              <a:t> 위한 업무 프로세스와 </a:t>
            </a:r>
            <a:r>
              <a:rPr lang="ko-KR" altLang="en-US" sz="900" dirty="0" err="1">
                <a:solidFill>
                  <a:schemeClr val="tx1"/>
                </a:solidFill>
              </a:rPr>
              <a:t>규정∙지침</a:t>
            </a:r>
            <a:r>
              <a:rPr lang="ko-KR" altLang="en-US" sz="900" dirty="0">
                <a:solidFill>
                  <a:schemeClr val="tx1"/>
                </a:solidFill>
              </a:rPr>
              <a:t> 수립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 err="1">
                <a:solidFill>
                  <a:schemeClr val="tx1"/>
                </a:solidFill>
              </a:rPr>
              <a:t>리스크별</a:t>
            </a:r>
            <a:r>
              <a:rPr lang="ko-KR" altLang="en-US" sz="900" dirty="0">
                <a:solidFill>
                  <a:schemeClr val="tx1"/>
                </a:solidFill>
              </a:rPr>
              <a:t> 위험 수준 도달 시의 </a:t>
            </a:r>
            <a:r>
              <a:rPr lang="ko-KR" altLang="en-US" sz="900" dirty="0" err="1">
                <a:solidFill>
                  <a:schemeClr val="tx1"/>
                </a:solidFill>
              </a:rPr>
              <a:t>유형∙단계별</a:t>
            </a:r>
            <a:r>
              <a:rPr lang="ko-KR" altLang="en-US" sz="900" dirty="0">
                <a:solidFill>
                  <a:schemeClr val="tx1"/>
                </a:solidFill>
              </a:rPr>
              <a:t> 대응 계획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주체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시나리오 정의</a:t>
            </a: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8988D89A-F842-412E-BA0E-953C2DE92191}"/>
              </a:ext>
            </a:extLst>
          </p:cNvPr>
          <p:cNvCxnSpPr>
            <a:cxnSpLocks/>
          </p:cNvCxnSpPr>
          <p:nvPr/>
        </p:nvCxnSpPr>
        <p:spPr>
          <a:xfrm>
            <a:off x="550865" y="3330104"/>
            <a:ext cx="819303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2C31AF87-C437-4A54-9716-C1E63477AC1E}"/>
              </a:ext>
            </a:extLst>
          </p:cNvPr>
          <p:cNvSpPr/>
          <p:nvPr/>
        </p:nvSpPr>
        <p:spPr>
          <a:xfrm>
            <a:off x="550863" y="2780928"/>
            <a:ext cx="1225713" cy="522288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영역별 규정 ∙ 지침 작성</a:t>
            </a: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1CC2D237-5101-4610-9642-CB46BE5D9137}"/>
              </a:ext>
            </a:extLst>
          </p:cNvPr>
          <p:cNvSpPr/>
          <p:nvPr/>
        </p:nvSpPr>
        <p:spPr>
          <a:xfrm>
            <a:off x="1832069" y="2783098"/>
            <a:ext cx="6820706" cy="539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영역별 세부 활동 과제를 운영하고 관리하기 위한 내부 관리 정책과 </a:t>
            </a:r>
            <a:r>
              <a:rPr lang="ko-KR" altLang="en-US" sz="900" dirty="0" err="1">
                <a:solidFill>
                  <a:schemeClr val="tx1"/>
                </a:solidFill>
              </a:rPr>
              <a:t>기준∙지침</a:t>
            </a:r>
            <a:r>
              <a:rPr lang="ko-KR" altLang="en-US" sz="900" dirty="0">
                <a:solidFill>
                  <a:schemeClr val="tx1"/>
                </a:solidFill>
              </a:rPr>
              <a:t> 수립</a:t>
            </a: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7C811FEE-C5FA-4F69-A710-864721E5D1E7}"/>
              </a:ext>
            </a:extLst>
          </p:cNvPr>
          <p:cNvSpPr/>
          <p:nvPr/>
        </p:nvSpPr>
        <p:spPr>
          <a:xfrm>
            <a:off x="8995170" y="3861048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120D08A2-DD61-4397-B41D-2CAB245A1FB9}"/>
              </a:ext>
            </a:extLst>
          </p:cNvPr>
          <p:cNvSpPr/>
          <p:nvPr/>
        </p:nvSpPr>
        <p:spPr>
          <a:xfrm>
            <a:off x="479425" y="3969838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필요 업무역량</a:t>
            </a:r>
          </a:p>
        </p:txBody>
      </p:sp>
      <p:cxnSp>
        <p:nvCxnSpPr>
          <p:cNvPr id="82" name="직선 연결선 81">
            <a:extLst>
              <a:ext uri="{FF2B5EF4-FFF2-40B4-BE49-F238E27FC236}">
                <a16:creationId xmlns:a16="http://schemas.microsoft.com/office/drawing/2014/main" id="{69F774DA-3DB6-4C14-A3F6-A183E3D0F761}"/>
              </a:ext>
            </a:extLst>
          </p:cNvPr>
          <p:cNvCxnSpPr>
            <a:cxnSpLocks/>
          </p:cNvCxnSpPr>
          <p:nvPr/>
        </p:nvCxnSpPr>
        <p:spPr>
          <a:xfrm>
            <a:off x="550863" y="3918952"/>
            <a:ext cx="81930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3" name="표 3">
            <a:extLst>
              <a:ext uri="{FF2B5EF4-FFF2-40B4-BE49-F238E27FC236}">
                <a16:creationId xmlns:a16="http://schemas.microsoft.com/office/drawing/2014/main" id="{DFD68A27-3B39-48E2-B538-988F18FEE7F0}"/>
              </a:ext>
            </a:extLst>
          </p:cNvPr>
          <p:cNvGraphicFramePr>
            <a:graphicFrameLocks noGrp="1"/>
          </p:cNvGraphicFramePr>
          <p:nvPr/>
        </p:nvGraphicFramePr>
        <p:xfrm>
          <a:off x="659908" y="4185862"/>
          <a:ext cx="8064948" cy="611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74">
                  <a:extLst>
                    <a:ext uri="{9D8B030D-6E8A-4147-A177-3AD203B41FA5}">
                      <a16:colId xmlns:a16="http://schemas.microsoft.com/office/drawing/2014/main" val="3838718113"/>
                    </a:ext>
                  </a:extLst>
                </a:gridCol>
                <a:gridCol w="4032474">
                  <a:extLst>
                    <a:ext uri="{9D8B030D-6E8A-4147-A177-3AD203B41FA5}">
                      <a16:colId xmlns:a16="http://schemas.microsoft.com/office/drawing/2014/main" val="4047136683"/>
                    </a:ext>
                  </a:extLst>
                </a:gridCol>
              </a:tblGrid>
              <a:tr h="30564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G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경영활동 전반에 대한 이해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지식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전사 의사결정체계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경영관리체계 수립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063471"/>
                  </a:ext>
                </a:extLst>
              </a:tr>
              <a:tr h="3056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업무 정책 및 지침 정의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636748"/>
                  </a:ext>
                </a:extLst>
              </a:tr>
            </a:tbl>
          </a:graphicData>
        </a:graphic>
      </p:graphicFrame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6E583C5E-4FB8-47E4-A16A-BA960C68BEB2}"/>
              </a:ext>
            </a:extLst>
          </p:cNvPr>
          <p:cNvSpPr/>
          <p:nvPr/>
        </p:nvSpPr>
        <p:spPr bwMode="auto">
          <a:xfrm>
            <a:off x="341695" y="652534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7"/>
            <a:ext cx="8647314" cy="618501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D0837BF4-B17F-494F-B414-A365905862E8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C8281A4F-DC3A-4F97-A05B-AD0D9BB8710D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30" name="그룹 129">
              <a:extLst>
                <a:ext uri="{FF2B5EF4-FFF2-40B4-BE49-F238E27FC236}">
                  <a16:creationId xmlns:a16="http://schemas.microsoft.com/office/drawing/2014/main" id="{796F42B8-AB4E-42E8-9EF6-D9108892B053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23E1270C-CF93-4C2F-A319-8BC8C71DC48F}"/>
                  </a:ext>
                </a:extLst>
              </p:cNvPr>
              <p:cNvSpPr/>
              <p:nvPr/>
            </p:nvSpPr>
            <p:spPr>
              <a:xfrm>
                <a:off x="9201495" y="287521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273179B7-5E7A-41CB-83A7-F53D8293508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FE2974CA-889D-4531-BAC0-C5ABC302A499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24ABB19C-EBCD-4A0C-ABB7-23EE34B95B69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704E06E4-EC8E-4741-A779-78FFD9492037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F27EA72-6625-4236-A544-8A0D48A324EC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44C96E44-085C-43F3-9A7A-4E7E09B1A571}"/>
              </a:ext>
            </a:extLst>
          </p:cNvPr>
          <p:cNvGrpSpPr/>
          <p:nvPr/>
        </p:nvGrpSpPr>
        <p:grpSpPr>
          <a:xfrm>
            <a:off x="479425" y="4797152"/>
            <a:ext cx="8353425" cy="1672838"/>
            <a:chOff x="479425" y="4797152"/>
            <a:chExt cx="8353425" cy="1672838"/>
          </a:xfrm>
        </p:grpSpPr>
        <p:grpSp>
          <p:nvGrpSpPr>
            <p:cNvPr id="139" name="그룹 138">
              <a:extLst>
                <a:ext uri="{FF2B5EF4-FFF2-40B4-BE49-F238E27FC236}">
                  <a16:creationId xmlns:a16="http://schemas.microsoft.com/office/drawing/2014/main" id="{EA4EDD07-52A6-4647-B2D6-E73EAD9B6369}"/>
                </a:ext>
              </a:extLst>
            </p:cNvPr>
            <p:cNvGrpSpPr/>
            <p:nvPr/>
          </p:nvGrpSpPr>
          <p:grpSpPr>
            <a:xfrm>
              <a:off x="550865" y="5011730"/>
              <a:ext cx="8212843" cy="1458260"/>
              <a:chOff x="550865" y="3737452"/>
              <a:chExt cx="8212843" cy="1458260"/>
            </a:xfrm>
          </p:grpSpPr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D09762D3-930D-4B18-B759-E439E3F80DBE}"/>
                  </a:ext>
                </a:extLst>
              </p:cNvPr>
              <p:cNvSpPr/>
              <p:nvPr/>
            </p:nvSpPr>
            <p:spPr>
              <a:xfrm>
                <a:off x="550865" y="3740186"/>
                <a:ext cx="8212842" cy="145552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spcAft>
                    <a:spcPts val="600"/>
                  </a:spcAft>
                </a:pPr>
                <a:endParaRPr lang="ko-KR" altLang="en-US" sz="1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1E4B4C73-4026-4286-87DA-1900CEACED82}"/>
                  </a:ext>
                </a:extLst>
              </p:cNvPr>
              <p:cNvSpPr/>
              <p:nvPr/>
            </p:nvSpPr>
            <p:spPr>
              <a:xfrm>
                <a:off x="8611368" y="3737452"/>
                <a:ext cx="152340" cy="145040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600"/>
                  </a:spcAft>
                </a:pPr>
                <a:r>
                  <a:rPr lang="ko-KR" altLang="en-US" sz="900" b="1" dirty="0">
                    <a:solidFill>
                      <a:schemeClr val="tx1"/>
                    </a:solidFill>
                  </a:rPr>
                  <a:t>▶</a:t>
                </a:r>
              </a:p>
            </p:txBody>
          </p:sp>
          <p:pic>
            <p:nvPicPr>
              <p:cNvPr id="142" name="Picture 2" descr="자연 사진, 5,726,000개 이상의 고품질 무료 스톡 사진">
                <a:extLst>
                  <a:ext uri="{FF2B5EF4-FFF2-40B4-BE49-F238E27FC236}">
                    <a16:creationId xmlns:a16="http://schemas.microsoft.com/office/drawing/2014/main" id="{AC4405CA-8C43-4370-BD06-371D08C00A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174" b="8576"/>
              <a:stretch/>
            </p:blipFill>
            <p:spPr bwMode="auto">
              <a:xfrm>
                <a:off x="983119" y="3824015"/>
                <a:ext cx="1510563" cy="8167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3" name="사각형: 둥근 모서리 142">
                <a:extLst>
                  <a:ext uri="{FF2B5EF4-FFF2-40B4-BE49-F238E27FC236}">
                    <a16:creationId xmlns:a16="http://schemas.microsoft.com/office/drawing/2014/main" id="{2D91A51D-46F2-4E3D-BED1-17555F2C8A9F}"/>
                  </a:ext>
                </a:extLst>
              </p:cNvPr>
              <p:cNvSpPr/>
              <p:nvPr/>
            </p:nvSpPr>
            <p:spPr>
              <a:xfrm>
                <a:off x="978065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업무분류</a:t>
                </a:r>
              </a:p>
            </p:txBody>
          </p:sp>
          <p:sp>
            <p:nvSpPr>
              <p:cNvPr id="144" name="사각형: 둥근 모서리 143">
                <a:extLst>
                  <a:ext uri="{FF2B5EF4-FFF2-40B4-BE49-F238E27FC236}">
                    <a16:creationId xmlns:a16="http://schemas.microsoft.com/office/drawing/2014/main" id="{C42202B9-DB14-4239-86A7-D077F6D33C02}"/>
                  </a:ext>
                </a:extLst>
              </p:cNvPr>
              <p:cNvSpPr/>
              <p:nvPr/>
            </p:nvSpPr>
            <p:spPr>
              <a:xfrm>
                <a:off x="1495551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주제분류</a:t>
                </a:r>
              </a:p>
            </p:txBody>
          </p:sp>
          <p:sp>
            <p:nvSpPr>
              <p:cNvPr id="145" name="사각형: 둥근 모서리 144">
                <a:extLst>
                  <a:ext uri="{FF2B5EF4-FFF2-40B4-BE49-F238E27FC236}">
                    <a16:creationId xmlns:a16="http://schemas.microsoft.com/office/drawing/2014/main" id="{99EA02A8-1A28-45EF-85A1-DA464D8519E3}"/>
                  </a:ext>
                </a:extLst>
              </p:cNvPr>
              <p:cNvSpPr/>
              <p:nvPr/>
            </p:nvSpPr>
            <p:spPr>
              <a:xfrm>
                <a:off x="2013037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/>
              <a:lstStyle/>
              <a:p>
                <a:pPr algn="ctr"/>
                <a:r>
                  <a:rPr lang="ko-KR" altLang="en-US" sz="700" b="1" dirty="0" err="1">
                    <a:solidFill>
                      <a:schemeClr val="bg1">
                        <a:lumMod val="50000"/>
                      </a:schemeClr>
                    </a:solidFill>
                  </a:rPr>
                  <a:t>토픽키워드</a:t>
                </a:r>
                <a:endParaRPr lang="ko-KR" altLang="en-US" sz="700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0673D0C0-6B78-48FE-9FED-E351FB2EDEFD}"/>
                  </a:ext>
                </a:extLst>
              </p:cNvPr>
              <p:cNvSpPr/>
              <p:nvPr/>
            </p:nvSpPr>
            <p:spPr>
              <a:xfrm>
                <a:off x="982626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500" b="1" dirty="0"/>
                  <a:t>컨텐츠 종류</a:t>
                </a:r>
              </a:p>
            </p:txBody>
          </p:sp>
          <p:sp>
            <p:nvSpPr>
              <p:cNvPr id="147" name="직사각형 146">
                <a:extLst>
                  <a:ext uri="{FF2B5EF4-FFF2-40B4-BE49-F238E27FC236}">
                    <a16:creationId xmlns:a16="http://schemas.microsoft.com/office/drawing/2014/main" id="{33F9DB91-3703-4483-8BC5-ECCF1102CDFD}"/>
                  </a:ext>
                </a:extLst>
              </p:cNvPr>
              <p:cNvSpPr/>
              <p:nvPr/>
            </p:nvSpPr>
            <p:spPr>
              <a:xfrm>
                <a:off x="1301634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ko-KR" altLang="en-US" sz="800" b="1" dirty="0">
                    <a:solidFill>
                      <a:schemeClr val="tx1"/>
                    </a:solidFill>
                  </a:rPr>
                  <a:t>제목</a:t>
                </a:r>
                <a:endParaRPr lang="en-US" altLang="ko-KR" sz="800" b="1" dirty="0">
                  <a:solidFill>
                    <a:schemeClr val="tx1"/>
                  </a:solidFill>
                </a:endParaRPr>
              </a:p>
              <a:p>
                <a:endParaRPr lang="ko-KR" altLang="en-US" sz="8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8" name="그룹 147">
                <a:extLst>
                  <a:ext uri="{FF2B5EF4-FFF2-40B4-BE49-F238E27FC236}">
                    <a16:creationId xmlns:a16="http://schemas.microsoft.com/office/drawing/2014/main" id="{5BEFDF8D-538A-4719-91A2-4C35FB96ED86}"/>
                  </a:ext>
                </a:extLst>
              </p:cNvPr>
              <p:cNvGrpSpPr/>
              <p:nvPr/>
            </p:nvGrpSpPr>
            <p:grpSpPr>
              <a:xfrm>
                <a:off x="2930913" y="382401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61" name="사각형: 둥근 모서리 160">
                  <a:extLst>
                    <a:ext uri="{FF2B5EF4-FFF2-40B4-BE49-F238E27FC236}">
                      <a16:creationId xmlns:a16="http://schemas.microsoft.com/office/drawing/2014/main" id="{11FB33CD-E01A-437A-A7D3-E5B292896563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62" name="사각형: 둥근 모서리 161">
                  <a:extLst>
                    <a:ext uri="{FF2B5EF4-FFF2-40B4-BE49-F238E27FC236}">
                      <a16:creationId xmlns:a16="http://schemas.microsoft.com/office/drawing/2014/main" id="{1B6416EA-4F53-4F55-8C1A-EED1B8002A32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금융</a:t>
                  </a:r>
                </a:p>
              </p:txBody>
            </p:sp>
            <p:sp>
              <p:nvSpPr>
                <p:cNvPr id="163" name="사각형: 둥근 모서리 162">
                  <a:extLst>
                    <a:ext uri="{FF2B5EF4-FFF2-40B4-BE49-F238E27FC236}">
                      <a16:creationId xmlns:a16="http://schemas.microsoft.com/office/drawing/2014/main" id="{B3E35D27-CBA1-495F-9F28-AA865B25168B}"/>
                    </a:ext>
                  </a:extLst>
                </p:cNvPr>
                <p:cNvSpPr/>
                <p:nvPr/>
              </p:nvSpPr>
              <p:spPr>
                <a:xfrm>
                  <a:off x="3438004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투자</a:t>
                  </a:r>
                </a:p>
              </p:txBody>
            </p:sp>
            <p:sp>
              <p:nvSpPr>
                <p:cNvPr id="164" name="직사각형 163">
                  <a:extLst>
                    <a:ext uri="{FF2B5EF4-FFF2-40B4-BE49-F238E27FC236}">
                      <a16:creationId xmlns:a16="http://schemas.microsoft.com/office/drawing/2014/main" id="{D875F3D8-AB27-49B3-975A-0FDF5C0F91A9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65" name="직사각형 164">
                  <a:extLst>
                    <a:ext uri="{FF2B5EF4-FFF2-40B4-BE49-F238E27FC236}">
                      <a16:creationId xmlns:a16="http://schemas.microsoft.com/office/drawing/2014/main" id="{3169D8AB-C974-4233-9EFA-D2948FA8FB8A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금융기관에게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이 갖는 </a:t>
                  </a:r>
                  <a:r>
                    <a:rPr lang="ko-KR" altLang="en-US" sz="800" b="1" dirty="0" err="1">
                      <a:solidFill>
                        <a:schemeClr val="tx1"/>
                      </a:solidFill>
                    </a:rPr>
                    <a:t>의미란</a:t>
                  </a:r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66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B562B636-BC3C-4332-B5D5-D4C5B3DE7A5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49" name="그룹 148">
                <a:extLst>
                  <a:ext uri="{FF2B5EF4-FFF2-40B4-BE49-F238E27FC236}">
                    <a16:creationId xmlns:a16="http://schemas.microsoft.com/office/drawing/2014/main" id="{60EA0017-646B-4A95-9A83-1861CDD4B62D}"/>
                  </a:ext>
                </a:extLst>
              </p:cNvPr>
              <p:cNvGrpSpPr/>
              <p:nvPr/>
            </p:nvGrpSpPr>
            <p:grpSpPr>
              <a:xfrm>
                <a:off x="4885679" y="3828801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56" name="사각형: 둥근 모서리 155">
                  <a:extLst>
                    <a:ext uri="{FF2B5EF4-FFF2-40B4-BE49-F238E27FC236}">
                      <a16:creationId xmlns:a16="http://schemas.microsoft.com/office/drawing/2014/main" id="{53791235-5586-4D58-8058-AC6C67EFDEDF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57" name="사각형: 둥근 모서리 156">
                  <a:extLst>
                    <a:ext uri="{FF2B5EF4-FFF2-40B4-BE49-F238E27FC236}">
                      <a16:creationId xmlns:a16="http://schemas.microsoft.com/office/drawing/2014/main" id="{45052E20-6179-4FD9-B92A-7F15512EA6CE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58" name="직사각형 157">
                  <a:extLst>
                    <a:ext uri="{FF2B5EF4-FFF2-40B4-BE49-F238E27FC236}">
                      <a16:creationId xmlns:a16="http://schemas.microsoft.com/office/drawing/2014/main" id="{ACB46B57-D3AC-40CA-A1EF-08BA6D2E9095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59" name="직사각형 158">
                  <a:extLst>
                    <a:ext uri="{FF2B5EF4-FFF2-40B4-BE49-F238E27FC236}">
                      <a16:creationId xmlns:a16="http://schemas.microsoft.com/office/drawing/2014/main" id="{D2445BE7-1D6D-4B7A-950C-0779E900DAC8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개념 및 이해</a:t>
                  </a:r>
                  <a:endParaRPr lang="en-US" altLang="ko-KR" sz="800" b="1" dirty="0">
                    <a:solidFill>
                      <a:schemeClr val="tx1"/>
                    </a:solidFill>
                  </a:endParaRPr>
                </a:p>
                <a:p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60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F7D55DD5-6447-43C5-9EE7-F2C1447C381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50" name="그룹 149">
                <a:extLst>
                  <a:ext uri="{FF2B5EF4-FFF2-40B4-BE49-F238E27FC236}">
                    <a16:creationId xmlns:a16="http://schemas.microsoft.com/office/drawing/2014/main" id="{F720793E-65D6-4FA4-B8CD-467800E3FCF6}"/>
                  </a:ext>
                </a:extLst>
              </p:cNvPr>
              <p:cNvGrpSpPr/>
              <p:nvPr/>
            </p:nvGrpSpPr>
            <p:grpSpPr>
              <a:xfrm>
                <a:off x="6840446" y="382303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51" name="사각형: 둥근 모서리 150">
                  <a:extLst>
                    <a:ext uri="{FF2B5EF4-FFF2-40B4-BE49-F238E27FC236}">
                      <a16:creationId xmlns:a16="http://schemas.microsoft.com/office/drawing/2014/main" id="{9DD1B380-DF21-4A70-BB19-A404AF450638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52" name="사각형: 둥근 모서리 151">
                  <a:extLst>
                    <a:ext uri="{FF2B5EF4-FFF2-40B4-BE49-F238E27FC236}">
                      <a16:creationId xmlns:a16="http://schemas.microsoft.com/office/drawing/2014/main" id="{1EE817A3-EBFC-4521-B259-E4A3D08C558C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699D6C7F-351F-47EF-A727-1F1EA7E83F8C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영상</a:t>
                  </a:r>
                </a:p>
              </p:txBody>
            </p:sp>
            <p:sp>
              <p:nvSpPr>
                <p:cNvPr id="154" name="직사각형 153">
                  <a:extLst>
                    <a:ext uri="{FF2B5EF4-FFF2-40B4-BE49-F238E27FC236}">
                      <a16:creationId xmlns:a16="http://schemas.microsoft.com/office/drawing/2014/main" id="{9F65FE01-23FD-4D6B-AA4C-67FBC8F0A1B1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중소중견기업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온라인 교육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: ESG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이해</a:t>
                  </a:r>
                </a:p>
              </p:txBody>
            </p:sp>
            <p:pic>
              <p:nvPicPr>
                <p:cNvPr id="155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6D7B2FBF-D2B2-4F61-9AC0-22B2C8CB1D9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0C342341-04C8-439D-92F2-2C65F1BA148E}"/>
                </a:ext>
              </a:extLst>
            </p:cNvPr>
            <p:cNvSpPr/>
            <p:nvPr/>
          </p:nvSpPr>
          <p:spPr>
            <a:xfrm>
              <a:off x="479425" y="4797152"/>
              <a:ext cx="8353425" cy="240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관련 컨텐츠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3DC630AF-E6E6-4CD4-B37A-B68088C920F6}"/>
              </a:ext>
            </a:extLst>
          </p:cNvPr>
          <p:cNvGrpSpPr/>
          <p:nvPr/>
        </p:nvGrpSpPr>
        <p:grpSpPr>
          <a:xfrm>
            <a:off x="8973779" y="0"/>
            <a:ext cx="3218221" cy="1106461"/>
            <a:chOff x="8943505" y="2215647"/>
            <a:chExt cx="3218221" cy="1106461"/>
          </a:xfrm>
        </p:grpSpPr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50F6C030-93BC-4A98-BFFF-016CE5A7E32B}"/>
                </a:ext>
              </a:extLst>
            </p:cNvPr>
            <p:cNvSpPr/>
            <p:nvPr/>
          </p:nvSpPr>
          <p:spPr>
            <a:xfrm>
              <a:off x="8943505" y="2215647"/>
              <a:ext cx="3218221" cy="110646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ap="sq" cmpd="sng" algn="ctr">
              <a:solidFill>
                <a:srgbClr val="D04A02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914400">
                <a:lnSpc>
                  <a:spcPct val="110000"/>
                </a:lnSpc>
              </a:pP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&lt;23.08.29&gt;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기획서 통합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∙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‘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관련 컨텐츠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’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영역을 디자인 시안에 맞게 변경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(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유형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+</a:t>
              </a:r>
              <a:r>
                <a:rPr lang="ko-KR" altLang="en-US" sz="800" b="1" kern="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컨텐츠종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제목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 </a:t>
              </a:r>
              <a:b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</a:b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업무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주제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토픽키워드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제목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)</a:t>
              </a: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단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,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디자인 시안에 문서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/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영상 구분 박스 필요함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69" name="그림 168">
              <a:extLst>
                <a:ext uri="{FF2B5EF4-FFF2-40B4-BE49-F238E27FC236}">
                  <a16:creationId xmlns:a16="http://schemas.microsoft.com/office/drawing/2014/main" id="{4CC3412B-F4F5-4782-860F-187CEFABA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109843" y="2276872"/>
              <a:ext cx="990266" cy="976464"/>
            </a:xfrm>
            <a:prstGeom prst="rect">
              <a:avLst/>
            </a:prstGeom>
          </p:spPr>
        </p:pic>
      </p:grp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3D3D8523-342A-4C8C-9709-C5E051EC35C6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55D1466A-11BE-44E7-8FF8-21ECC148B7AB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B526FB45-BA83-42C4-A1AA-93DAD060D4F9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71880906-FFE5-46FE-AECA-0966FC87DD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763057" y="2184513"/>
            <a:ext cx="2035746" cy="4219011"/>
          </a:xfrm>
          <a:prstGeom prst="rect">
            <a:avLst/>
          </a:prstGeom>
        </p:spPr>
      </p:pic>
      <p:sp>
        <p:nvSpPr>
          <p:cNvPr id="78" name="직사각형 77">
            <a:extLst>
              <a:ext uri="{FF2B5EF4-FFF2-40B4-BE49-F238E27FC236}">
                <a16:creationId xmlns:a16="http://schemas.microsoft.com/office/drawing/2014/main" id="{7F16D5A1-83BF-41B8-ACB2-3A1B60B1C808}"/>
              </a:ext>
            </a:extLst>
          </p:cNvPr>
          <p:cNvSpPr/>
          <p:nvPr/>
        </p:nvSpPr>
        <p:spPr>
          <a:xfrm>
            <a:off x="-1608856" y="2999857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 수립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251CCDF-89C3-44BE-AE05-D237FC6F67B4}"/>
              </a:ext>
            </a:extLst>
          </p:cNvPr>
          <p:cNvSpPr/>
          <p:nvPr/>
        </p:nvSpPr>
        <p:spPr>
          <a:xfrm>
            <a:off x="-1608856" y="3212153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체계 수립</a:t>
            </a:r>
          </a:p>
        </p:txBody>
      </p:sp>
    </p:spTree>
    <p:extLst>
      <p:ext uri="{BB962C8B-B14F-4D97-AF65-F5344CB8AC3E}">
        <p14:creationId xmlns:p14="http://schemas.microsoft.com/office/powerpoint/2010/main" val="187199991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직사각형 56">
            <a:extLst>
              <a:ext uri="{FF2B5EF4-FFF2-40B4-BE49-F238E27FC236}">
                <a16:creationId xmlns:a16="http://schemas.microsoft.com/office/drawing/2014/main" id="{94F3346F-C8B1-4663-9DDD-FC7B480F57D5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 계획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체계 수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3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63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EB677E1D-EAD0-4931-AB39-2DC25A4586C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략 계획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5E55870E-6A3B-4BA1-AA4B-4C3ADFDB361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A44D708-DFD2-46E0-8E1A-2C054E18795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EC3BC06-490C-4E64-B37F-A55D0B447EEA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789531DA-1A95-40F2-85A7-83C831328D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FC034C08-04A2-4A1A-A5CF-A23E737ACD58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B6FE5B43-788E-4590-A525-94D6F8F45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552BFA2-4DA0-487F-8897-D6413E20EA35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212909AB-D63A-41C6-9A46-94864C4B402A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48" name="사각형: 둥근 위쪽 모서리 47">
              <a:extLst>
                <a:ext uri="{FF2B5EF4-FFF2-40B4-BE49-F238E27FC236}">
                  <a16:creationId xmlns:a16="http://schemas.microsoft.com/office/drawing/2014/main" id="{F65C60C8-2D6A-482B-A2BB-DB93FE28BE18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전략 수립</a:t>
              </a:r>
            </a:p>
          </p:txBody>
        </p:sp>
        <p:sp>
          <p:nvSpPr>
            <p:cNvPr id="49" name="사각형: 둥근 위쪽 모서리 48">
              <a:extLst>
                <a:ext uri="{FF2B5EF4-FFF2-40B4-BE49-F238E27FC236}">
                  <a16:creationId xmlns:a16="http://schemas.microsoft.com/office/drawing/2014/main" id="{3012978B-B1AF-4119-A8E1-9ADF7953590E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체계 수립</a:t>
              </a:r>
            </a:p>
          </p:txBody>
        </p:sp>
      </p:grp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2D91E97B-55AC-4E41-BC6B-2E7EE011B4FD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2CA287F0-4A57-4B9A-8FDD-3B2CFB273E8A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6E583C5E-4FB8-47E4-A16A-BA960C68BEB2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F5F84903-2C3B-4495-B8BF-4F19430760BD}"/>
              </a:ext>
            </a:extLst>
          </p:cNvPr>
          <p:cNvSpPr/>
          <p:nvPr/>
        </p:nvSpPr>
        <p:spPr>
          <a:xfrm>
            <a:off x="550865" y="2920881"/>
            <a:ext cx="8212842" cy="13411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CD6A1666-F9CA-4C1F-B3ED-EF5180E7DB8C}"/>
              </a:ext>
            </a:extLst>
          </p:cNvPr>
          <p:cNvSpPr/>
          <p:nvPr/>
        </p:nvSpPr>
        <p:spPr>
          <a:xfrm>
            <a:off x="479425" y="2963589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삼일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서비스 안내</a:t>
            </a: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BF63E130-64BE-49FE-8E08-37DE5189641C}"/>
              </a:ext>
            </a:extLst>
          </p:cNvPr>
          <p:cNvSpPr/>
          <p:nvPr/>
        </p:nvSpPr>
        <p:spPr>
          <a:xfrm>
            <a:off x="735379" y="3196662"/>
            <a:ext cx="3983660" cy="520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ESG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관리체계 수립 컨설팅</a:t>
            </a:r>
            <a:b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- Rule &amp; Policy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설정 및 재정비</a:t>
            </a:r>
            <a:b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영역별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KPI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정의 등</a:t>
            </a:r>
            <a:endParaRPr lang="en-US" altLang="ko-KR" sz="800" dirty="0">
              <a:solidFill>
                <a:prstClr val="black"/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C38560E8-DB61-419A-8435-E758281DD9D2}"/>
              </a:ext>
            </a:extLst>
          </p:cNvPr>
          <p:cNvGrpSpPr/>
          <p:nvPr/>
        </p:nvGrpSpPr>
        <p:grpSpPr>
          <a:xfrm>
            <a:off x="4898222" y="3196659"/>
            <a:ext cx="3459759" cy="900853"/>
            <a:chOff x="3738568" y="4473311"/>
            <a:chExt cx="2758118" cy="900853"/>
          </a:xfrm>
        </p:grpSpPr>
        <p:grpSp>
          <p:nvGrpSpPr>
            <p:cNvPr id="77" name="그룹 76">
              <a:extLst>
                <a:ext uri="{FF2B5EF4-FFF2-40B4-BE49-F238E27FC236}">
                  <a16:creationId xmlns:a16="http://schemas.microsoft.com/office/drawing/2014/main" id="{03E86FE2-4D5D-49C3-BD24-CA24D4BA55BB}"/>
                </a:ext>
              </a:extLst>
            </p:cNvPr>
            <p:cNvGrpSpPr/>
            <p:nvPr/>
          </p:nvGrpSpPr>
          <p:grpSpPr>
            <a:xfrm>
              <a:off x="3738568" y="4473311"/>
              <a:ext cx="2758118" cy="900853"/>
              <a:chOff x="3662622" y="3994117"/>
              <a:chExt cx="3054276" cy="942524"/>
            </a:xfrm>
          </p:grpSpPr>
          <p:sp>
            <p:nvSpPr>
              <p:cNvPr id="79" name="사각형: 둥근 모서리 78">
                <a:extLst>
                  <a:ext uri="{FF2B5EF4-FFF2-40B4-BE49-F238E27FC236}">
                    <a16:creationId xmlns:a16="http://schemas.microsoft.com/office/drawing/2014/main" id="{32E8C459-EBB4-4E78-982B-7807F49247F8}"/>
                  </a:ext>
                </a:extLst>
              </p:cNvPr>
              <p:cNvSpPr/>
              <p:nvPr/>
            </p:nvSpPr>
            <p:spPr>
              <a:xfrm>
                <a:off x="3715463" y="3994117"/>
                <a:ext cx="2843252" cy="942524"/>
              </a:xfrm>
              <a:prstGeom prst="roundRect">
                <a:avLst>
                  <a:gd name="adj" fmla="val 8806"/>
                </a:avLst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92CEF0AF-B5D8-4587-9686-266C8C79FB57}"/>
                  </a:ext>
                </a:extLst>
              </p:cNvPr>
              <p:cNvSpPr/>
              <p:nvPr/>
            </p:nvSpPr>
            <p:spPr>
              <a:xfrm>
                <a:off x="3662622" y="4296303"/>
                <a:ext cx="3054276" cy="312540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삼일회계법인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Assurance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본부 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ko-KR" altLang="en-US" sz="8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권미엽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  | 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이진규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1D57388A-AF8C-4325-A99A-1D50C1F92958}"/>
                  </a:ext>
                </a:extLst>
              </p:cNvPr>
              <p:cNvSpPr/>
              <p:nvPr/>
            </p:nvSpPr>
            <p:spPr>
              <a:xfrm>
                <a:off x="3662622" y="4099935"/>
                <a:ext cx="1600740" cy="118117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●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담당 부서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113" name="Picture 2" descr="집 ">
                <a:extLst>
                  <a:ext uri="{FF2B5EF4-FFF2-40B4-BE49-F238E27FC236}">
                    <a16:creationId xmlns:a16="http://schemas.microsoft.com/office/drawing/2014/main" id="{F781BBCF-B1B0-4A2F-BD95-EA4ED267B9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7863" y="4283616"/>
                <a:ext cx="94162" cy="94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3B8A450A-F16D-4DE0-927A-0002968FB78C}"/>
                </a:ext>
              </a:extLst>
            </p:cNvPr>
            <p:cNvCxnSpPr>
              <a:cxnSpLocks/>
            </p:cNvCxnSpPr>
            <p:nvPr/>
          </p:nvCxnSpPr>
          <p:spPr>
            <a:xfrm>
              <a:off x="3856339" y="4872866"/>
              <a:ext cx="1124121" cy="0"/>
            </a:xfrm>
            <a:prstGeom prst="line">
              <a:avLst/>
            </a:prstGeom>
            <a:ln w="28575">
              <a:solidFill>
                <a:srgbClr val="C04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9DBACCAD-F764-4921-AC32-FE4E2873378D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E1D1A24F-D3E8-4922-8B72-D3875CEAA26E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2A969097-4571-47D3-89EF-18224CA8B88A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253D6307-3C1B-41DC-BC53-373B5201EFAC}"/>
                  </a:ext>
                </a:extLst>
              </p:cNvPr>
              <p:cNvSpPr/>
              <p:nvPr/>
            </p:nvSpPr>
            <p:spPr>
              <a:xfrm>
                <a:off x="9201495" y="467369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723B29F0-BBBF-4F69-9DC7-3C112DE6B745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1" name="직사각형 120">
                <a:extLst>
                  <a:ext uri="{FF2B5EF4-FFF2-40B4-BE49-F238E27FC236}">
                    <a16:creationId xmlns:a16="http://schemas.microsoft.com/office/drawing/2014/main" id="{B2E650B7-4B98-446D-96CC-8E41F20F7F36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4E3CF868-4020-4F0C-8DCC-1A20FF36784D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7561D0F7-CB74-4E3B-9C1A-2270FB71D012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6CAD5E7F-0F48-4B67-ACFF-5F3DA06DD781}"/>
              </a:ext>
            </a:extLst>
          </p:cNvPr>
          <p:cNvSpPr/>
          <p:nvPr/>
        </p:nvSpPr>
        <p:spPr>
          <a:xfrm>
            <a:off x="4852897" y="3308260"/>
            <a:ext cx="3550408" cy="671524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리스트 제거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/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5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DD31C70E-17F9-422A-A021-8B0555BAA8A7}"/>
              </a:ext>
            </a:extLst>
          </p:cNvPr>
          <p:cNvSpPr/>
          <p:nvPr/>
        </p:nvSpPr>
        <p:spPr>
          <a:xfrm>
            <a:off x="735379" y="3789879"/>
            <a:ext cx="3983659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064300AD-1BF4-42F6-B36E-E67E5D0CEB8A}"/>
              </a:ext>
            </a:extLst>
          </p:cNvPr>
          <p:cNvSpPr/>
          <p:nvPr/>
        </p:nvSpPr>
        <p:spPr>
          <a:xfrm>
            <a:off x="8972055" y="1"/>
            <a:ext cx="3218221" cy="6031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‘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 서비스 문의하기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‘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버튼 위치를 디자인 시안과 같이 왼쪽으로 이동</a:t>
            </a:r>
            <a:endParaRPr lang="en-US" altLang="ko-KR" sz="80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2C4535DF-EEFE-4873-8520-8C23C7BF7847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E7787D98-8E03-484E-A995-A86BC4F8238E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A81391A5-A1EB-4DE7-81FF-CE9FBB0E2234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06048068-5150-42AF-B719-D2EA66714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747918" y="1577270"/>
            <a:ext cx="2035746" cy="4219011"/>
          </a:xfrm>
          <a:prstGeom prst="rect">
            <a:avLst/>
          </a:prstGeom>
        </p:spPr>
      </p:pic>
      <p:sp>
        <p:nvSpPr>
          <p:cNvPr id="59" name="직사각형 58">
            <a:extLst>
              <a:ext uri="{FF2B5EF4-FFF2-40B4-BE49-F238E27FC236}">
                <a16:creationId xmlns:a16="http://schemas.microsoft.com/office/drawing/2014/main" id="{50360997-3AA3-4032-A576-215DCA3BC0D8}"/>
              </a:ext>
            </a:extLst>
          </p:cNvPr>
          <p:cNvSpPr/>
          <p:nvPr/>
        </p:nvSpPr>
        <p:spPr>
          <a:xfrm>
            <a:off x="-1576427" y="2368043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 수립</a:t>
            </a: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E52EA38D-4B8A-41D5-8DAD-45CA2E79DDD3}"/>
              </a:ext>
            </a:extLst>
          </p:cNvPr>
          <p:cNvSpPr/>
          <p:nvPr/>
        </p:nvSpPr>
        <p:spPr>
          <a:xfrm>
            <a:off x="-1576427" y="2580339"/>
            <a:ext cx="1224136" cy="240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체계 수립</a:t>
            </a:r>
          </a:p>
        </p:txBody>
      </p:sp>
    </p:spTree>
    <p:extLst>
      <p:ext uri="{BB962C8B-B14F-4D97-AF65-F5344CB8AC3E}">
        <p14:creationId xmlns:p14="http://schemas.microsoft.com/office/powerpoint/2010/main" val="48531587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직사각형 69">
            <a:extLst>
              <a:ext uri="{FF2B5EF4-FFF2-40B4-BE49-F238E27FC236}">
                <a16:creationId xmlns:a16="http://schemas.microsoft.com/office/drawing/2014/main" id="{BF5A46A8-A0A1-4FBA-B078-0D7A8042759A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51969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itle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별 고정 설명 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의 탭 이동과 무관하게 내용 고정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P004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가이드 소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현재 화면명과 동일한 목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현재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하여 탭 간 이동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355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경영활동별 ‘더 알아보기 ▶’ 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과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 과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 금융 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경영가이드 내용 엑셀 내 매핑 테이블 추가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04463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16D3F20-8DA0-49A6-8E41-B6FC02750BE7}"/>
              </a:ext>
            </a:extLst>
          </p:cNvPr>
          <p:cNvSpPr/>
          <p:nvPr/>
        </p:nvSpPr>
        <p:spPr>
          <a:xfrm>
            <a:off x="550863" y="4330691"/>
            <a:ext cx="1225713" cy="1017651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온실가스 배출량 측정 및 개선</a:t>
            </a:r>
            <a:endParaRPr lang="en-US" altLang="ko-KR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E8E30EB8-6538-4FD7-9CF6-42F8FE7D8F67}"/>
              </a:ext>
            </a:extLst>
          </p:cNvPr>
          <p:cNvSpPr/>
          <p:nvPr/>
        </p:nvSpPr>
        <p:spPr>
          <a:xfrm>
            <a:off x="1832069" y="4275183"/>
            <a:ext cx="6820706" cy="1073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국가 온실가스 목표 관리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온실가스 </a:t>
            </a:r>
            <a:r>
              <a:rPr lang="ko-KR" altLang="en-US" sz="900" dirty="0" err="1">
                <a:solidFill>
                  <a:schemeClr val="tx1"/>
                </a:solidFill>
              </a:rPr>
              <a:t>배출권</a:t>
            </a:r>
            <a:r>
              <a:rPr lang="ko-KR" altLang="en-US" sz="900" dirty="0">
                <a:solidFill>
                  <a:schemeClr val="tx1"/>
                </a:solidFill>
              </a:rPr>
              <a:t> 거래제 등에 대한 대응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보고 경계와 온실가스 측정 범위 설정</a:t>
            </a:r>
            <a:r>
              <a:rPr lang="en-US" altLang="ko-KR" sz="900" dirty="0">
                <a:solidFill>
                  <a:schemeClr val="tx1"/>
                </a:solidFill>
              </a:rPr>
              <a:t>, Scope 1&amp;2 </a:t>
            </a:r>
            <a:r>
              <a:rPr lang="ko-KR" altLang="en-US" sz="900" dirty="0">
                <a:solidFill>
                  <a:schemeClr val="tx1"/>
                </a:solidFill>
              </a:rPr>
              <a:t>온실가스 배출량 측정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</a:rPr>
              <a:t>Scope 3 </a:t>
            </a:r>
            <a:r>
              <a:rPr lang="ko-KR" altLang="en-US" sz="900" dirty="0" err="1">
                <a:solidFill>
                  <a:schemeClr val="tx1"/>
                </a:solidFill>
              </a:rPr>
              <a:t>스크리닝과</a:t>
            </a:r>
            <a:r>
              <a:rPr lang="ko-KR" altLang="en-US" sz="900" dirty="0">
                <a:solidFill>
                  <a:schemeClr val="tx1"/>
                </a:solidFill>
              </a:rPr>
              <a:t> </a:t>
            </a:r>
            <a:r>
              <a:rPr lang="en-US" altLang="ko-KR" sz="900" dirty="0">
                <a:solidFill>
                  <a:schemeClr val="tx1"/>
                </a:solidFill>
              </a:rPr>
              <a:t>Scope 3 </a:t>
            </a:r>
            <a:r>
              <a:rPr lang="ko-KR" altLang="en-US" sz="900" dirty="0">
                <a:solidFill>
                  <a:schemeClr val="tx1"/>
                </a:solidFill>
              </a:rPr>
              <a:t>온실가스 배출량 측정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탄소중립 목표 및 감축 이행 방안 수립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저탄소 포트폴리오 전환 방안 검토</a:t>
            </a:r>
          </a:p>
          <a:p>
            <a:pPr marL="179388" indent="-17938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탄소중립 이니셔티브</a:t>
            </a:r>
            <a:r>
              <a:rPr lang="en-US" altLang="ko-KR" sz="900" dirty="0">
                <a:solidFill>
                  <a:schemeClr val="tx1"/>
                </a:solidFill>
              </a:rPr>
              <a:t>(CDP, SBTi </a:t>
            </a:r>
            <a:r>
              <a:rPr lang="ko-KR" altLang="en-US" sz="900" dirty="0">
                <a:solidFill>
                  <a:schemeClr val="tx1"/>
                </a:solidFill>
              </a:rPr>
              <a:t>등</a:t>
            </a:r>
            <a:r>
              <a:rPr lang="en-US" altLang="ko-KR" sz="900" dirty="0">
                <a:solidFill>
                  <a:schemeClr val="tx1"/>
                </a:solidFill>
              </a:rPr>
              <a:t>) </a:t>
            </a:r>
            <a:r>
              <a:rPr lang="ko-KR" altLang="en-US" sz="900" dirty="0">
                <a:solidFill>
                  <a:schemeClr val="tx1"/>
                </a:solidFill>
              </a:rPr>
              <a:t>가입 및 필수 이행 사항 주기적 공시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7"/>
            <a:ext cx="8208962" cy="8830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은 자사의 경영활동이 환경에 미치는 영향을 인식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속가능한 발전을 위해 환경 영향 및 오염을 최소화해야 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최근 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기후 변화 대응 및 자연 자본 보전</a:t>
            </a:r>
            <a:r>
              <a:rPr lang="en-US" altLang="ko-KR" sz="900" dirty="0">
                <a:solidFill>
                  <a:schemeClr val="tx1"/>
                </a:solidFill>
              </a:rPr>
              <a:t>'</a:t>
            </a:r>
            <a:r>
              <a:rPr lang="ko-KR" altLang="en-US" sz="900" dirty="0">
                <a:solidFill>
                  <a:schemeClr val="tx1"/>
                </a:solidFill>
              </a:rPr>
              <a:t>이 중요한 경영 이슈로 대두되고 있으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와 관련된 법률 준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 관심 사항 및 업종 특성을 고려한 경영관리가 필요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환경 </a:t>
            </a:r>
            <a:r>
              <a:rPr lang="ko-KR" altLang="en-US" sz="900" dirty="0" err="1">
                <a:solidFill>
                  <a:schemeClr val="tx1"/>
                </a:solidFill>
              </a:rPr>
              <a:t>이슈별</a:t>
            </a:r>
            <a:r>
              <a:rPr lang="ko-KR" altLang="en-US" sz="900" dirty="0">
                <a:solidFill>
                  <a:schemeClr val="tx1"/>
                </a:solidFill>
              </a:rPr>
              <a:t> 사업목표와 계획 수립부터 이에 대한 정책과 프로그램 </a:t>
            </a:r>
            <a:r>
              <a:rPr lang="ko-KR" altLang="en-US" sz="900" dirty="0" err="1">
                <a:solidFill>
                  <a:schemeClr val="tx1"/>
                </a:solidFill>
              </a:rPr>
              <a:t>기획∙운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필수 지표 측정 및 모니터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과제이행에 대한 성과 평가까지 모든 업무가 유기적으로 연계되어야 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러한 과정 내에서 친환경 인증 및 환경 이니셔티브 가입도 함께 추진할 수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2373F179-C184-4ED1-8658-C1E09ADAA341}"/>
              </a:ext>
            </a:extLst>
          </p:cNvPr>
          <p:cNvSpPr/>
          <p:nvPr/>
        </p:nvSpPr>
        <p:spPr>
          <a:xfrm>
            <a:off x="550863" y="5497530"/>
            <a:ext cx="1225713" cy="801620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친환경 </a:t>
            </a:r>
            <a:b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제품 ∙ 서비스 개발 및 관리</a:t>
            </a:r>
            <a:endParaRPr lang="en-US" altLang="ko-KR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FB8C596F-A3F9-4459-845E-5C33EADF5E2B}"/>
              </a:ext>
            </a:extLst>
          </p:cNvPr>
          <p:cNvSpPr/>
          <p:nvPr/>
        </p:nvSpPr>
        <p:spPr>
          <a:xfrm>
            <a:off x="1832069" y="5550878"/>
            <a:ext cx="5848107" cy="539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marR="0" lvl="0" indent="-179388" fontAlgn="auto">
              <a:lnSpc>
                <a:spcPct val="12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dirty="0">
                <a:solidFill>
                  <a:schemeClr val="tx1"/>
                </a:solidFill>
              </a:rPr>
              <a:t>제품</a:t>
            </a:r>
            <a:r>
              <a:rPr lang="en-US" altLang="ko-KR" sz="900" dirty="0">
                <a:solidFill>
                  <a:schemeClr val="tx1"/>
                </a:solidFill>
              </a:rPr>
              <a:t>·</a:t>
            </a:r>
            <a:r>
              <a:rPr lang="ko-KR" altLang="en-US" sz="900" dirty="0">
                <a:solidFill>
                  <a:schemeClr val="tx1"/>
                </a:solidFill>
              </a:rPr>
              <a:t>서비스 ‘</a:t>
            </a:r>
            <a:r>
              <a:rPr lang="ko-KR" altLang="en-US" sz="900" dirty="0" err="1">
                <a:solidFill>
                  <a:schemeClr val="tx1"/>
                </a:solidFill>
              </a:rPr>
              <a:t>기획→설계→생산→유통→판매→사용→폐기</a:t>
            </a:r>
            <a:r>
              <a:rPr lang="ko-KR" altLang="en-US" sz="900" dirty="0">
                <a:solidFill>
                  <a:schemeClr val="tx1"/>
                </a:solidFill>
              </a:rPr>
              <a:t>’ 전 과정에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환경에 대한 긍정적 영향을 확대하고 부정적 영향을 감축하도록 계획 및 관리 활동 수행</a:t>
            </a:r>
          </a:p>
          <a:p>
            <a:pPr marL="179388" marR="0" lvl="0" indent="-179388" fontAlgn="auto">
              <a:lnSpc>
                <a:spcPct val="12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dirty="0" err="1">
                <a:solidFill>
                  <a:schemeClr val="tx1"/>
                </a:solidFill>
              </a:rPr>
              <a:t>제품∙서비스에</a:t>
            </a:r>
            <a:r>
              <a:rPr lang="ko-KR" altLang="en-US" sz="900" dirty="0">
                <a:solidFill>
                  <a:schemeClr val="tx1"/>
                </a:solidFill>
              </a:rPr>
              <a:t> 대한 국내</a:t>
            </a:r>
            <a:r>
              <a:rPr lang="en-US" altLang="ko-KR" sz="900" dirty="0">
                <a:solidFill>
                  <a:schemeClr val="tx1"/>
                </a:solidFill>
              </a:rPr>
              <a:t>·</a:t>
            </a:r>
            <a:r>
              <a:rPr lang="ko-KR" altLang="en-US" sz="900" dirty="0">
                <a:solidFill>
                  <a:schemeClr val="tx1"/>
                </a:solidFill>
              </a:rPr>
              <a:t>외 친환경 인증을 취득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인증 기준에 부합하도록 관리</a:t>
            </a: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B8B9047C-79E5-4A12-9F5A-58F4E2043BAB}"/>
              </a:ext>
            </a:extLst>
          </p:cNvPr>
          <p:cNvSpPr/>
          <p:nvPr/>
        </p:nvSpPr>
        <p:spPr>
          <a:xfrm>
            <a:off x="263361" y="19240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DD6E3695-15F5-4154-9402-0882788459FF}"/>
              </a:ext>
            </a:extLst>
          </p:cNvPr>
          <p:cNvSpPr/>
          <p:nvPr/>
        </p:nvSpPr>
        <p:spPr>
          <a:xfrm>
            <a:off x="263361" y="24868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E9A447F-4991-487B-8008-0EC00671CD04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15510C05-328B-44AD-83B0-801B30351ECF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11C0A4B5-F841-41B3-9FE8-2713267F23A6}"/>
              </a:ext>
            </a:extLst>
          </p:cNvPr>
          <p:cNvSpPr/>
          <p:nvPr/>
        </p:nvSpPr>
        <p:spPr>
          <a:xfrm>
            <a:off x="7959914" y="5090729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EABE600E-0219-4904-A1DC-BE06DCD9D5F5}"/>
              </a:ext>
            </a:extLst>
          </p:cNvPr>
          <p:cNvSpPr/>
          <p:nvPr/>
        </p:nvSpPr>
        <p:spPr>
          <a:xfrm>
            <a:off x="7959914" y="6063170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14B07C49-89B2-4E00-9BF7-9A8C40119C5C}"/>
              </a:ext>
            </a:extLst>
          </p:cNvPr>
          <p:cNvSpPr/>
          <p:nvPr/>
        </p:nvSpPr>
        <p:spPr>
          <a:xfrm>
            <a:off x="8972055" y="1"/>
            <a:ext cx="3218221" cy="11706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8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능 수정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: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경영활동별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‘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▶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’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버튼 클릭 시 </a:t>
            </a:r>
            <a:r>
              <a:rPr lang="ko-KR" altLang="en-US" sz="800" b="1" i="0" u="none" strike="noStrike" kern="1200" cap="none" spc="-3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매핑된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 화면</a:t>
            </a:r>
            <a:r>
              <a:rPr lang="en-US" altLang="ko-KR" sz="800" b="1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O001]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으로 이동</a:t>
            </a: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(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환경 과제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사회 과제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거버넌스 과제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지속가능 금융 탭에 추가됨</a:t>
            </a:r>
            <a:r>
              <a:rPr lang="en-US" altLang="ko-KR" sz="800" b="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b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</a:b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존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[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환경 과제이행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]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탭 별 토픽 이동 버튼 有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[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▶환경 관련 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Topic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페이지로 이동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]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버튼 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: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클릭 시 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[O001 –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큐레이션 메인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] (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환경 과제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)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으로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이동</a:t>
            </a:r>
            <a:r>
              <a:rPr lang="en-US" altLang="ko-KR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800" i="0" u="none" strike="noStrike" kern="1200" cap="none" spc="-3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en-US" altLang="ko-KR" sz="80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61155550-BB08-44F8-A8F3-18D754B7C236}"/>
              </a:ext>
            </a:extLst>
          </p:cNvPr>
          <p:cNvCxnSpPr>
            <a:cxnSpLocks/>
          </p:cNvCxnSpPr>
          <p:nvPr/>
        </p:nvCxnSpPr>
        <p:spPr>
          <a:xfrm>
            <a:off x="498469" y="5422936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FF54D7FE-925A-4580-BC29-91427753BD16}"/>
              </a:ext>
            </a:extLst>
          </p:cNvPr>
          <p:cNvSpPr/>
          <p:nvPr/>
        </p:nvSpPr>
        <p:spPr>
          <a:xfrm>
            <a:off x="7905603" y="50472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9160C6C2-9CA5-4FC7-A8B8-633EFD5D1ED0}"/>
              </a:ext>
            </a:extLst>
          </p:cNvPr>
          <p:cNvGraphicFramePr>
            <a:graphicFrameLocks noGrp="1"/>
          </p:cNvGraphicFramePr>
          <p:nvPr/>
        </p:nvGraphicFramePr>
        <p:xfrm>
          <a:off x="9375213" y="2450811"/>
          <a:ext cx="2723131" cy="1673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8432">
                  <a:extLst>
                    <a:ext uri="{9D8B030D-6E8A-4147-A177-3AD203B41FA5}">
                      <a16:colId xmlns:a16="http://schemas.microsoft.com/office/drawing/2014/main" val="2818263518"/>
                    </a:ext>
                  </a:extLst>
                </a:gridCol>
                <a:gridCol w="1144699">
                  <a:extLst>
                    <a:ext uri="{9D8B030D-6E8A-4147-A177-3AD203B41FA5}">
                      <a16:colId xmlns:a16="http://schemas.microsoft.com/office/drawing/2014/main" val="1332413703"/>
                    </a:ext>
                  </a:extLst>
                </a:gridCol>
              </a:tblGrid>
              <a:tr h="976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[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환경 과제</a:t>
                      </a:r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] 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탭 內 </a:t>
                      </a:r>
                      <a:b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주요 경영활동 </a:t>
                      </a:r>
                      <a:r>
                        <a:rPr lang="ko-KR" altLang="en-US" sz="800" u="none" strike="noStrike" dirty="0" err="1">
                          <a:solidFill>
                            <a:srgbClr val="FF0000"/>
                          </a:solidFill>
                          <a:effectLst/>
                        </a:rPr>
                        <a:t>활동명</a:t>
                      </a:r>
                      <a:endParaRPr lang="en-US" altLang="ko-KR" sz="800" b="1" i="0" u="none" strike="noStrike" dirty="0">
                        <a:solidFill>
                          <a:srgbClr val="FF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[</a:t>
                      </a:r>
                      <a:r>
                        <a:rPr lang="ko-KR" altLang="en-US" sz="800" u="none" strike="noStrike" dirty="0" err="1">
                          <a:solidFill>
                            <a:srgbClr val="FF0000"/>
                          </a:solidFill>
                          <a:effectLst/>
                        </a:rPr>
                        <a:t>더알아보기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▶</a:t>
                      </a:r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] 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클릭 시 </a:t>
                      </a:r>
                      <a:b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이동 화면</a:t>
                      </a:r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토픽</a:t>
                      </a:r>
                      <a:r>
                        <a:rPr lang="en-US" altLang="ko-KR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)</a:t>
                      </a:r>
                      <a:r>
                        <a:rPr lang="ko-KR" altLang="en-US" sz="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명</a:t>
                      </a:r>
                      <a:endParaRPr lang="ko-KR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1856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온실가스 배출량 측정 및 개선</a:t>
                      </a:r>
                      <a:endParaRPr lang="ko-KR" altLang="en-US" sz="800" b="1" i="0" u="none" strike="noStrike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 dirty="0">
                          <a:effectLst/>
                        </a:rPr>
                        <a:t>온실가스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3222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친환경 제품 ∙ 서비스 개발 및 관리</a:t>
                      </a:r>
                      <a:endParaRPr lang="ko-KR" altLang="en-US" sz="800" b="1" i="0" u="none" strike="noStrike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 dirty="0">
                          <a:effectLst/>
                        </a:rPr>
                        <a:t>친환경제품 및 기술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9164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생물다양성 보전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>
                          <a:effectLst/>
                        </a:rPr>
                        <a:t>생물다양성</a:t>
                      </a:r>
                      <a:endParaRPr lang="ko-KR" altLang="en-US" sz="800" b="1" i="0" u="none" strike="noStrike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6814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에너지</a:t>
                      </a:r>
                      <a:r>
                        <a:rPr lang="en-US" altLang="ko-KR" sz="800" u="none" strike="noStrike" dirty="0">
                          <a:effectLst/>
                        </a:rPr>
                        <a:t>·</a:t>
                      </a:r>
                      <a:r>
                        <a:rPr lang="ko-KR" altLang="en-US" sz="800" u="none" strike="noStrike" dirty="0">
                          <a:effectLst/>
                        </a:rPr>
                        <a:t>자원 관리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 dirty="0">
                          <a:effectLst/>
                        </a:rPr>
                        <a:t>에너지 전환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17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자원 관리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 dirty="0">
                          <a:effectLst/>
                        </a:rPr>
                        <a:t>자원 및 순환경제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4982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폐기물</a:t>
                      </a:r>
                      <a:r>
                        <a:rPr lang="en-US" altLang="ko-KR" sz="800" u="none" strike="noStrike">
                          <a:effectLst/>
                        </a:rPr>
                        <a:t>·</a:t>
                      </a:r>
                      <a:r>
                        <a:rPr lang="ko-KR" altLang="en-US" sz="800" u="none" strike="noStrike">
                          <a:effectLst/>
                        </a:rPr>
                        <a:t>오염물질 처리 관리</a:t>
                      </a:r>
                      <a:endParaRPr lang="ko-KR" altLang="en-US" sz="800" b="1" i="0" u="none" strike="noStrike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u="none" strike="noStrike" dirty="0">
                          <a:effectLst/>
                        </a:rPr>
                        <a:t>오염과 폐기물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2521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환경 과제이행 모니터링 및 관리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800" u="none" strike="noStrike" dirty="0">
                          <a:effectLst/>
                        </a:rPr>
                        <a:t>-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71774"/>
                  </a:ext>
                </a:extLst>
              </a:tr>
            </a:tbl>
          </a:graphicData>
        </a:graphic>
      </p:graphicFrame>
      <p:sp>
        <p:nvSpPr>
          <p:cNvPr id="59" name="직사각형 58">
            <a:extLst>
              <a:ext uri="{FF2B5EF4-FFF2-40B4-BE49-F238E27FC236}">
                <a16:creationId xmlns:a16="http://schemas.microsoft.com/office/drawing/2014/main" id="{AB9250A2-981B-498E-9BB1-29C5C230F4D2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C3775C70-46E6-4DA1-8713-366B45A517A4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0985F23D-677F-47B6-BBB2-D7CEBBC43BA8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9F320834-2465-4413-9AB1-3C8EB83DBD0E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D59CEBC4-69C6-4E39-9FDE-AF9A208FE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71" name="직사각형 70">
              <a:extLst>
                <a:ext uri="{FF2B5EF4-FFF2-40B4-BE49-F238E27FC236}">
                  <a16:creationId xmlns:a16="http://schemas.microsoft.com/office/drawing/2014/main" id="{F652BC3A-ADF1-4F98-A5CB-E814A5D71EC2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72" name="직사각형 71">
              <a:extLst>
                <a:ext uri="{FF2B5EF4-FFF2-40B4-BE49-F238E27FC236}">
                  <a16:creationId xmlns:a16="http://schemas.microsoft.com/office/drawing/2014/main" id="{DCEABF30-04A4-46F3-AE32-00F4A470B181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F98BA816-E857-43D1-B02F-A6ABBAF5BD9B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104069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직사각형 72">
            <a:extLst>
              <a:ext uri="{FF2B5EF4-FFF2-40B4-BE49-F238E27FC236}">
                <a16:creationId xmlns:a16="http://schemas.microsoft.com/office/drawing/2014/main" id="{670F531B-3CBB-4B82-9411-C359D3D1632C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2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0" name="표 39">
            <a:extLst>
              <a:ext uri="{FF2B5EF4-FFF2-40B4-BE49-F238E27FC236}">
                <a16:creationId xmlns:a16="http://schemas.microsoft.com/office/drawing/2014/main" id="{59CCBB45-47D1-43D3-B1E5-E68043D8975A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41" name="직사각형 40">
            <a:extLst>
              <a:ext uri="{FF2B5EF4-FFF2-40B4-BE49-F238E27FC236}">
                <a16:creationId xmlns:a16="http://schemas.microsoft.com/office/drawing/2014/main" id="{9A2B1236-3CAB-40BB-9372-8B22F4D6C631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2" name="표 10">
            <a:extLst>
              <a:ext uri="{FF2B5EF4-FFF2-40B4-BE49-F238E27FC236}">
                <a16:creationId xmlns:a16="http://schemas.microsoft.com/office/drawing/2014/main" id="{A872FB8C-DEA5-478C-8403-E6BF5172DECC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43" name="직사각형 42">
            <a:extLst>
              <a:ext uri="{FF2B5EF4-FFF2-40B4-BE49-F238E27FC236}">
                <a16:creationId xmlns:a16="http://schemas.microsoft.com/office/drawing/2014/main" id="{E3D44A18-4D27-4EDA-8BCA-A4619AC5AEF6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65F8294B-66B3-4A91-BC4D-9AD71905C84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1CA24FDA-2AF2-40B5-A6E3-FB69A7DEA054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4EA4DB19-13D1-4C9E-A396-33261B6F88EB}"/>
              </a:ext>
            </a:extLst>
          </p:cNvPr>
          <p:cNvSpPr/>
          <p:nvPr/>
        </p:nvSpPr>
        <p:spPr>
          <a:xfrm>
            <a:off x="549940" y="4220105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73031E97-B40F-470B-8286-60C608D53E5F}"/>
              </a:ext>
            </a:extLst>
          </p:cNvPr>
          <p:cNvSpPr/>
          <p:nvPr/>
        </p:nvSpPr>
        <p:spPr>
          <a:xfrm>
            <a:off x="550863" y="3573016"/>
            <a:ext cx="1225713" cy="474540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에너지 관리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FFC02D56-B9ED-4997-A47B-67AE51DB7531}"/>
              </a:ext>
            </a:extLst>
          </p:cNvPr>
          <p:cNvSpPr/>
          <p:nvPr/>
        </p:nvSpPr>
        <p:spPr>
          <a:xfrm>
            <a:off x="1832069" y="3573016"/>
            <a:ext cx="5941528" cy="4745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에너지 사용 관리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사업장의 에너지 사용량 측정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감축 목표 및 감축 방안 수립 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건물에너지관리시스템 운영 관리 및 에너지 효율성 제고 방안 수립</a:t>
            </a:r>
            <a:r>
              <a:rPr lang="en-US" altLang="ko-KR" sz="900" dirty="0">
                <a:solidFill>
                  <a:schemeClr val="tx1"/>
                </a:solidFill>
              </a:rPr>
              <a:t>)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 err="1">
                <a:solidFill>
                  <a:schemeClr val="tx1"/>
                </a:solidFill>
              </a:rPr>
              <a:t>신∙재생에너지</a:t>
            </a:r>
            <a:r>
              <a:rPr lang="ko-KR" altLang="en-US" sz="900" dirty="0">
                <a:solidFill>
                  <a:schemeClr val="tx1"/>
                </a:solidFill>
              </a:rPr>
              <a:t> 사용량 측정 및 활용 방안 수립</a:t>
            </a:r>
            <a:r>
              <a:rPr lang="en-US" altLang="ko-KR" sz="900" dirty="0">
                <a:solidFill>
                  <a:schemeClr val="tx1"/>
                </a:solidFill>
              </a:rPr>
              <a:t>, K-RE100∙RE100 </a:t>
            </a:r>
            <a:r>
              <a:rPr lang="ko-KR" altLang="en-US" sz="900" dirty="0">
                <a:solidFill>
                  <a:schemeClr val="tx1"/>
                </a:solidFill>
              </a:rPr>
              <a:t>가입 및 실행 방안 검토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C09E4D8D-945E-46D0-91C4-F87FE9080461}"/>
              </a:ext>
            </a:extLst>
          </p:cNvPr>
          <p:cNvSpPr/>
          <p:nvPr/>
        </p:nvSpPr>
        <p:spPr>
          <a:xfrm>
            <a:off x="550863" y="2809209"/>
            <a:ext cx="1225713" cy="612000"/>
          </a:xfrm>
          <a:prstGeom prst="roundRect">
            <a:avLst>
              <a:gd name="adj" fmla="val 1668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생물다양성 보전</a:t>
            </a:r>
            <a:endParaRPr lang="en-US" altLang="ko-KR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42966050-D794-4553-8DD2-BED8DBC1DBBF}"/>
              </a:ext>
            </a:extLst>
          </p:cNvPr>
          <p:cNvSpPr/>
          <p:nvPr/>
        </p:nvSpPr>
        <p:spPr>
          <a:xfrm>
            <a:off x="1832069" y="2828709"/>
            <a:ext cx="5941528" cy="557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marR="0" lvl="0" indent="-1793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dirty="0">
                <a:solidFill>
                  <a:schemeClr val="tx1"/>
                </a:solidFill>
              </a:rPr>
              <a:t>사업장 위치 및 사업 활동의 생물다양성 영향 검토 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보호지역 여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보호동식물 유무 등</a:t>
            </a:r>
            <a:r>
              <a:rPr lang="en-US" altLang="ko-KR" sz="900" dirty="0">
                <a:solidFill>
                  <a:schemeClr val="tx1"/>
                </a:solidFill>
              </a:rPr>
              <a:t>)</a:t>
            </a:r>
          </a:p>
          <a:p>
            <a:pPr marL="179388" marR="0" lvl="0" indent="-1793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dirty="0">
                <a:solidFill>
                  <a:schemeClr val="tx1"/>
                </a:solidFill>
              </a:rPr>
              <a:t>부정적 영향 모니터링 체계 수립 및 생태계 피해 복원 활동 수행</a:t>
            </a:r>
          </a:p>
          <a:p>
            <a:pPr marL="179388" marR="0" lvl="0" indent="-179388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dirty="0">
                <a:solidFill>
                  <a:schemeClr val="tx1"/>
                </a:solidFill>
              </a:rPr>
              <a:t>생물다양성 보전 정책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프로그램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투자 활동 등의 기획 및 추진 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0B351FE9-2032-4DDF-B435-1C1C7CAB268E}"/>
              </a:ext>
            </a:extLst>
          </p:cNvPr>
          <p:cNvCxnSpPr>
            <a:cxnSpLocks/>
          </p:cNvCxnSpPr>
          <p:nvPr/>
        </p:nvCxnSpPr>
        <p:spPr>
          <a:xfrm>
            <a:off x="498469" y="3501008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9DC68035-EBDC-48FF-920E-AA72963CE907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AACF43FD-A28B-4E8B-8EB4-B8A2FE4758AD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678458DB-5160-407B-9B67-B352CE5F720C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CE4C647F-7069-4E0D-B296-317F9C0D868C}"/>
                  </a:ext>
                </a:extLst>
              </p:cNvPr>
              <p:cNvSpPr/>
              <p:nvPr/>
            </p:nvSpPr>
            <p:spPr>
              <a:xfrm>
                <a:off x="9201495" y="272915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45DAADDC-B429-4271-AF98-162D8256864D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B42186D1-A8FA-4C78-BABC-E5884232EDC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1CCAC0F1-1E10-4D69-B90E-F0AF6A80119E}"/>
              </a:ext>
            </a:extLst>
          </p:cNvPr>
          <p:cNvCxnSpPr>
            <a:cxnSpLocks/>
          </p:cNvCxnSpPr>
          <p:nvPr/>
        </p:nvCxnSpPr>
        <p:spPr>
          <a:xfrm>
            <a:off x="498469" y="5191492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4C1BA5B1-5DD9-4BFF-BC83-71466603771C}"/>
              </a:ext>
            </a:extLst>
          </p:cNvPr>
          <p:cNvSpPr/>
          <p:nvPr/>
        </p:nvSpPr>
        <p:spPr>
          <a:xfrm>
            <a:off x="550863" y="5282354"/>
            <a:ext cx="1225713" cy="1008000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폐기물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·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오염물질 처리 관리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C595F670-E075-46B7-8491-F27642D1ADEF}"/>
              </a:ext>
            </a:extLst>
          </p:cNvPr>
          <p:cNvSpPr/>
          <p:nvPr/>
        </p:nvSpPr>
        <p:spPr>
          <a:xfrm>
            <a:off x="1832069" y="5320062"/>
            <a:ext cx="5941528" cy="929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폐기물 관리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324000" marR="0" lvl="0" indent="-18000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관련 법령 및 국내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ESG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기준에서 규정하는 폐기물의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배출량∙재활용율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측정 및 관리</a:t>
            </a:r>
          </a:p>
          <a:p>
            <a:pPr marL="324000" marR="0" lvl="0" indent="-18000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폐기물 처리 시설 유지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배출량 감축 방안 및 재활용율 제고 정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프로그램 기획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7717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오염물질 배출 관리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324000" marR="0" lvl="0" indent="-18000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관련 법령 및 국내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ESG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기준에서 규정하는 화학물질 사용량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대기오염물질 배출량 측정 및 관리</a:t>
            </a:r>
          </a:p>
          <a:p>
            <a:pPr marL="324000" marR="0" lvl="0" indent="-18000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오염물질 처리시설 유지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오염물질 저감활동 및 대기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수자원 보호 정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프로그램 기획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267929D6-A41B-455F-A8EF-25E3959152DD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64091B85-BE9B-40FD-828C-266A297762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8929E81-CB30-406D-9352-8A1B15ACEC2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8EBA09D7-DABA-4C8A-BB6A-24BB6B7C47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4A156814-499B-4B1A-B22A-044048EB7144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920B2455-01E7-4F11-A913-540361888C3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A12AFC78-2450-4978-9D97-5EA8BAB54960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E848DB3B-4205-4CEC-A815-61B4A42B799B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58" name="사각형: 둥근 위쪽 모서리 57">
              <a:extLst>
                <a:ext uri="{FF2B5EF4-FFF2-40B4-BE49-F238E27FC236}">
                  <a16:creationId xmlns:a16="http://schemas.microsoft.com/office/drawing/2014/main" id="{06709165-B807-439B-89D4-8084F669CB5B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60" name="사각형: 둥근 위쪽 모서리 59">
              <a:extLst>
                <a:ext uri="{FF2B5EF4-FFF2-40B4-BE49-F238E27FC236}">
                  <a16:creationId xmlns:a16="http://schemas.microsoft.com/office/drawing/2014/main" id="{98AF1F49-278A-4AD0-B5B1-D4E0285187AC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62" name="직선 연결선 61">
            <a:extLst>
              <a:ext uri="{FF2B5EF4-FFF2-40B4-BE49-F238E27FC236}">
                <a16:creationId xmlns:a16="http://schemas.microsoft.com/office/drawing/2014/main" id="{C0F368AF-2CCC-4775-8D58-0B843E300F18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DA96749-D62C-461C-9404-25DDC3977BD2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64" name="사각형: 둥근 위쪽 모서리 63">
              <a:extLst>
                <a:ext uri="{FF2B5EF4-FFF2-40B4-BE49-F238E27FC236}">
                  <a16:creationId xmlns:a16="http://schemas.microsoft.com/office/drawing/2014/main" id="{971C3FA1-5EAC-4027-B50D-F5976D4EFCEB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환경 과제이행</a:t>
              </a:r>
            </a:p>
          </p:txBody>
        </p:sp>
        <p:sp>
          <p:nvSpPr>
            <p:cNvPr id="66" name="사각형: 둥근 위쪽 모서리 65">
              <a:extLst>
                <a:ext uri="{FF2B5EF4-FFF2-40B4-BE49-F238E27FC236}">
                  <a16:creationId xmlns:a16="http://schemas.microsoft.com/office/drawing/2014/main" id="{B688AA7D-ADFD-425A-9140-FC6D69C9F465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67" name="사각형: 둥근 위쪽 모서리 66">
              <a:extLst>
                <a:ext uri="{FF2B5EF4-FFF2-40B4-BE49-F238E27FC236}">
                  <a16:creationId xmlns:a16="http://schemas.microsoft.com/office/drawing/2014/main" id="{7BE665D1-58BA-433A-8BF0-86640CE6F60F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68" name="사각형: 둥근 위쪽 모서리 67">
              <a:extLst>
                <a:ext uri="{FF2B5EF4-FFF2-40B4-BE49-F238E27FC236}">
                  <a16:creationId xmlns:a16="http://schemas.microsoft.com/office/drawing/2014/main" id="{7DDE1F83-4C53-46C6-8075-FABBA76CF569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69" name="사각형: 둥근 위쪽 모서리 68">
              <a:extLst>
                <a:ext uri="{FF2B5EF4-FFF2-40B4-BE49-F238E27FC236}">
                  <a16:creationId xmlns:a16="http://schemas.microsoft.com/office/drawing/2014/main" id="{80AF36BE-F225-469A-ADE7-7A171E61CD05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70" name="사각형: 둥근 위쪽 모서리 69">
              <a:extLst>
                <a:ext uri="{FF2B5EF4-FFF2-40B4-BE49-F238E27FC236}">
                  <a16:creationId xmlns:a16="http://schemas.microsoft.com/office/drawing/2014/main" id="{B960FD1D-4742-4C3F-93B0-EC4B1D9B556C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420CE57-3974-4C68-B480-C08BA3A89C36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0EAE07B0-35FC-4DAE-BE4F-1325D656B04E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971309D7-5A23-49E5-95D7-6A9371334279}"/>
              </a:ext>
            </a:extLst>
          </p:cNvPr>
          <p:cNvSpPr/>
          <p:nvPr/>
        </p:nvSpPr>
        <p:spPr>
          <a:xfrm>
            <a:off x="557088" y="4231905"/>
            <a:ext cx="1225713" cy="868721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원</a:t>
            </a:r>
            <a:b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관리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76E6B46B-D705-4529-B2C2-92149D1CE7C7}"/>
              </a:ext>
            </a:extLst>
          </p:cNvPr>
          <p:cNvSpPr/>
          <p:nvPr/>
        </p:nvSpPr>
        <p:spPr>
          <a:xfrm>
            <a:off x="1832069" y="4231905"/>
            <a:ext cx="5941528" cy="929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수자원 사용 관리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관련 법령 및 국내외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기준에서 규정하는 용수사용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재사용량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폐수 배출량 측정 및 관리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중수도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오∙폐수 처리시설 등 통한 용수 순환 체계 구축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용수 재활용율 제고 및 폐수 배출 감축 정책</a:t>
            </a:r>
            <a:r>
              <a:rPr lang="en-US" altLang="ko-KR" sz="900" dirty="0">
                <a:solidFill>
                  <a:schemeClr val="tx1"/>
                </a:solidFill>
              </a:rPr>
              <a:t>/</a:t>
            </a:r>
            <a:r>
              <a:rPr lang="ko-KR" altLang="en-US" sz="900" dirty="0">
                <a:solidFill>
                  <a:schemeClr val="tx1"/>
                </a:solidFill>
              </a:rPr>
              <a:t>프로그램 기획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원부자재 사용 관리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원부자재 및 포장재 </a:t>
            </a:r>
            <a:r>
              <a:rPr lang="ko-KR" altLang="en-US" sz="900" dirty="0" err="1">
                <a:solidFill>
                  <a:schemeClr val="tx1"/>
                </a:solidFill>
              </a:rPr>
              <a:t>사용량∙재활용량</a:t>
            </a:r>
            <a:r>
              <a:rPr lang="ko-KR" altLang="en-US" sz="900" dirty="0">
                <a:solidFill>
                  <a:schemeClr val="tx1"/>
                </a:solidFill>
              </a:rPr>
              <a:t> 측정 및 재활용 방안 </a:t>
            </a:r>
            <a:r>
              <a:rPr lang="ko-KR" altLang="en-US" sz="900" dirty="0" err="1">
                <a:solidFill>
                  <a:schemeClr val="tx1"/>
                </a:solidFill>
              </a:rPr>
              <a:t>수립∙운영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cxnSp>
        <p:nvCxnSpPr>
          <p:cNvPr id="79" name="직선 연결선 78">
            <a:extLst>
              <a:ext uri="{FF2B5EF4-FFF2-40B4-BE49-F238E27FC236}">
                <a16:creationId xmlns:a16="http://schemas.microsoft.com/office/drawing/2014/main" id="{D86B121E-2549-4442-BF09-8B8883F17422}"/>
              </a:ext>
            </a:extLst>
          </p:cNvPr>
          <p:cNvCxnSpPr>
            <a:cxnSpLocks/>
          </p:cNvCxnSpPr>
          <p:nvPr/>
        </p:nvCxnSpPr>
        <p:spPr>
          <a:xfrm>
            <a:off x="505810" y="4149080"/>
            <a:ext cx="82263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2BF46A89-6C9C-48D1-BB79-A2D02CB709BE}"/>
              </a:ext>
            </a:extLst>
          </p:cNvPr>
          <p:cNvSpPr/>
          <p:nvPr/>
        </p:nvSpPr>
        <p:spPr>
          <a:xfrm>
            <a:off x="7959914" y="4864646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144126E-3E97-4FF8-8C6B-16B1ADE29199}"/>
              </a:ext>
            </a:extLst>
          </p:cNvPr>
          <p:cNvSpPr/>
          <p:nvPr/>
        </p:nvSpPr>
        <p:spPr>
          <a:xfrm>
            <a:off x="7959914" y="6054374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2E74349F-1C0A-4C02-9DFA-875EFE1FEE70}"/>
              </a:ext>
            </a:extLst>
          </p:cNvPr>
          <p:cNvSpPr/>
          <p:nvPr/>
        </p:nvSpPr>
        <p:spPr>
          <a:xfrm>
            <a:off x="7959914" y="3811576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60B2AB40-0F24-48EA-B589-45ABF4F2E2EC}"/>
              </a:ext>
            </a:extLst>
          </p:cNvPr>
          <p:cNvSpPr/>
          <p:nvPr/>
        </p:nvSpPr>
        <p:spPr>
          <a:xfrm>
            <a:off x="7959914" y="3185229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4736A5B1-22EC-491C-8CB9-8DA5B7CB44ED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66B3894E-2A0B-4D64-920E-A063FE93968E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295212C-271F-4FC4-B004-9FD0DAF36142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74" name="그룹 73">
            <a:extLst>
              <a:ext uri="{FF2B5EF4-FFF2-40B4-BE49-F238E27FC236}">
                <a16:creationId xmlns:a16="http://schemas.microsoft.com/office/drawing/2014/main" id="{D52550C9-C1BF-4908-97EC-ED15E15DFA48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75" name="그림 74">
              <a:extLst>
                <a:ext uri="{FF2B5EF4-FFF2-40B4-BE49-F238E27FC236}">
                  <a16:creationId xmlns:a16="http://schemas.microsoft.com/office/drawing/2014/main" id="{F7A02931-CEB0-4557-AADE-316B990E6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FBE91D15-7756-408F-BC37-193C0E042F5B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F26543BA-4107-4271-91A7-20B40BA0D8CE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142B3508-E702-4792-A1F7-B80D438E0153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38520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직사각형 51">
            <a:extLst>
              <a:ext uri="{FF2B5EF4-FFF2-40B4-BE49-F238E27FC236}">
                <a16:creationId xmlns:a16="http://schemas.microsoft.com/office/drawing/2014/main" id="{2AA410D5-2594-4259-9C81-00D5BB7777D7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3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▶환경 관련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pic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로 이동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O001 –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큐레이션 메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(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동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6178C7D7-D8D9-4463-809A-F81165377B6D}"/>
              </a:ext>
            </a:extLst>
          </p:cNvPr>
          <p:cNvSpPr/>
          <p:nvPr/>
        </p:nvSpPr>
        <p:spPr>
          <a:xfrm>
            <a:off x="479425" y="4039364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필요 업무역량</a:t>
            </a: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82819D39-E377-4D80-9180-44A48D02AE09}"/>
              </a:ext>
            </a:extLst>
          </p:cNvPr>
          <p:cNvSpPr/>
          <p:nvPr/>
        </p:nvSpPr>
        <p:spPr>
          <a:xfrm>
            <a:off x="550863" y="2807148"/>
            <a:ext cx="1225713" cy="684000"/>
          </a:xfrm>
          <a:prstGeom prst="roundRect">
            <a:avLst>
              <a:gd name="adj" fmla="val 838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환경 과제이행 모니터링 및 관리 </a:t>
            </a: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20FA5AAA-BF02-4F42-82F3-4CB8D08EAFFE}"/>
              </a:ext>
            </a:extLst>
          </p:cNvPr>
          <p:cNvSpPr/>
          <p:nvPr/>
        </p:nvSpPr>
        <p:spPr>
          <a:xfrm>
            <a:off x="1832069" y="2844455"/>
            <a:ext cx="6820706" cy="631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환경 주제 </a:t>
            </a:r>
            <a:r>
              <a:rPr lang="en-US" altLang="ko-KR" sz="900" dirty="0">
                <a:solidFill>
                  <a:schemeClr val="tx1"/>
                </a:solidFill>
              </a:rPr>
              <a:t>KPI </a:t>
            </a:r>
            <a:r>
              <a:rPr lang="ko-KR" altLang="en-US" sz="900" dirty="0">
                <a:solidFill>
                  <a:schemeClr val="tx1"/>
                </a:solidFill>
              </a:rPr>
              <a:t>모니터링 체계 구축 및 모니터링 실시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이행 과제에 대한 성과 측정 및 </a:t>
            </a:r>
            <a:r>
              <a:rPr lang="ko-KR" altLang="en-US" sz="900" dirty="0" err="1">
                <a:solidFill>
                  <a:schemeClr val="tx1"/>
                </a:solidFill>
              </a:rPr>
              <a:t>점검∙개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준과 지침 수립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모니터링 결과 기반 성과 평가와 개선점 도출 활용</a:t>
            </a:r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8E036958-4DDA-4C80-9968-E4DDA2ABEC2B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A92D7ED7-1CD6-4645-9623-F16A766D9544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F79A0AD5-7885-438F-9F5F-1B39D334677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09" name="직사각형 108">
                <a:extLst>
                  <a:ext uri="{FF2B5EF4-FFF2-40B4-BE49-F238E27FC236}">
                    <a16:creationId xmlns:a16="http://schemas.microsoft.com/office/drawing/2014/main" id="{8EF25477-749E-49D6-86C3-3DA6ECF0DCE8}"/>
                  </a:ext>
                </a:extLst>
              </p:cNvPr>
              <p:cNvSpPr/>
              <p:nvPr/>
            </p:nvSpPr>
            <p:spPr>
              <a:xfrm>
                <a:off x="9201495" y="3678540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C4A40082-6B8E-4D06-9D0B-4BC5D3600716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D7F38156-60FF-4BF4-925A-CC5DAF9ECAEF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2AC3D8C1-512A-4718-8A64-F74A116D2353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036CE0F5-573B-4217-8E3B-1652954D3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A04A9039-B141-49A2-9F12-CBC2F27A45F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83" name="그림 82">
              <a:extLst>
                <a:ext uri="{FF2B5EF4-FFF2-40B4-BE49-F238E27FC236}">
                  <a16:creationId xmlns:a16="http://schemas.microsoft.com/office/drawing/2014/main" id="{16865709-E2BD-4F61-A54B-4905D99933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34166D8B-13F3-44B1-B032-64C04712C8FB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43" name="표 3">
            <a:extLst>
              <a:ext uri="{FF2B5EF4-FFF2-40B4-BE49-F238E27FC236}">
                <a16:creationId xmlns:a16="http://schemas.microsoft.com/office/drawing/2014/main" id="{E499DC10-60B8-4012-AAB1-24D4B867AE10}"/>
              </a:ext>
            </a:extLst>
          </p:cNvPr>
          <p:cNvGraphicFramePr>
            <a:graphicFrameLocks noGrp="1"/>
          </p:cNvGraphicFramePr>
          <p:nvPr/>
        </p:nvGraphicFramePr>
        <p:xfrm>
          <a:off x="550863" y="4308035"/>
          <a:ext cx="8064948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74">
                  <a:extLst>
                    <a:ext uri="{9D8B030D-6E8A-4147-A177-3AD203B41FA5}">
                      <a16:colId xmlns:a16="http://schemas.microsoft.com/office/drawing/2014/main" val="3838718113"/>
                    </a:ext>
                  </a:extLst>
                </a:gridCol>
                <a:gridCol w="4032474">
                  <a:extLst>
                    <a:ext uri="{9D8B030D-6E8A-4147-A177-3AD203B41FA5}">
                      <a16:colId xmlns:a16="http://schemas.microsoft.com/office/drawing/2014/main" val="404713668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산업군에 대한 이해와 필수 법 ∙ 규제에 대한 배경지식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공시 기준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시장 및 경쟁자 현황 분석을 통한 주요 환경 이슈 식별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0634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주요 </a:t>
                      </a:r>
                      <a:r>
                        <a:rPr lang="ko-KR" altLang="en-US" sz="9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이슈별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사업 및 프로그램의 기획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온실가스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폐기물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오염물질 배출량 및 에너지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자원 사용량 등을 측정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수집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분석할 수 있는 지식과 기술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88613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환경 지표 감축 목표 및 이행 방안 수립을 위한 국내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·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외 기준에 대한 이해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사업 수행 결과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,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측정값 및 환경 성과 지표에 대한 이해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8505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모니터링 결과 정리 및 개선사항 도출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환경 전략 및 목표 기반 성과 평가 역량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233962"/>
                  </a:ext>
                </a:extLst>
              </a:tr>
            </a:tbl>
          </a:graphicData>
        </a:graphic>
      </p:graphicFrame>
      <p:sp>
        <p:nvSpPr>
          <p:cNvPr id="44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3295CD09-F522-44A5-84AA-DB6F18FCCCE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796917BA-FEA0-4511-838C-95EE0BAA9111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DE577E3F-363C-49D0-9CC7-3BEE5E171ABA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54" name="사각형: 둥근 위쪽 모서리 53">
              <a:extLst>
                <a:ext uri="{FF2B5EF4-FFF2-40B4-BE49-F238E27FC236}">
                  <a16:creationId xmlns:a16="http://schemas.microsoft.com/office/drawing/2014/main" id="{D84925FC-AC7C-4B5D-801A-D5BCCF89690C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56" name="사각형: 둥근 위쪽 모서리 55">
              <a:extLst>
                <a:ext uri="{FF2B5EF4-FFF2-40B4-BE49-F238E27FC236}">
                  <a16:creationId xmlns:a16="http://schemas.microsoft.com/office/drawing/2014/main" id="{2BB4A529-C852-4FEE-80CD-62A9F2BAADA1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57" name="직선 연결선 56">
            <a:extLst>
              <a:ext uri="{FF2B5EF4-FFF2-40B4-BE49-F238E27FC236}">
                <a16:creationId xmlns:a16="http://schemas.microsoft.com/office/drawing/2014/main" id="{B6C0FE91-F194-49C4-B7EA-B54F793C3F93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DBE1C9B7-32A7-4E7A-B624-BC84E59CD736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59" name="사각형: 둥근 위쪽 모서리 58">
              <a:extLst>
                <a:ext uri="{FF2B5EF4-FFF2-40B4-BE49-F238E27FC236}">
                  <a16:creationId xmlns:a16="http://schemas.microsoft.com/office/drawing/2014/main" id="{52933895-A36A-458A-B9E0-7C9F42D89F01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환경 과제이행</a:t>
              </a:r>
            </a:p>
          </p:txBody>
        </p:sp>
        <p:sp>
          <p:nvSpPr>
            <p:cNvPr id="61" name="사각형: 둥근 위쪽 모서리 60">
              <a:extLst>
                <a:ext uri="{FF2B5EF4-FFF2-40B4-BE49-F238E27FC236}">
                  <a16:creationId xmlns:a16="http://schemas.microsoft.com/office/drawing/2014/main" id="{9B97B0F4-E5C6-4122-BCF1-AD667B82A063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62" name="사각형: 둥근 위쪽 모서리 61">
              <a:extLst>
                <a:ext uri="{FF2B5EF4-FFF2-40B4-BE49-F238E27FC236}">
                  <a16:creationId xmlns:a16="http://schemas.microsoft.com/office/drawing/2014/main" id="{BF07BC89-12EC-405F-985A-71A72E069E94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64" name="사각형: 둥근 위쪽 모서리 63">
              <a:extLst>
                <a:ext uri="{FF2B5EF4-FFF2-40B4-BE49-F238E27FC236}">
                  <a16:creationId xmlns:a16="http://schemas.microsoft.com/office/drawing/2014/main" id="{7BE65FD5-A56A-4D08-98A9-8690032BCDAF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65" name="사각형: 둥근 위쪽 모서리 64">
              <a:extLst>
                <a:ext uri="{FF2B5EF4-FFF2-40B4-BE49-F238E27FC236}">
                  <a16:creationId xmlns:a16="http://schemas.microsoft.com/office/drawing/2014/main" id="{4C47D80E-4DCF-4787-8B53-C83CC9D6723C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66" name="사각형: 둥근 위쪽 모서리 65">
              <a:extLst>
                <a:ext uri="{FF2B5EF4-FFF2-40B4-BE49-F238E27FC236}">
                  <a16:creationId xmlns:a16="http://schemas.microsoft.com/office/drawing/2014/main" id="{F780992D-C808-4D67-A022-DCEA96A63DFA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55566374-673D-4DF6-BC32-59B2435A8676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DC1746DA-5A38-425B-8271-D2F0CEE86FFE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3EBC708F-1E6D-4DAC-9702-3AA84C19BC89}"/>
              </a:ext>
            </a:extLst>
          </p:cNvPr>
          <p:cNvSpPr/>
          <p:nvPr/>
        </p:nvSpPr>
        <p:spPr>
          <a:xfrm>
            <a:off x="7959914" y="3255168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82DED5B5-E44F-4FA7-9454-0DDC40B154FF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8A4CE88B-D931-4839-92D0-3C1C36C86904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2EB5BA65-3C3F-4A25-8060-989E1FBB8C02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FB25F883-E30C-41C2-B870-82EE04BF283B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15256CB2-AF85-44C1-9204-20F1D286F9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197FD1B4-B7A0-4A68-9DBF-76120FC9BE54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B55334B8-A9A0-458C-8A8F-FE93F162435F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700C7AF5-FDC9-4250-BDD0-814BF1C29FE3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738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37F70D9A-6340-4314-B542-E4558C7184AD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7AA2194A-BBF8-4B33-95E0-4723CFF42730}"/>
              </a:ext>
            </a:extLst>
          </p:cNvPr>
          <p:cNvGrpSpPr/>
          <p:nvPr/>
        </p:nvGrpSpPr>
        <p:grpSpPr>
          <a:xfrm>
            <a:off x="479425" y="2708920"/>
            <a:ext cx="8353425" cy="1672838"/>
            <a:chOff x="479425" y="4797152"/>
            <a:chExt cx="8353425" cy="1672838"/>
          </a:xfrm>
        </p:grpSpPr>
        <p:grpSp>
          <p:nvGrpSpPr>
            <p:cNvPr id="101" name="그룹 100">
              <a:extLst>
                <a:ext uri="{FF2B5EF4-FFF2-40B4-BE49-F238E27FC236}">
                  <a16:creationId xmlns:a16="http://schemas.microsoft.com/office/drawing/2014/main" id="{ED7010E0-C330-45A7-9365-DDD9F8BF30C7}"/>
                </a:ext>
              </a:extLst>
            </p:cNvPr>
            <p:cNvGrpSpPr/>
            <p:nvPr/>
          </p:nvGrpSpPr>
          <p:grpSpPr>
            <a:xfrm>
              <a:off x="550865" y="5011730"/>
              <a:ext cx="8212843" cy="1458260"/>
              <a:chOff x="550865" y="3737452"/>
              <a:chExt cx="8212843" cy="1458260"/>
            </a:xfrm>
          </p:grpSpPr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1D05D3DA-82AC-46D7-A34B-721FE401F3AE}"/>
                  </a:ext>
                </a:extLst>
              </p:cNvPr>
              <p:cNvSpPr/>
              <p:nvPr/>
            </p:nvSpPr>
            <p:spPr>
              <a:xfrm>
                <a:off x="550865" y="3740186"/>
                <a:ext cx="8212842" cy="145552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spcAft>
                    <a:spcPts val="600"/>
                  </a:spcAft>
                </a:pPr>
                <a:endParaRPr lang="ko-KR" altLang="en-US" sz="1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EBCB448F-9C73-48FC-A741-796ED1F5F9FC}"/>
                  </a:ext>
                </a:extLst>
              </p:cNvPr>
              <p:cNvSpPr/>
              <p:nvPr/>
            </p:nvSpPr>
            <p:spPr>
              <a:xfrm>
                <a:off x="8611368" y="3737452"/>
                <a:ext cx="152340" cy="145040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600"/>
                  </a:spcAft>
                </a:pPr>
                <a:r>
                  <a:rPr lang="ko-KR" altLang="en-US" sz="900" b="1" dirty="0">
                    <a:solidFill>
                      <a:schemeClr val="tx1"/>
                    </a:solidFill>
                  </a:rPr>
                  <a:t>▶</a:t>
                </a:r>
              </a:p>
            </p:txBody>
          </p:sp>
          <p:pic>
            <p:nvPicPr>
              <p:cNvPr id="131" name="Picture 2" descr="자연 사진, 5,726,000개 이상의 고품질 무료 스톡 사진">
                <a:extLst>
                  <a:ext uri="{FF2B5EF4-FFF2-40B4-BE49-F238E27FC236}">
                    <a16:creationId xmlns:a16="http://schemas.microsoft.com/office/drawing/2014/main" id="{3699F7F7-BB82-40F7-B65F-6721326788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174" b="8576"/>
              <a:stretch/>
            </p:blipFill>
            <p:spPr bwMode="auto">
              <a:xfrm>
                <a:off x="983119" y="3824015"/>
                <a:ext cx="1510563" cy="8167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2" name="사각형: 둥근 모서리 131">
                <a:extLst>
                  <a:ext uri="{FF2B5EF4-FFF2-40B4-BE49-F238E27FC236}">
                    <a16:creationId xmlns:a16="http://schemas.microsoft.com/office/drawing/2014/main" id="{7BC86E3C-A7E1-4A2E-A2D6-72E02DDF690B}"/>
                  </a:ext>
                </a:extLst>
              </p:cNvPr>
              <p:cNvSpPr/>
              <p:nvPr/>
            </p:nvSpPr>
            <p:spPr>
              <a:xfrm>
                <a:off x="978065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업무분류</a:t>
                </a:r>
              </a:p>
            </p:txBody>
          </p:sp>
          <p:sp>
            <p:nvSpPr>
              <p:cNvPr id="154" name="사각형: 둥근 모서리 153">
                <a:extLst>
                  <a:ext uri="{FF2B5EF4-FFF2-40B4-BE49-F238E27FC236}">
                    <a16:creationId xmlns:a16="http://schemas.microsoft.com/office/drawing/2014/main" id="{78E1B07F-5472-4F38-8B32-A4B5CA4B34F0}"/>
                  </a:ext>
                </a:extLst>
              </p:cNvPr>
              <p:cNvSpPr/>
              <p:nvPr/>
            </p:nvSpPr>
            <p:spPr>
              <a:xfrm>
                <a:off x="1495551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>
                        <a:lumMod val="50000"/>
                      </a:schemeClr>
                    </a:solidFill>
                  </a:rPr>
                  <a:t>주제분류</a:t>
                </a:r>
              </a:p>
            </p:txBody>
          </p:sp>
          <p:sp>
            <p:nvSpPr>
              <p:cNvPr id="155" name="사각형: 둥근 모서리 154">
                <a:extLst>
                  <a:ext uri="{FF2B5EF4-FFF2-40B4-BE49-F238E27FC236}">
                    <a16:creationId xmlns:a16="http://schemas.microsoft.com/office/drawing/2014/main" id="{B5B74897-3D3D-4A6D-A4E6-C257471D5EDB}"/>
                  </a:ext>
                </a:extLst>
              </p:cNvPr>
              <p:cNvSpPr/>
              <p:nvPr/>
            </p:nvSpPr>
            <p:spPr>
              <a:xfrm>
                <a:off x="2013037" y="4678638"/>
                <a:ext cx="480645" cy="1576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/>
              <a:lstStyle/>
              <a:p>
                <a:pPr algn="ctr"/>
                <a:r>
                  <a:rPr lang="ko-KR" altLang="en-US" sz="700" b="1" dirty="0" err="1">
                    <a:solidFill>
                      <a:schemeClr val="bg1">
                        <a:lumMod val="50000"/>
                      </a:schemeClr>
                    </a:solidFill>
                  </a:rPr>
                  <a:t>토픽키워드</a:t>
                </a:r>
                <a:endParaRPr lang="ko-KR" altLang="en-US" sz="700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56" name="직사각형 155">
                <a:extLst>
                  <a:ext uri="{FF2B5EF4-FFF2-40B4-BE49-F238E27FC236}">
                    <a16:creationId xmlns:a16="http://schemas.microsoft.com/office/drawing/2014/main" id="{46F03544-C4BF-46CB-8EDD-9E6A592E3A3A}"/>
                  </a:ext>
                </a:extLst>
              </p:cNvPr>
              <p:cNvSpPr/>
              <p:nvPr/>
            </p:nvSpPr>
            <p:spPr>
              <a:xfrm>
                <a:off x="982626" y="4869160"/>
                <a:ext cx="312480" cy="1683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r>
                  <a:rPr lang="ko-KR" altLang="en-US" sz="500" b="1" dirty="0"/>
                  <a:t>컨텐츠 종류</a:t>
                </a:r>
              </a:p>
            </p:txBody>
          </p:sp>
          <p:sp>
            <p:nvSpPr>
              <p:cNvPr id="157" name="직사각형 156">
                <a:extLst>
                  <a:ext uri="{FF2B5EF4-FFF2-40B4-BE49-F238E27FC236}">
                    <a16:creationId xmlns:a16="http://schemas.microsoft.com/office/drawing/2014/main" id="{C9DC2DE0-A9BD-4D66-A17C-95A394A725CA}"/>
                  </a:ext>
                </a:extLst>
              </p:cNvPr>
              <p:cNvSpPr/>
              <p:nvPr/>
            </p:nvSpPr>
            <p:spPr>
              <a:xfrm>
                <a:off x="1301634" y="4869160"/>
                <a:ext cx="1193966" cy="2919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r>
                  <a:rPr lang="ko-KR" altLang="en-US" sz="800" b="1" dirty="0">
                    <a:solidFill>
                      <a:schemeClr val="tx1"/>
                    </a:solidFill>
                  </a:rPr>
                  <a:t>제목</a:t>
                </a:r>
                <a:endParaRPr lang="en-US" altLang="ko-KR" sz="800" b="1" dirty="0">
                  <a:solidFill>
                    <a:schemeClr val="tx1"/>
                  </a:solidFill>
                </a:endParaRPr>
              </a:p>
              <a:p>
                <a:endParaRPr lang="ko-KR" altLang="en-US" sz="8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8" name="그룹 157">
                <a:extLst>
                  <a:ext uri="{FF2B5EF4-FFF2-40B4-BE49-F238E27FC236}">
                    <a16:creationId xmlns:a16="http://schemas.microsoft.com/office/drawing/2014/main" id="{62B63B4C-73B8-4062-B023-0EEF23FDC523}"/>
                  </a:ext>
                </a:extLst>
              </p:cNvPr>
              <p:cNvGrpSpPr/>
              <p:nvPr/>
            </p:nvGrpSpPr>
            <p:grpSpPr>
              <a:xfrm>
                <a:off x="2930913" y="382401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71" name="사각형: 둥근 모서리 170">
                  <a:extLst>
                    <a:ext uri="{FF2B5EF4-FFF2-40B4-BE49-F238E27FC236}">
                      <a16:creationId xmlns:a16="http://schemas.microsoft.com/office/drawing/2014/main" id="{13E56BAB-275A-49CB-877B-D23FA3F0D21F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72" name="사각형: 둥근 모서리 171">
                  <a:extLst>
                    <a:ext uri="{FF2B5EF4-FFF2-40B4-BE49-F238E27FC236}">
                      <a16:creationId xmlns:a16="http://schemas.microsoft.com/office/drawing/2014/main" id="{8D2FF875-8699-48CE-ADE8-242447CB86E0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금융</a:t>
                  </a:r>
                </a:p>
              </p:txBody>
            </p:sp>
            <p:sp>
              <p:nvSpPr>
                <p:cNvPr id="173" name="사각형: 둥근 모서리 172">
                  <a:extLst>
                    <a:ext uri="{FF2B5EF4-FFF2-40B4-BE49-F238E27FC236}">
                      <a16:creationId xmlns:a16="http://schemas.microsoft.com/office/drawing/2014/main" id="{D7CD00FC-F019-48A8-BC9B-AB7E5D350566}"/>
                    </a:ext>
                  </a:extLst>
                </p:cNvPr>
                <p:cNvSpPr/>
                <p:nvPr/>
              </p:nvSpPr>
              <p:spPr>
                <a:xfrm>
                  <a:off x="3438004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투자</a:t>
                  </a:r>
                </a:p>
              </p:txBody>
            </p:sp>
            <p:sp>
              <p:nvSpPr>
                <p:cNvPr id="174" name="직사각형 173">
                  <a:extLst>
                    <a:ext uri="{FF2B5EF4-FFF2-40B4-BE49-F238E27FC236}">
                      <a16:creationId xmlns:a16="http://schemas.microsoft.com/office/drawing/2014/main" id="{03AF9B02-A4E2-4A6B-9B0E-3AB93030EB48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75" name="직사각형 174">
                  <a:extLst>
                    <a:ext uri="{FF2B5EF4-FFF2-40B4-BE49-F238E27FC236}">
                      <a16:creationId xmlns:a16="http://schemas.microsoft.com/office/drawing/2014/main" id="{EEB37316-B14B-40B6-92F3-6447AD1F3FF5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금융기관에게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이 갖는 </a:t>
                  </a:r>
                  <a:r>
                    <a:rPr lang="ko-KR" altLang="en-US" sz="800" b="1" dirty="0" err="1">
                      <a:solidFill>
                        <a:schemeClr val="tx1"/>
                      </a:solidFill>
                    </a:rPr>
                    <a:t>의미란</a:t>
                  </a:r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76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5E63776F-6CBA-43F7-8102-DB783C9D020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59" name="그룹 158">
                <a:extLst>
                  <a:ext uri="{FF2B5EF4-FFF2-40B4-BE49-F238E27FC236}">
                    <a16:creationId xmlns:a16="http://schemas.microsoft.com/office/drawing/2014/main" id="{566734CA-989B-44EC-ACFC-1BBA48550AFE}"/>
                  </a:ext>
                </a:extLst>
              </p:cNvPr>
              <p:cNvGrpSpPr/>
              <p:nvPr/>
            </p:nvGrpSpPr>
            <p:grpSpPr>
              <a:xfrm>
                <a:off x="4885679" y="3828801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66" name="사각형: 둥근 모서리 165">
                  <a:extLst>
                    <a:ext uri="{FF2B5EF4-FFF2-40B4-BE49-F238E27FC236}">
                      <a16:creationId xmlns:a16="http://schemas.microsoft.com/office/drawing/2014/main" id="{94AF5C6E-D832-43DF-ACA0-668E86B624EC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67" name="사각형: 둥근 모서리 166">
                  <a:extLst>
                    <a:ext uri="{FF2B5EF4-FFF2-40B4-BE49-F238E27FC236}">
                      <a16:creationId xmlns:a16="http://schemas.microsoft.com/office/drawing/2014/main" id="{8BDFECA5-42BB-4CC5-BBEE-9495365AE361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68" name="직사각형 167">
                  <a:extLst>
                    <a:ext uri="{FF2B5EF4-FFF2-40B4-BE49-F238E27FC236}">
                      <a16:creationId xmlns:a16="http://schemas.microsoft.com/office/drawing/2014/main" id="{A52410C3-7051-413A-B742-27AC27CBB1E5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문서</a:t>
                  </a:r>
                </a:p>
              </p:txBody>
            </p:sp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BF4B749F-57B7-47F8-A54F-AD9B39829A8F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개념 및 이해</a:t>
                  </a:r>
                  <a:endParaRPr lang="en-US" altLang="ko-KR" sz="800" b="1" dirty="0">
                    <a:solidFill>
                      <a:schemeClr val="tx1"/>
                    </a:solidFill>
                  </a:endParaRPr>
                </a:p>
                <a:p>
                  <a:endParaRPr lang="ko-KR" altLang="en-US" sz="800" b="1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70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04E241B0-95EE-4B6A-84C9-5A770CB36A8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60" name="그룹 159">
                <a:extLst>
                  <a:ext uri="{FF2B5EF4-FFF2-40B4-BE49-F238E27FC236}">
                    <a16:creationId xmlns:a16="http://schemas.microsoft.com/office/drawing/2014/main" id="{ADB14C2E-DAC0-4CD4-B323-0AAB13F375AB}"/>
                  </a:ext>
                </a:extLst>
              </p:cNvPr>
              <p:cNvGrpSpPr/>
              <p:nvPr/>
            </p:nvGrpSpPr>
            <p:grpSpPr>
              <a:xfrm>
                <a:off x="6840446" y="3823035"/>
                <a:ext cx="1517535" cy="1337124"/>
                <a:chOff x="2403032" y="3824015"/>
                <a:chExt cx="1517535" cy="1337124"/>
              </a:xfrm>
            </p:grpSpPr>
            <p:sp>
              <p:nvSpPr>
                <p:cNvPr id="161" name="사각형: 둥근 모서리 160">
                  <a:extLst>
                    <a:ext uri="{FF2B5EF4-FFF2-40B4-BE49-F238E27FC236}">
                      <a16:creationId xmlns:a16="http://schemas.microsoft.com/office/drawing/2014/main" id="{F92BBA4D-697F-4DF5-8054-5D12637586A6}"/>
                    </a:ext>
                  </a:extLst>
                </p:cNvPr>
                <p:cNvSpPr/>
                <p:nvPr/>
              </p:nvSpPr>
              <p:spPr>
                <a:xfrm>
                  <a:off x="2403032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경영</a:t>
                  </a:r>
                </a:p>
              </p:txBody>
            </p:sp>
            <p:sp>
              <p:nvSpPr>
                <p:cNvPr id="162" name="사각형: 둥근 모서리 161">
                  <a:extLst>
                    <a:ext uri="{FF2B5EF4-FFF2-40B4-BE49-F238E27FC236}">
                      <a16:creationId xmlns:a16="http://schemas.microsoft.com/office/drawing/2014/main" id="{8F9783E5-2909-4A03-A82B-16301B132A60}"/>
                    </a:ext>
                  </a:extLst>
                </p:cNvPr>
                <p:cNvSpPr/>
                <p:nvPr/>
              </p:nvSpPr>
              <p:spPr>
                <a:xfrm>
                  <a:off x="2920518" y="4684120"/>
                  <a:ext cx="480645" cy="15767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en-US" altLang="ko-KR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ESG </a:t>
                  </a:r>
                  <a:r>
                    <a:rPr lang="ko-KR" altLang="en-US" sz="700" b="1" dirty="0">
                      <a:solidFill>
                        <a:schemeClr val="bg1">
                          <a:lumMod val="50000"/>
                        </a:schemeClr>
                      </a:solidFill>
                    </a:rPr>
                    <a:t>일반</a:t>
                  </a:r>
                </a:p>
              </p:txBody>
            </p:sp>
            <p:sp>
              <p:nvSpPr>
                <p:cNvPr id="163" name="직사각형 162">
                  <a:extLst>
                    <a:ext uri="{FF2B5EF4-FFF2-40B4-BE49-F238E27FC236}">
                      <a16:creationId xmlns:a16="http://schemas.microsoft.com/office/drawing/2014/main" id="{38F0612C-08BB-43FC-A829-A20BC2730C9D}"/>
                    </a:ext>
                  </a:extLst>
                </p:cNvPr>
                <p:cNvSpPr/>
                <p:nvPr/>
              </p:nvSpPr>
              <p:spPr>
                <a:xfrm>
                  <a:off x="2407593" y="4869160"/>
                  <a:ext cx="312480" cy="16838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/>
                  <a:r>
                    <a:rPr lang="ko-KR" altLang="en-US" sz="700" b="1" dirty="0"/>
                    <a:t>영상</a:t>
                  </a:r>
                </a:p>
              </p:txBody>
            </p:sp>
            <p:sp>
              <p:nvSpPr>
                <p:cNvPr id="164" name="직사각형 163">
                  <a:extLst>
                    <a:ext uri="{FF2B5EF4-FFF2-40B4-BE49-F238E27FC236}">
                      <a16:creationId xmlns:a16="http://schemas.microsoft.com/office/drawing/2014/main" id="{7C319F16-095D-424A-9917-69E7AC086D1B}"/>
                    </a:ext>
                  </a:extLst>
                </p:cNvPr>
                <p:cNvSpPr/>
                <p:nvPr/>
              </p:nvSpPr>
              <p:spPr>
                <a:xfrm>
                  <a:off x="2726601" y="4869160"/>
                  <a:ext cx="1193966" cy="2919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중소중견기업 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ESG 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온라인 교육</a:t>
                  </a:r>
                  <a:r>
                    <a:rPr lang="en-US" altLang="ko-KR" sz="800" b="1" dirty="0">
                      <a:solidFill>
                        <a:schemeClr val="tx1"/>
                      </a:solidFill>
                    </a:rPr>
                    <a:t>: ESG</a:t>
                  </a:r>
                  <a:r>
                    <a:rPr lang="ko-KR" altLang="en-US" sz="800" b="1" dirty="0">
                      <a:solidFill>
                        <a:schemeClr val="tx1"/>
                      </a:solidFill>
                    </a:rPr>
                    <a:t>경영의 이해</a:t>
                  </a:r>
                </a:p>
              </p:txBody>
            </p:sp>
            <p:pic>
              <p:nvPicPr>
                <p:cNvPr id="165" name="Picture 6" descr="신학논총 - 홍순원 “바울의 몸 개념의 사회 윤리적 지평”&lt;한국기독교신학논총&gt; 104(2017/4), 83-104. 본 연구에서는  바울의 몸 개념에 나타나는 통합적, 공동체적 원리를 사회적 차원으로 확장시켜서 복음의 본질적 기능과 교회의 사회적 사명을 회복할 수 있는">
                  <a:extLst>
                    <a:ext uri="{FF2B5EF4-FFF2-40B4-BE49-F238E27FC236}">
                      <a16:creationId xmlns:a16="http://schemas.microsoft.com/office/drawing/2014/main" id="{D4F05293-FB84-4875-8CB5-4F869E1D87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21709" b="19729"/>
                <a:stretch/>
              </p:blipFill>
              <p:spPr bwMode="auto">
                <a:xfrm>
                  <a:off x="2403032" y="3824015"/>
                  <a:ext cx="1510563" cy="8067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E75BDC83-42E6-433D-91BA-1165F8D5DF4C}"/>
                </a:ext>
              </a:extLst>
            </p:cNvPr>
            <p:cNvSpPr/>
            <p:nvPr/>
          </p:nvSpPr>
          <p:spPr>
            <a:xfrm>
              <a:off x="479425" y="4797152"/>
              <a:ext cx="8353425" cy="240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ko-KR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관련 컨텐츠</a:t>
              </a:r>
            </a:p>
          </p:txBody>
        </p:sp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과제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4/4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8" name="직사각형 17">
            <a:extLst>
              <a:ext uri="{FF2B5EF4-FFF2-40B4-BE49-F238E27FC236}">
                <a16:creationId xmlns:a16="http://schemas.microsoft.com/office/drawing/2014/main" id="{E0D61672-444B-4371-9E2F-BF69607488C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61040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9969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16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연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여부에 따라 다른 내용의 팝업화면이 생성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목록은 별도로 전달 예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명 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정보 기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~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썸네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없는 경우 임의의 일러스트 넣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398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L016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진입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연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여부에 따라 다른 내용의 팝업화면이 생성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컨텐츠 목록은 별도로 전달 예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항목명 설명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 기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썸네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없는 경우 임의의 일러스트 넣기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3102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우스 오버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인 컬러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해당 부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명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사이트로 이동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Platform: https://www.pwc.com/kr/ko/services/esg-platform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ssurance: https://www.pwc.com/kr/ko/assur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ax: https://www.pwc.com/kr/ko/tax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als: https://www.pwc.com/kr/ko/deal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공부문 컨설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.com/kr/ko/services/krsrc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https://www.pwcconsulting.co.kr/ko/services/risk-compliance.html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wCC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FS: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pwcconsulting.co.kr/ko/services/financial-services.html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  <a:tr h="8920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Q001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및 요청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팝업 화면이 생성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서비스제공문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[$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$] $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문의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디폴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4479100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964420C-A68E-4491-B106-0F64D3578434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802B54B-A616-491E-B07F-5D03BEC5C7DA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0EBF58F7-7F67-4ED5-85C5-13E6F213A691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C7BC589B-C0F1-42B5-B984-850C8A249F1A}"/>
                  </a:ext>
                </a:extLst>
              </p:cNvPr>
              <p:cNvSpPr/>
              <p:nvPr/>
            </p:nvSpPr>
            <p:spPr>
              <a:xfrm>
                <a:off x="9201495" y="4673691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4E323AAC-F77A-4BCE-BD94-0535948D4AFE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DF170BE7-5D05-4FA4-8453-636B71D23B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1110B7AE-BDFB-4D08-BE72-462DE6590F0E}"/>
              </a:ext>
            </a:extLst>
          </p:cNvPr>
          <p:cNvGrpSpPr/>
          <p:nvPr/>
        </p:nvGrpSpPr>
        <p:grpSpPr>
          <a:xfrm>
            <a:off x="8099274" y="3382036"/>
            <a:ext cx="540000" cy="576000"/>
            <a:chOff x="-2020480" y="1176136"/>
            <a:chExt cx="1216800" cy="956948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BC701D0B-0381-467C-888E-1594D26AD9B2}"/>
                </a:ext>
              </a:extLst>
            </p:cNvPr>
            <p:cNvSpPr/>
            <p:nvPr/>
          </p:nvSpPr>
          <p:spPr>
            <a:xfrm>
              <a:off x="-2020480" y="1176136"/>
              <a:ext cx="1216800" cy="9569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ko-KR" sz="7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1C3E8E61-DB97-4D08-9E60-A30B031ABDE8}"/>
                </a:ext>
              </a:extLst>
            </p:cNvPr>
            <p:cNvSpPr/>
            <p:nvPr/>
          </p:nvSpPr>
          <p:spPr>
            <a:xfrm>
              <a:off x="-1981326" y="1787888"/>
              <a:ext cx="1157289" cy="2606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문의</a:t>
              </a:r>
            </a:p>
          </p:txBody>
        </p:sp>
        <p:pic>
          <p:nvPicPr>
            <p:cNvPr id="129" name="그림 128">
              <a:extLst>
                <a:ext uri="{FF2B5EF4-FFF2-40B4-BE49-F238E27FC236}">
                  <a16:creationId xmlns:a16="http://schemas.microsoft.com/office/drawing/2014/main" id="{803F1D69-6409-41E9-800C-C8DB4C5AC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627181" y="1298831"/>
              <a:ext cx="449001" cy="383626"/>
            </a:xfrm>
            <a:prstGeom prst="rect">
              <a:avLst/>
            </a:prstGeom>
          </p:spPr>
        </p:pic>
        <p:cxnSp>
          <p:nvCxnSpPr>
            <p:cNvPr id="130" name="직선 연결선 129">
              <a:extLst>
                <a:ext uri="{FF2B5EF4-FFF2-40B4-BE49-F238E27FC236}">
                  <a16:creationId xmlns:a16="http://schemas.microsoft.com/office/drawing/2014/main" id="{A01755AE-2EDF-4A87-94A0-5FE5C8A4291D}"/>
                </a:ext>
              </a:extLst>
            </p:cNvPr>
            <p:cNvCxnSpPr>
              <a:cxnSpLocks/>
            </p:cNvCxnSpPr>
            <p:nvPr/>
          </p:nvCxnSpPr>
          <p:spPr>
            <a:xfrm>
              <a:off x="-1906736" y="2133084"/>
              <a:ext cx="100811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D69856A5-5D19-4947-83A7-D3A5FBE72A26}"/>
              </a:ext>
            </a:extLst>
          </p:cNvPr>
          <p:cNvSpPr/>
          <p:nvPr/>
        </p:nvSpPr>
        <p:spPr>
          <a:xfrm>
            <a:off x="280261" y="27809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5C27D02C-C418-4796-B43A-A6D6F8B2069F}"/>
              </a:ext>
            </a:extLst>
          </p:cNvPr>
          <p:cNvSpPr/>
          <p:nvPr/>
        </p:nvSpPr>
        <p:spPr>
          <a:xfrm>
            <a:off x="8549933" y="28649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9F461974-8DAD-4DDE-82D7-5942D26CDF82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91" name="그림 90">
              <a:extLst>
                <a:ext uri="{FF2B5EF4-FFF2-40B4-BE49-F238E27FC236}">
                  <a16:creationId xmlns:a16="http://schemas.microsoft.com/office/drawing/2014/main" id="{AB257C2E-6E8B-461C-86EE-255B3A85A7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279A373E-1BE6-4C46-88F3-B1937034EE49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94" name="그림 93">
              <a:extLst>
                <a:ext uri="{FF2B5EF4-FFF2-40B4-BE49-F238E27FC236}">
                  <a16:creationId xmlns:a16="http://schemas.microsoft.com/office/drawing/2014/main" id="{58C0BBE8-65E8-4169-BC79-CF039A4DB6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187F6712-5A27-4F92-B69F-CF299B761C10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33" name="그림 132">
            <a:extLst>
              <a:ext uri="{FF2B5EF4-FFF2-40B4-BE49-F238E27FC236}">
                <a16:creationId xmlns:a16="http://schemas.microsoft.com/office/drawing/2014/main" id="{499499B0-D97F-48DE-9F2C-2003225586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24591" y="6207999"/>
            <a:ext cx="656243" cy="437109"/>
          </a:xfrm>
          <a:prstGeom prst="rect">
            <a:avLst/>
          </a:prstGeom>
        </p:spPr>
      </p:pic>
      <p:sp>
        <p:nvSpPr>
          <p:cNvPr id="89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202CC218-B6EC-4320-916F-963B785BF3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12308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C1B6ED90-8946-43B7-B6CA-44AA33960EE7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4FBB6AE7-A317-4347-9DBA-418338E98E17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106" name="사각형: 둥근 위쪽 모서리 105">
              <a:extLst>
                <a:ext uri="{FF2B5EF4-FFF2-40B4-BE49-F238E27FC236}">
                  <a16:creationId xmlns:a16="http://schemas.microsoft.com/office/drawing/2014/main" id="{CE43B7B2-6B54-4483-8A5F-D908DD7050F8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107" name="사각형: 둥근 위쪽 모서리 106">
              <a:extLst>
                <a:ext uri="{FF2B5EF4-FFF2-40B4-BE49-F238E27FC236}">
                  <a16:creationId xmlns:a16="http://schemas.microsoft.com/office/drawing/2014/main" id="{25E375F1-B0B6-4CEF-AEDC-5E81BEB106D1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108" name="직선 연결선 107">
            <a:extLst>
              <a:ext uri="{FF2B5EF4-FFF2-40B4-BE49-F238E27FC236}">
                <a16:creationId xmlns:a16="http://schemas.microsoft.com/office/drawing/2014/main" id="{7B208869-C539-4DE3-B694-D47A35872E04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EC82B04B-E91B-407F-8D57-508FD1820CFD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110" name="사각형: 둥근 위쪽 모서리 109">
              <a:extLst>
                <a:ext uri="{FF2B5EF4-FFF2-40B4-BE49-F238E27FC236}">
                  <a16:creationId xmlns:a16="http://schemas.microsoft.com/office/drawing/2014/main" id="{EE9B45CC-39F4-4435-A132-D8650D411AB6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환경 과제이행</a:t>
              </a:r>
            </a:p>
          </p:txBody>
        </p:sp>
        <p:sp>
          <p:nvSpPr>
            <p:cNvPr id="111" name="사각형: 둥근 위쪽 모서리 110">
              <a:extLst>
                <a:ext uri="{FF2B5EF4-FFF2-40B4-BE49-F238E27FC236}">
                  <a16:creationId xmlns:a16="http://schemas.microsoft.com/office/drawing/2014/main" id="{FD0A2E6E-1A49-42CA-B6B6-AB9AE6D925D7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112" name="사각형: 둥근 위쪽 모서리 111">
              <a:extLst>
                <a:ext uri="{FF2B5EF4-FFF2-40B4-BE49-F238E27FC236}">
                  <a16:creationId xmlns:a16="http://schemas.microsoft.com/office/drawing/2014/main" id="{A106AE82-C38A-4C7A-801D-F784BF0D38DB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134" name="사각형: 둥근 위쪽 모서리 133">
              <a:extLst>
                <a:ext uri="{FF2B5EF4-FFF2-40B4-BE49-F238E27FC236}">
                  <a16:creationId xmlns:a16="http://schemas.microsoft.com/office/drawing/2014/main" id="{7CB87922-18E4-4C5B-86C0-6E16301D3410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135" name="사각형: 둥근 위쪽 모서리 134">
              <a:extLst>
                <a:ext uri="{FF2B5EF4-FFF2-40B4-BE49-F238E27FC236}">
                  <a16:creationId xmlns:a16="http://schemas.microsoft.com/office/drawing/2014/main" id="{F5C67B21-E820-4DA7-9D26-D82EC0017FC6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136" name="사각형: 둥근 위쪽 모서리 135">
              <a:extLst>
                <a:ext uri="{FF2B5EF4-FFF2-40B4-BE49-F238E27FC236}">
                  <a16:creationId xmlns:a16="http://schemas.microsoft.com/office/drawing/2014/main" id="{14D5157B-F5BE-4C4E-BD5C-82884486F88C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5DA87E66-9876-466D-9FE2-FE35E09E566A}"/>
              </a:ext>
            </a:extLst>
          </p:cNvPr>
          <p:cNvSpPr/>
          <p:nvPr/>
        </p:nvSpPr>
        <p:spPr>
          <a:xfrm>
            <a:off x="550865" y="4494411"/>
            <a:ext cx="8212842" cy="17429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D812BB44-78C4-4659-A3FA-30229CDDA7D9}"/>
              </a:ext>
            </a:extLst>
          </p:cNvPr>
          <p:cNvSpPr/>
          <p:nvPr/>
        </p:nvSpPr>
        <p:spPr>
          <a:xfrm>
            <a:off x="479425" y="4537120"/>
            <a:ext cx="8353425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삼일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서비스 안내</a:t>
            </a:r>
          </a:p>
        </p:txBody>
      </p:sp>
      <p:sp>
        <p:nvSpPr>
          <p:cNvPr id="139" name="사각형: 둥근 모서리 138">
            <a:extLst>
              <a:ext uri="{FF2B5EF4-FFF2-40B4-BE49-F238E27FC236}">
                <a16:creationId xmlns:a16="http://schemas.microsoft.com/office/drawing/2014/main" id="{CE7CA228-4A40-4709-95AE-EDE5ABC0DE93}"/>
              </a:ext>
            </a:extLst>
          </p:cNvPr>
          <p:cNvSpPr/>
          <p:nvPr/>
        </p:nvSpPr>
        <p:spPr>
          <a:xfrm>
            <a:off x="735379" y="4770193"/>
            <a:ext cx="3983660" cy="9139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환경 분야 실행과제와 세부이행방안 수립 컨설팅</a:t>
            </a:r>
            <a:br>
              <a:rPr lang="en-US" altLang="ko-KR" sz="10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Net Zero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전략 및 이행방안 수립</a:t>
            </a:r>
            <a:b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환경 이니셔티브 대응</a:t>
            </a:r>
            <a:b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</a:br>
            <a:r>
              <a:rPr lang="en-US" altLang="ko-KR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- </a:t>
            </a:r>
            <a:r>
              <a:rPr lang="ko-KR" altLang="en-US" sz="900" dirty="0" err="1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탄소세</a:t>
            </a:r>
            <a:r>
              <a:rPr lang="ko-KR" altLang="en-US" sz="90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rPr>
              <a:t> 대응 등 등</a:t>
            </a:r>
            <a:endParaRPr lang="en-US" altLang="ko-KR" sz="900" b="1" dirty="0">
              <a:solidFill>
                <a:prstClr val="black"/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grpSp>
        <p:nvGrpSpPr>
          <p:cNvPr id="140" name="그룹 139">
            <a:extLst>
              <a:ext uri="{FF2B5EF4-FFF2-40B4-BE49-F238E27FC236}">
                <a16:creationId xmlns:a16="http://schemas.microsoft.com/office/drawing/2014/main" id="{642ED6F3-997D-4F85-A4F7-D72994968569}"/>
              </a:ext>
            </a:extLst>
          </p:cNvPr>
          <p:cNvGrpSpPr/>
          <p:nvPr/>
        </p:nvGrpSpPr>
        <p:grpSpPr>
          <a:xfrm>
            <a:off x="4898222" y="4770190"/>
            <a:ext cx="3459759" cy="1337241"/>
            <a:chOff x="3738568" y="4473311"/>
            <a:chExt cx="2758118" cy="1337241"/>
          </a:xfrm>
        </p:grpSpPr>
        <p:grpSp>
          <p:nvGrpSpPr>
            <p:cNvPr id="144" name="그룹 143">
              <a:extLst>
                <a:ext uri="{FF2B5EF4-FFF2-40B4-BE49-F238E27FC236}">
                  <a16:creationId xmlns:a16="http://schemas.microsoft.com/office/drawing/2014/main" id="{832E9641-BD8C-4990-879F-37895C7217AE}"/>
                </a:ext>
              </a:extLst>
            </p:cNvPr>
            <p:cNvGrpSpPr/>
            <p:nvPr/>
          </p:nvGrpSpPr>
          <p:grpSpPr>
            <a:xfrm>
              <a:off x="3738568" y="4473311"/>
              <a:ext cx="2758118" cy="1337241"/>
              <a:chOff x="3662622" y="3994117"/>
              <a:chExt cx="3054276" cy="1399098"/>
            </a:xfrm>
          </p:grpSpPr>
          <p:sp>
            <p:nvSpPr>
              <p:cNvPr id="146" name="사각형: 둥근 모서리 145">
                <a:extLst>
                  <a:ext uri="{FF2B5EF4-FFF2-40B4-BE49-F238E27FC236}">
                    <a16:creationId xmlns:a16="http://schemas.microsoft.com/office/drawing/2014/main" id="{20500ED3-E138-455A-8C43-14D6A1D860FC}"/>
                  </a:ext>
                </a:extLst>
              </p:cNvPr>
              <p:cNvSpPr/>
              <p:nvPr/>
            </p:nvSpPr>
            <p:spPr>
              <a:xfrm>
                <a:off x="3715463" y="3994117"/>
                <a:ext cx="2843252" cy="1399098"/>
              </a:xfrm>
              <a:prstGeom prst="roundRect">
                <a:avLst>
                  <a:gd name="adj" fmla="val 8806"/>
                </a:avLst>
              </a:prstGeom>
              <a:solidFill>
                <a:schemeClr val="bg1">
                  <a:lumMod val="9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 dirty="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7" name="직사각형 146">
                <a:extLst>
                  <a:ext uri="{FF2B5EF4-FFF2-40B4-BE49-F238E27FC236}">
                    <a16:creationId xmlns:a16="http://schemas.microsoft.com/office/drawing/2014/main" id="{1D3E91D8-E93C-4A7B-B794-ACDD2AC64C20}"/>
                  </a:ext>
                </a:extLst>
              </p:cNvPr>
              <p:cNvSpPr/>
              <p:nvPr/>
            </p:nvSpPr>
            <p:spPr>
              <a:xfrm>
                <a:off x="3662622" y="4296303"/>
                <a:ext cx="3054276" cy="312540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삼일회계법인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Assurance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본부 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ko-KR" altLang="en-US" sz="8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이보화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</p:txBody>
          </p:sp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407047C0-AAAE-4811-A824-28972DEA147F}"/>
                  </a:ext>
                </a:extLst>
              </p:cNvPr>
              <p:cNvSpPr/>
              <p:nvPr/>
            </p:nvSpPr>
            <p:spPr>
              <a:xfrm>
                <a:off x="3662622" y="4099935"/>
                <a:ext cx="1600740" cy="118117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ko-KR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/>
                  </a:rPr>
                  <a:t>● </a:t>
                </a:r>
                <a:r>
                  <a:rPr lang="ko-KR" altLang="en-US" sz="9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담당 부서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pic>
            <p:nvPicPr>
              <p:cNvPr id="149" name="Picture 2" descr="집 ">
                <a:extLst>
                  <a:ext uri="{FF2B5EF4-FFF2-40B4-BE49-F238E27FC236}">
                    <a16:creationId xmlns:a16="http://schemas.microsoft.com/office/drawing/2014/main" id="{02AA3C0B-CBDE-47D8-B738-DFBDF3F27C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7863" y="4283616"/>
                <a:ext cx="94162" cy="94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0" name="직사각형 149">
                <a:extLst>
                  <a:ext uri="{FF2B5EF4-FFF2-40B4-BE49-F238E27FC236}">
                    <a16:creationId xmlns:a16="http://schemas.microsoft.com/office/drawing/2014/main" id="{9184ED1C-4ADA-48DD-953A-2CFC7B46D66E}"/>
                  </a:ext>
                </a:extLst>
              </p:cNvPr>
              <p:cNvSpPr/>
              <p:nvPr/>
            </p:nvSpPr>
            <p:spPr>
              <a:xfrm>
                <a:off x="3662622" y="4711675"/>
                <a:ext cx="3054276" cy="312540"/>
              </a:xfrm>
              <a:prstGeom prst="rect">
                <a:avLst/>
              </a:prstGeom>
              <a:noFill/>
              <a:ln w="3175" cap="flat">
                <a:noFill/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44000" tIns="36000" rIns="144000" bIns="109720" numCol="1" spcCol="38100" rtlCol="0" anchor="ctr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삼일회계법인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Tax 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본부 </a:t>
                </a:r>
                <a:endPara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ko-KR" altLang="en-US" sz="8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소주현</a:t>
                </a:r>
                <a:r>
                  <a:rPr lang="ko-KR" altLang="en-US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lang="en-US" altLang="ko-KR" sz="8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artner</a:t>
                </a:r>
              </a:p>
            </p:txBody>
          </p:sp>
          <p:pic>
            <p:nvPicPr>
              <p:cNvPr id="151" name="Picture 2" descr="집 ">
                <a:extLst>
                  <a:ext uri="{FF2B5EF4-FFF2-40B4-BE49-F238E27FC236}">
                    <a16:creationId xmlns:a16="http://schemas.microsoft.com/office/drawing/2014/main" id="{653AF2A7-CCD2-4C39-9ABE-344B0B6787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52996" y="4698988"/>
                <a:ext cx="94162" cy="94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42" name="직선 연결선 141">
              <a:extLst>
                <a:ext uri="{FF2B5EF4-FFF2-40B4-BE49-F238E27FC236}">
                  <a16:creationId xmlns:a16="http://schemas.microsoft.com/office/drawing/2014/main" id="{93735185-7575-4112-BB0A-AE445C22A549}"/>
                </a:ext>
              </a:extLst>
            </p:cNvPr>
            <p:cNvCxnSpPr>
              <a:cxnSpLocks/>
            </p:cNvCxnSpPr>
            <p:nvPr/>
          </p:nvCxnSpPr>
          <p:spPr>
            <a:xfrm>
              <a:off x="3856339" y="4872866"/>
              <a:ext cx="1124121" cy="0"/>
            </a:xfrm>
            <a:prstGeom prst="line">
              <a:avLst/>
            </a:prstGeom>
            <a:ln w="28575">
              <a:solidFill>
                <a:srgbClr val="C04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직선 연결선 142">
              <a:extLst>
                <a:ext uri="{FF2B5EF4-FFF2-40B4-BE49-F238E27FC236}">
                  <a16:creationId xmlns:a16="http://schemas.microsoft.com/office/drawing/2014/main" id="{4A8BBCCE-E495-4AEC-8513-A2C62608BE4C}"/>
                </a:ext>
              </a:extLst>
            </p:cNvPr>
            <p:cNvCxnSpPr>
              <a:cxnSpLocks/>
            </p:cNvCxnSpPr>
            <p:nvPr/>
          </p:nvCxnSpPr>
          <p:spPr>
            <a:xfrm>
              <a:off x="3856339" y="5269873"/>
              <a:ext cx="837097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2" name="사각형: 둥근 모서리 151">
            <a:extLst>
              <a:ext uri="{FF2B5EF4-FFF2-40B4-BE49-F238E27FC236}">
                <a16:creationId xmlns:a16="http://schemas.microsoft.com/office/drawing/2014/main" id="{642DE4EB-9579-4A87-9A87-7E27F350C8FA}"/>
              </a:ext>
            </a:extLst>
          </p:cNvPr>
          <p:cNvSpPr/>
          <p:nvPr/>
        </p:nvSpPr>
        <p:spPr>
          <a:xfrm>
            <a:off x="4845381" y="511555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3" name="사각형: 둥근 모서리 152">
            <a:extLst>
              <a:ext uri="{FF2B5EF4-FFF2-40B4-BE49-F238E27FC236}">
                <a16:creationId xmlns:a16="http://schemas.microsoft.com/office/drawing/2014/main" id="{BDCD7DFC-2D26-4C9B-BCC6-6D4EA647140C}"/>
              </a:ext>
            </a:extLst>
          </p:cNvPr>
          <p:cNvSpPr/>
          <p:nvPr/>
        </p:nvSpPr>
        <p:spPr>
          <a:xfrm>
            <a:off x="512524" y="582070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3D1066ED-9B38-4609-8921-4F9EA74B2560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020770B0-01FA-48FA-8285-6115600EFB8A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58472543-EA0B-4C9D-9301-21D845B415D0}"/>
              </a:ext>
            </a:extLst>
          </p:cNvPr>
          <p:cNvSpPr/>
          <p:nvPr/>
        </p:nvSpPr>
        <p:spPr>
          <a:xfrm>
            <a:off x="4851873" y="4874653"/>
            <a:ext cx="3550408" cy="1057864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리스트 제거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algn="ctr"/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/>
                <a:cs typeface="Arial"/>
              </a:rPr>
              <a:t>(23.08.25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CD1BA35F-6235-4611-AD67-A7C84513B9AC}"/>
              </a:ext>
            </a:extLst>
          </p:cNvPr>
          <p:cNvSpPr/>
          <p:nvPr/>
        </p:nvSpPr>
        <p:spPr>
          <a:xfrm>
            <a:off x="733231" y="5786295"/>
            <a:ext cx="3992300" cy="21864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서비스 문의하기</a:t>
            </a:r>
          </a:p>
        </p:txBody>
      </p:sp>
      <p:grpSp>
        <p:nvGrpSpPr>
          <p:cNvPr id="209" name="그룹 208">
            <a:extLst>
              <a:ext uri="{FF2B5EF4-FFF2-40B4-BE49-F238E27FC236}">
                <a16:creationId xmlns:a16="http://schemas.microsoft.com/office/drawing/2014/main" id="{F6953D71-A03E-4ABE-AA8C-3D8F3F81ED9E}"/>
              </a:ext>
            </a:extLst>
          </p:cNvPr>
          <p:cNvGrpSpPr/>
          <p:nvPr/>
        </p:nvGrpSpPr>
        <p:grpSpPr>
          <a:xfrm>
            <a:off x="8973779" y="-1"/>
            <a:ext cx="3218221" cy="1349519"/>
            <a:chOff x="8943505" y="2215646"/>
            <a:chExt cx="3218221" cy="1349519"/>
          </a:xfrm>
        </p:grpSpPr>
        <p:sp>
          <p:nvSpPr>
            <p:cNvPr id="210" name="직사각형 209">
              <a:extLst>
                <a:ext uri="{FF2B5EF4-FFF2-40B4-BE49-F238E27FC236}">
                  <a16:creationId xmlns:a16="http://schemas.microsoft.com/office/drawing/2014/main" id="{8B6DE5D5-C92C-4B16-B925-10BF0962D10A}"/>
                </a:ext>
              </a:extLst>
            </p:cNvPr>
            <p:cNvSpPr/>
            <p:nvPr/>
          </p:nvSpPr>
          <p:spPr>
            <a:xfrm>
              <a:off x="8943505" y="2215646"/>
              <a:ext cx="3218221" cy="134951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cap="sq" cmpd="sng" algn="ctr">
              <a:solidFill>
                <a:srgbClr val="D04A02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914400">
                <a:lnSpc>
                  <a:spcPct val="110000"/>
                </a:lnSpc>
              </a:pP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&lt;23.08.29&gt;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기획서 통합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∙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‘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관련 컨텐츠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’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영역을 디자인 시안에 맞게 변경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(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유형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+</a:t>
              </a:r>
              <a:r>
                <a:rPr lang="ko-KR" altLang="en-US" sz="800" b="1" kern="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컨텐츠종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제목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 </a:t>
              </a:r>
              <a:b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</a:b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업무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주제분류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토픽키워드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+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제목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)</a:t>
              </a: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관련하여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기능 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[4]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수정함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단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, 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디자인 시안에 문서</a:t>
              </a:r>
              <a:r>
                <a:rPr lang="en-US" altLang="ko-KR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/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  <a:sym typeface="Wingdings" panose="05000000000000000000" pitchFamily="2" charset="2"/>
                </a:rPr>
                <a:t>영상 구분 박스 필요함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  <a:p>
              <a:pPr defTabSz="914400">
                <a:lnSpc>
                  <a:spcPct val="110000"/>
                </a:lnSpc>
              </a:pP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endParaRPr>
            </a:p>
            <a:p>
              <a:pPr defTabSz="914400">
                <a:lnSpc>
                  <a:spcPct val="110000"/>
                </a:lnSpc>
              </a:pP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‘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삼일 서비스 문의하기</a:t>
              </a:r>
              <a:r>
                <a:rPr lang="en-US" altLang="ko-KR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‘ </a:t>
              </a: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버튼 위치를 </a:t>
              </a:r>
              <a:endPara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r>
                <a:rPr lang="ko-KR" altLang="en-US" sz="800" b="1" kern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디자인 시안과 같이 왼쪽으로 이동</a:t>
              </a:r>
              <a:r>
                <a:rPr lang="ko-KR" altLang="en-US" sz="800" b="1" kern="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ea typeface="맑은 고딕"/>
                  <a:cs typeface="Arial"/>
                </a:rPr>
                <a:t> </a:t>
              </a:r>
              <a:endParaRPr lang="en-US" altLang="ko-KR" sz="800" b="1" kern="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endParaRPr>
            </a:p>
            <a:p>
              <a:pPr defTabSz="914400">
                <a:lnSpc>
                  <a:spcPct val="110000"/>
                </a:lnSpc>
              </a:pPr>
              <a:endPara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211" name="그림 210">
              <a:extLst>
                <a:ext uri="{FF2B5EF4-FFF2-40B4-BE49-F238E27FC236}">
                  <a16:creationId xmlns:a16="http://schemas.microsoft.com/office/drawing/2014/main" id="{08E60C15-0E9D-4FC4-A63D-7B04CC7E0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109843" y="2276872"/>
              <a:ext cx="990266" cy="976464"/>
            </a:xfrm>
            <a:prstGeom prst="rect">
              <a:avLst/>
            </a:prstGeom>
          </p:spPr>
        </p:pic>
      </p:grp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A5AB8E67-B478-4C58-A84D-F72E9C558BFB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62440AC6-13F4-44B6-82F6-18CABF4BEDA8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46A1086-C497-442A-91B5-6C7A83054D89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7C395A58-4CAD-432D-BBC9-48C6EC14BDD5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118" name="그림 117">
              <a:extLst>
                <a:ext uri="{FF2B5EF4-FFF2-40B4-BE49-F238E27FC236}">
                  <a16:creationId xmlns:a16="http://schemas.microsoft.com/office/drawing/2014/main" id="{4C6C3302-3A1E-41C7-BF2E-DF297B104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412FE134-AE78-48DC-9BB4-9882FD5A8495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DCAAFA1B-F57B-4AC4-8A73-36EE18C59F06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121" name="직사각형 120">
              <a:extLst>
                <a:ext uri="{FF2B5EF4-FFF2-40B4-BE49-F238E27FC236}">
                  <a16:creationId xmlns:a16="http://schemas.microsoft.com/office/drawing/2014/main" id="{7640A3EB-474B-43B7-817B-5369F0436F37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269945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직사각형 60">
            <a:extLst>
              <a:ext uri="{FF2B5EF4-FFF2-40B4-BE49-F238E27FC236}">
                <a16:creationId xmlns:a16="http://schemas.microsoft.com/office/drawing/2014/main" id="{0DBA5CB9-3EBE-435D-95C7-A9C5A49E4709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과제이행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04463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16D3F20-8DA0-49A6-8E41-B6FC02750BE7}"/>
              </a:ext>
            </a:extLst>
          </p:cNvPr>
          <p:cNvSpPr/>
          <p:nvPr/>
        </p:nvSpPr>
        <p:spPr>
          <a:xfrm>
            <a:off x="550863" y="4330691"/>
            <a:ext cx="1225713" cy="1848099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공급망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G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관리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7"/>
            <a:ext cx="8208962" cy="8830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은 경영활동 과정 내에서 임직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협력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소비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지역사회 등 사회 전체에 이익이 되는 방향으로 운영하여 사회적 책임을 다해야 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특히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최근 기업 뿐 아니라 전체 공급망에 대한 책임이 중요한 경영 이슈로 대두되고 있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의 사회적 책임과 관련된 법률 준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해관계자 관심 사항 및 업종 특성을 고려한 경영관리가 요구되고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이슈영역별 사업목표와 계획 수립부터 이에 대한 정책과 프로그램 기획 및 운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필수 지표 측정 및 모니터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과제이행에 대한 성과 평가까지 모든 업무가 연계되어야 하며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 과정에서 </a:t>
            </a:r>
            <a:r>
              <a:rPr lang="en-US" altLang="ko-KR" sz="900" dirty="0">
                <a:solidFill>
                  <a:schemeClr val="tx1"/>
                </a:solidFill>
              </a:rPr>
              <a:t>ISO </a:t>
            </a:r>
            <a:r>
              <a:rPr lang="ko-KR" altLang="en-US" sz="900" dirty="0">
                <a:solidFill>
                  <a:schemeClr val="tx1"/>
                </a:solidFill>
              </a:rPr>
              <a:t>인증 및 사회 주제 관련 글로벌 이니셔티브 가입까지 함께 검토할 수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1937ADCB-39D1-427B-8A32-EE34799C10D3}"/>
              </a:ext>
            </a:extLst>
          </p:cNvPr>
          <p:cNvCxnSpPr>
            <a:cxnSpLocks/>
          </p:cNvCxnSpPr>
          <p:nvPr/>
        </p:nvCxnSpPr>
        <p:spPr>
          <a:xfrm>
            <a:off x="550863" y="6237312"/>
            <a:ext cx="817399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A8A4F5BA-183F-40EA-A1CE-A508795E45E5}"/>
              </a:ext>
            </a:extLst>
          </p:cNvPr>
          <p:cNvSpPr/>
          <p:nvPr/>
        </p:nvSpPr>
        <p:spPr>
          <a:xfrm>
            <a:off x="1832069" y="4330691"/>
            <a:ext cx="6017526" cy="1833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공급망 내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위험 진단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공급망 내 발생 가능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위험 검토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협력사에 대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실사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현장 방문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직원 인터뷰 등</a:t>
            </a:r>
            <a:r>
              <a:rPr lang="en-US" altLang="ko-KR" sz="900" dirty="0">
                <a:solidFill>
                  <a:schemeClr val="tx1"/>
                </a:solidFill>
              </a:rPr>
              <a:t>) </a:t>
            </a:r>
            <a:r>
              <a:rPr lang="ko-KR" altLang="en-US" sz="900" dirty="0">
                <a:solidFill>
                  <a:schemeClr val="tx1"/>
                </a:solidFill>
              </a:rPr>
              <a:t>시행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공급망 위험 대응체계 구축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실사 결과에 기반한 개선 방안 수립 및 개선 활동 점검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공급망 위험 보고체계 확보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목표 및 과제 설정 지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이행 현황 및 성과 점검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투자 등 금전적 혜택 제공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술 및 설비 지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교육 제공 등 다양한 협력사 지원 방안 수립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공급망 내 분쟁광물 사용 여부 확인 및 관련 규제 준수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분쟁광물</a:t>
            </a:r>
            <a:r>
              <a:rPr lang="en-US" altLang="ko-KR" sz="900" dirty="0">
                <a:solidFill>
                  <a:schemeClr val="tx1"/>
                </a:solidFill>
              </a:rPr>
              <a:t>: </a:t>
            </a:r>
            <a:r>
              <a:rPr lang="ko-KR" altLang="en-US" sz="900" dirty="0">
                <a:solidFill>
                  <a:schemeClr val="tx1"/>
                </a:solidFill>
              </a:rPr>
              <a:t>콩고민주공화국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우간다 등 아프리카 분쟁 지역에서 무장 단체의 자금 조달 목적으로 불법적으로 생산되는 광물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금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</a:rPr>
              <a:t>주석석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주석의 원광</a:t>
            </a:r>
            <a:r>
              <a:rPr lang="en-US" altLang="ko-KR" sz="900" dirty="0">
                <a:solidFill>
                  <a:schemeClr val="tx1"/>
                </a:solidFill>
              </a:rPr>
              <a:t>), </a:t>
            </a:r>
            <a:r>
              <a:rPr lang="ko-KR" altLang="en-US" sz="900" dirty="0" err="1">
                <a:solidFill>
                  <a:schemeClr val="tx1"/>
                </a:solidFill>
              </a:rPr>
              <a:t>콜탄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 err="1">
                <a:solidFill>
                  <a:schemeClr val="tx1"/>
                </a:solidFill>
              </a:rPr>
              <a:t>탄탈럼의</a:t>
            </a:r>
            <a:r>
              <a:rPr lang="ko-KR" altLang="en-US" sz="900" dirty="0">
                <a:solidFill>
                  <a:schemeClr val="tx1"/>
                </a:solidFill>
              </a:rPr>
              <a:t> 원광</a:t>
            </a:r>
            <a:r>
              <a:rPr lang="en-US" altLang="ko-KR" sz="900" dirty="0">
                <a:solidFill>
                  <a:schemeClr val="tx1"/>
                </a:solidFill>
              </a:rPr>
              <a:t>), </a:t>
            </a:r>
            <a:r>
              <a:rPr lang="ko-KR" altLang="en-US" sz="900" dirty="0" err="1">
                <a:solidFill>
                  <a:schemeClr val="tx1"/>
                </a:solidFill>
              </a:rPr>
              <a:t>철망간중석</a:t>
            </a:r>
            <a:r>
              <a:rPr lang="en-US" altLang="ko-KR" sz="900" dirty="0">
                <a:solidFill>
                  <a:schemeClr val="tx1"/>
                </a:solidFill>
              </a:rPr>
              <a:t>(</a:t>
            </a:r>
            <a:r>
              <a:rPr lang="ko-KR" altLang="en-US" sz="900" dirty="0">
                <a:solidFill>
                  <a:schemeClr val="tx1"/>
                </a:solidFill>
              </a:rPr>
              <a:t>텅스텐의 원광</a:t>
            </a:r>
            <a:r>
              <a:rPr lang="en-US" altLang="ko-KR" sz="900" dirty="0">
                <a:solidFill>
                  <a:schemeClr val="tx1"/>
                </a:solidFill>
              </a:rPr>
              <a:t>) 4</a:t>
            </a:r>
            <a:r>
              <a:rPr lang="ko-KR" altLang="en-US" sz="900" dirty="0">
                <a:solidFill>
                  <a:schemeClr val="tx1"/>
                </a:solidFill>
              </a:rPr>
              <a:t>가지 광물을 지칭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740B0C7E-02E6-4745-9A6A-1E7167BF03C9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32EE722B-6A83-4E87-BAF0-0E54ED076554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09D9D8CB-2FC3-44F8-8420-B3D1CBEF09FC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5A2C4ABB-FD2B-47FE-BC98-33BD203E6973}"/>
              </a:ext>
            </a:extLst>
          </p:cNvPr>
          <p:cNvSpPr/>
          <p:nvPr/>
        </p:nvSpPr>
        <p:spPr>
          <a:xfrm>
            <a:off x="7959914" y="5942810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9723BE48-A2FA-41DC-A9F3-218DD388601E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EF5203D7-5201-4BB1-8862-D33395EFF9DF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674BA6B2-4E0D-49D2-90C2-68AC788194CD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559E7D14-E065-4002-BEED-6AF4FF3CC36A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63" name="그림 62">
              <a:extLst>
                <a:ext uri="{FF2B5EF4-FFF2-40B4-BE49-F238E27FC236}">
                  <a16:creationId xmlns:a16="http://schemas.microsoft.com/office/drawing/2014/main" id="{CF8E0FA3-CCB9-4058-92AA-68885A3BA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B9C7000A-D3C0-444C-A966-F7D0AE18B38B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1A94A125-322E-4D99-8505-15088402CAEC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9F1364EC-BC46-4FEA-985D-827897B7FABC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29103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직사각형 60">
            <a:extLst>
              <a:ext uri="{FF2B5EF4-FFF2-40B4-BE49-F238E27FC236}">
                <a16:creationId xmlns:a16="http://schemas.microsoft.com/office/drawing/2014/main" id="{896EE8AC-BFF9-46A8-A76D-536F79BC42DA}"/>
              </a:ext>
            </a:extLst>
          </p:cNvPr>
          <p:cNvSpPr/>
          <p:nvPr/>
        </p:nvSpPr>
        <p:spPr>
          <a:xfrm>
            <a:off x="-1793083" y="1577270"/>
            <a:ext cx="10616245" cy="5108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활동 가이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과제 이행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 과제이행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A20D60DF-B267-4BC6-AE53-3F68C14387F6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64429B64-A779-4929-9329-030D613B3364}"/>
              </a:ext>
            </a:extLst>
          </p:cNvPr>
          <p:cNvSpPr/>
          <p:nvPr/>
        </p:nvSpPr>
        <p:spPr bwMode="auto">
          <a:xfrm>
            <a:off x="341695" y="6403524"/>
            <a:ext cx="8626856" cy="265836"/>
          </a:xfrm>
          <a:prstGeom prst="rect">
            <a:avLst/>
          </a:prstGeom>
          <a:solidFill>
            <a:srgbClr val="F2F2F2">
              <a:alpha val="89804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FOOTER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1" name="표 10">
            <a:extLst>
              <a:ext uri="{FF2B5EF4-FFF2-40B4-BE49-F238E27FC236}">
                <a16:creationId xmlns:a16="http://schemas.microsoft.com/office/drawing/2014/main" id="{7085E0BA-9AE1-4C53-BEE8-9476433CE332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8"/>
          <a:ext cx="2922885" cy="32075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81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5252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29174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F5E0C5A0-25A3-4B4B-9F5E-889ED214448B}"/>
              </a:ext>
            </a:extLst>
          </p:cNvPr>
          <p:cNvSpPr/>
          <p:nvPr/>
        </p:nvSpPr>
        <p:spPr>
          <a:xfrm>
            <a:off x="8995170" y="3174321"/>
            <a:ext cx="216000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4" name="직선 연결선 53">
            <a:extLst>
              <a:ext uri="{FF2B5EF4-FFF2-40B4-BE49-F238E27FC236}">
                <a16:creationId xmlns:a16="http://schemas.microsoft.com/office/drawing/2014/main" id="{B228E736-AC8D-4762-AE14-0DFBEC6C18E6}"/>
              </a:ext>
            </a:extLst>
          </p:cNvPr>
          <p:cNvCxnSpPr>
            <a:cxnSpLocks/>
          </p:cNvCxnSpPr>
          <p:nvPr/>
        </p:nvCxnSpPr>
        <p:spPr>
          <a:xfrm>
            <a:off x="341695" y="1272966"/>
            <a:ext cx="863861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C08C2D47-50E7-4A50-98A1-996E15D0751B}"/>
              </a:ext>
            </a:extLst>
          </p:cNvPr>
          <p:cNvSpPr/>
          <p:nvPr/>
        </p:nvSpPr>
        <p:spPr>
          <a:xfrm>
            <a:off x="339521" y="1272836"/>
            <a:ext cx="8647314" cy="236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계획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가이드</a:t>
            </a:r>
          </a:p>
        </p:txBody>
      </p:sp>
      <p:sp>
        <p:nvSpPr>
          <p:cNvPr id="56" name="Window Frame" descr="&lt;SmartSettings&gt;&lt;SmartResize anchorLeft=&quot;Absolute&quot; anchorTop=&quot;Absolute&quot; anchorRight=&quot;Absolute&quot; anchorBottom=&quot;Absolute&quot; /&gt;&lt;/SmartSettings&gt;">
            <a:extLst>
              <a:ext uri="{FF2B5EF4-FFF2-40B4-BE49-F238E27FC236}">
                <a16:creationId xmlns:a16="http://schemas.microsoft.com/office/drawing/2014/main" id="{C5B6C4F5-3177-4187-A68A-EA5CD7D0D5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56243" y="1562411"/>
            <a:ext cx="8630592" cy="370898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atinLnBrk="0"/>
            <a:r>
              <a: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 가이드 </a:t>
            </a:r>
            <a:r>
              <a:rPr lang="en-US" altLang="ko-KR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ESG </a:t>
            </a:r>
            <a:r>
              <a:rPr lang="ko-KR" altLang="en-US" sz="1300" b="1" strike="sngStrike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과제이행</a:t>
            </a:r>
            <a:endParaRPr lang="en-US" altLang="ko-KR" sz="1300" b="1" strike="sngStrike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3426E8F3-D708-42DC-9660-FC09D921E9ED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425C1121-3DC1-4ACC-B3E4-C5916D89B65A}"/>
              </a:ext>
            </a:extLst>
          </p:cNvPr>
          <p:cNvCxnSpPr>
            <a:cxnSpLocks/>
          </p:cNvCxnSpPr>
          <p:nvPr/>
        </p:nvCxnSpPr>
        <p:spPr>
          <a:xfrm>
            <a:off x="352742" y="2246114"/>
            <a:ext cx="8642428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A0E3EE50-B528-4131-AB4B-D6ADE6F1D9D9}"/>
              </a:ext>
            </a:extLst>
          </p:cNvPr>
          <p:cNvSpPr/>
          <p:nvPr/>
        </p:nvSpPr>
        <p:spPr>
          <a:xfrm>
            <a:off x="549940" y="3044897"/>
            <a:ext cx="8102836" cy="564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endParaRPr lang="ko-KR" altLang="en-US" sz="1000" dirty="0">
              <a:solidFill>
                <a:schemeClr val="tx1"/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6A582667-4080-49A3-A7C4-BB3C73848180}"/>
              </a:ext>
            </a:extLst>
          </p:cNvPr>
          <p:cNvGrpSpPr/>
          <p:nvPr/>
        </p:nvGrpSpPr>
        <p:grpSpPr>
          <a:xfrm>
            <a:off x="479425" y="2388804"/>
            <a:ext cx="2736255" cy="296845"/>
            <a:chOff x="479425" y="2388804"/>
            <a:chExt cx="2570095" cy="296845"/>
          </a:xfrm>
        </p:grpSpPr>
        <p:sp>
          <p:nvSpPr>
            <p:cNvPr id="75" name="사각형: 둥근 위쪽 모서리 74">
              <a:extLst>
                <a:ext uri="{FF2B5EF4-FFF2-40B4-BE49-F238E27FC236}">
                  <a16:creationId xmlns:a16="http://schemas.microsoft.com/office/drawing/2014/main" id="{2C18F005-8D62-4AB8-A3E2-DB85F8350F9E}"/>
                </a:ext>
              </a:extLst>
            </p:cNvPr>
            <p:cNvSpPr/>
            <p:nvPr/>
          </p:nvSpPr>
          <p:spPr>
            <a:xfrm>
              <a:off x="479425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b="1" dirty="0">
                  <a:solidFill>
                    <a:schemeClr val="bg1"/>
                  </a:solidFill>
                </a:rPr>
                <a:t>ESG </a:t>
              </a:r>
              <a:r>
                <a:rPr lang="ko-KR" altLang="en-US" sz="1000" b="1" dirty="0">
                  <a:solidFill>
                    <a:schemeClr val="bg1"/>
                  </a:solidFill>
                </a:rPr>
                <a:t>경영전략 수립</a:t>
              </a:r>
            </a:p>
          </p:txBody>
        </p:sp>
        <p:sp>
          <p:nvSpPr>
            <p:cNvPr id="76" name="사각형: 둥근 위쪽 모서리 75">
              <a:extLst>
                <a:ext uri="{FF2B5EF4-FFF2-40B4-BE49-F238E27FC236}">
                  <a16:creationId xmlns:a16="http://schemas.microsoft.com/office/drawing/2014/main" id="{423C8752-580B-4FC6-96E6-02F5CCD592CB}"/>
                </a:ext>
              </a:extLst>
            </p:cNvPr>
            <p:cNvSpPr/>
            <p:nvPr/>
          </p:nvSpPr>
          <p:spPr>
            <a:xfrm>
              <a:off x="1776576" y="2388804"/>
              <a:ext cx="1272944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경영체계 수립</a:t>
              </a:r>
            </a:p>
          </p:txBody>
        </p:sp>
      </p:grp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F17850D-B471-4FA2-A05A-3039210C08EE}"/>
              </a:ext>
            </a:extLst>
          </p:cNvPr>
          <p:cNvCxnSpPr>
            <a:cxnSpLocks/>
          </p:cNvCxnSpPr>
          <p:nvPr/>
        </p:nvCxnSpPr>
        <p:spPr>
          <a:xfrm>
            <a:off x="479425" y="2685649"/>
            <a:ext cx="82454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D3567AA-C6EE-46F9-AE3F-C6C8B5EB5D00}"/>
              </a:ext>
            </a:extLst>
          </p:cNvPr>
          <p:cNvSpPr/>
          <p:nvPr/>
        </p:nvSpPr>
        <p:spPr>
          <a:xfrm>
            <a:off x="479425" y="2804991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요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305CB55C-8240-4D83-BE49-392F16E11603}"/>
              </a:ext>
            </a:extLst>
          </p:cNvPr>
          <p:cNvSpPr/>
          <p:nvPr/>
        </p:nvSpPr>
        <p:spPr>
          <a:xfrm>
            <a:off x="471036" y="4044630"/>
            <a:ext cx="8245431" cy="24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주요 경영활동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916D3F20-8DA0-49A6-8E41-B6FC02750BE7}"/>
              </a:ext>
            </a:extLst>
          </p:cNvPr>
          <p:cNvSpPr/>
          <p:nvPr/>
        </p:nvSpPr>
        <p:spPr>
          <a:xfrm>
            <a:off x="550863" y="4330691"/>
            <a:ext cx="1225713" cy="1624582"/>
          </a:xfrm>
          <a:prstGeom prst="roundRect">
            <a:avLst>
              <a:gd name="adj" fmla="val 120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이사회 구성 및 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&amp;R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분담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11E8179-5BF9-40D8-B0FB-E58370599E42}"/>
              </a:ext>
            </a:extLst>
          </p:cNvPr>
          <p:cNvSpPr/>
          <p:nvPr/>
        </p:nvSpPr>
        <p:spPr>
          <a:xfrm>
            <a:off x="550863" y="3024637"/>
            <a:ext cx="8208962" cy="8830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기업은 건전한 지배구조 확보를 통해 기업에 대한 이해관계자의 신뢰를 형성하고 지속가능한 성장을 도모해야 합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</a:p>
          <a:p>
            <a:pPr marL="171450" indent="-171450">
              <a:spcAft>
                <a:spcPts val="600"/>
              </a:spcAft>
              <a:buFontTx/>
              <a:buChar char="▶"/>
            </a:pPr>
            <a:r>
              <a:rPr lang="ko-KR" altLang="en-US" sz="900" dirty="0">
                <a:solidFill>
                  <a:schemeClr val="tx1"/>
                </a:solidFill>
              </a:rPr>
              <a:t>독립적인 이사회의 운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독립적인 감사조직의 감사 및 철저한 내부통제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주주 권리 보장과 주주 의견 반영 활성화를 통해 건전한 지배구조를 달성할 수 있습니다</a:t>
            </a:r>
            <a:r>
              <a:rPr lang="en-US" altLang="ko-KR" sz="900" dirty="0">
                <a:solidFill>
                  <a:schemeClr val="tx1"/>
                </a:solidFill>
              </a:rPr>
              <a:t>. </a:t>
            </a:r>
            <a:r>
              <a:rPr lang="ko-KR" altLang="en-US" sz="900" dirty="0">
                <a:solidFill>
                  <a:schemeClr val="tx1"/>
                </a:solidFill>
              </a:rPr>
              <a:t>그리고 경영 활동 내에서 임직원의 반부패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공정 경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공정 계약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정보보안유지 등 윤리 원칙의 준수가 함께 이루어져야 기업의 지속가능성을 더욱 높일 수 있습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A78968D7-BE37-4C77-ACB5-4D4E65FF1BEE}"/>
              </a:ext>
            </a:extLst>
          </p:cNvPr>
          <p:cNvGrpSpPr/>
          <p:nvPr/>
        </p:nvGrpSpPr>
        <p:grpSpPr>
          <a:xfrm>
            <a:off x="8835174" y="2244969"/>
            <a:ext cx="152360" cy="4140000"/>
            <a:chOff x="9201470" y="1601344"/>
            <a:chExt cx="188139" cy="4198758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8EAAAC9F-566E-4AEC-97B2-8DC15C3ECB53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057A28C9-7BDA-4CEA-A1E9-8BD12BA1A5AE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7D35607-2CA2-4CF4-BB76-71FB8CA4B071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8D81B9ED-6ED1-4016-8C2E-4057DB33DF0F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F458E96A-D118-4FA2-8868-7B52B9FCD07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4CF27227-1369-42A0-ACCA-3AD00AFA6747}"/>
              </a:ext>
            </a:extLst>
          </p:cNvPr>
          <p:cNvGrpSpPr/>
          <p:nvPr/>
        </p:nvGrpSpPr>
        <p:grpSpPr>
          <a:xfrm>
            <a:off x="479425" y="2388804"/>
            <a:ext cx="8226592" cy="296845"/>
            <a:chOff x="479425" y="2388804"/>
            <a:chExt cx="8226592" cy="296845"/>
          </a:xfrm>
        </p:grpSpPr>
        <p:sp>
          <p:nvSpPr>
            <p:cNvPr id="90" name="사각형: 둥근 위쪽 모서리 89">
              <a:extLst>
                <a:ext uri="{FF2B5EF4-FFF2-40B4-BE49-F238E27FC236}">
                  <a16:creationId xmlns:a16="http://schemas.microsoft.com/office/drawing/2014/main" id="{B11DDC32-8861-4602-BAD1-780979125C2D}"/>
                </a:ext>
              </a:extLst>
            </p:cNvPr>
            <p:cNvSpPr/>
            <p:nvPr/>
          </p:nvSpPr>
          <p:spPr>
            <a:xfrm>
              <a:off x="47942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환경 과제이행</a:t>
              </a:r>
            </a:p>
          </p:txBody>
        </p:sp>
        <p:sp>
          <p:nvSpPr>
            <p:cNvPr id="91" name="사각형: 둥근 위쪽 모서리 90">
              <a:extLst>
                <a:ext uri="{FF2B5EF4-FFF2-40B4-BE49-F238E27FC236}">
                  <a16:creationId xmlns:a16="http://schemas.microsoft.com/office/drawing/2014/main" id="{96A80D74-96F1-4E0E-ACD4-8F0BDBE7E872}"/>
                </a:ext>
              </a:extLst>
            </p:cNvPr>
            <p:cNvSpPr/>
            <p:nvPr/>
          </p:nvSpPr>
          <p:spPr>
            <a:xfrm>
              <a:off x="185369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사회 과제이행</a:t>
              </a:r>
            </a:p>
          </p:txBody>
        </p:sp>
        <p:sp>
          <p:nvSpPr>
            <p:cNvPr id="92" name="사각형: 둥근 위쪽 모서리 91">
              <a:extLst>
                <a:ext uri="{FF2B5EF4-FFF2-40B4-BE49-F238E27FC236}">
                  <a16:creationId xmlns:a16="http://schemas.microsoft.com/office/drawing/2014/main" id="{12162552-87CB-44B6-BAE4-ECB46482C08A}"/>
                </a:ext>
              </a:extLst>
            </p:cNvPr>
            <p:cNvSpPr/>
            <p:nvPr/>
          </p:nvSpPr>
          <p:spPr>
            <a:xfrm>
              <a:off x="322796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>
                  <a:solidFill>
                    <a:schemeClr val="bg1"/>
                  </a:solidFill>
                </a:rPr>
                <a:t>거버넌스 과제이행</a:t>
              </a:r>
            </a:p>
          </p:txBody>
        </p:sp>
        <p:sp>
          <p:nvSpPr>
            <p:cNvPr id="93" name="사각형: 둥근 위쪽 모서리 92">
              <a:extLst>
                <a:ext uri="{FF2B5EF4-FFF2-40B4-BE49-F238E27FC236}">
                  <a16:creationId xmlns:a16="http://schemas.microsoft.com/office/drawing/2014/main" id="{801A5C05-042C-409C-B4F7-279C6F9A8A1A}"/>
                </a:ext>
              </a:extLst>
            </p:cNvPr>
            <p:cNvSpPr/>
            <p:nvPr/>
          </p:nvSpPr>
          <p:spPr>
            <a:xfrm>
              <a:off x="460223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지속가능 금융</a:t>
              </a:r>
            </a:p>
          </p:txBody>
        </p:sp>
        <p:sp>
          <p:nvSpPr>
            <p:cNvPr id="94" name="사각형: 둥근 위쪽 모서리 93">
              <a:extLst>
                <a:ext uri="{FF2B5EF4-FFF2-40B4-BE49-F238E27FC236}">
                  <a16:creationId xmlns:a16="http://schemas.microsoft.com/office/drawing/2014/main" id="{6FC4768C-538C-48D0-A9E3-DF1F933420A0}"/>
                </a:ext>
              </a:extLst>
            </p:cNvPr>
            <p:cNvSpPr/>
            <p:nvPr/>
          </p:nvSpPr>
          <p:spPr>
            <a:xfrm>
              <a:off x="597650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영향평가</a:t>
              </a:r>
            </a:p>
          </p:txBody>
        </p:sp>
        <p:sp>
          <p:nvSpPr>
            <p:cNvPr id="95" name="사각형: 둥근 위쪽 모서리 94">
              <a:extLst>
                <a:ext uri="{FF2B5EF4-FFF2-40B4-BE49-F238E27FC236}">
                  <a16:creationId xmlns:a16="http://schemas.microsoft.com/office/drawing/2014/main" id="{75D61856-915C-45A1-AA11-3D5970EDB719}"/>
                </a:ext>
              </a:extLst>
            </p:cNvPr>
            <p:cNvSpPr/>
            <p:nvPr/>
          </p:nvSpPr>
          <p:spPr>
            <a:xfrm>
              <a:off x="7350775" y="2388804"/>
              <a:ext cx="1355242" cy="29684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000" dirty="0">
                  <a:solidFill>
                    <a:schemeClr val="bg1">
                      <a:lumMod val="65000"/>
                    </a:schemeClr>
                  </a:solidFill>
                </a:rPr>
                <a:t>ESG </a:t>
              </a:r>
              <a:r>
                <a:rPr lang="ko-KR" altLang="en-US" sz="1000" dirty="0">
                  <a:solidFill>
                    <a:schemeClr val="bg1">
                      <a:lumMod val="65000"/>
                    </a:schemeClr>
                  </a:solidFill>
                </a:rPr>
                <a:t>시스템 운영</a:t>
              </a:r>
            </a:p>
          </p:txBody>
        </p:sp>
      </p:grp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1937ADCB-39D1-427B-8A32-EE34799C10D3}"/>
              </a:ext>
            </a:extLst>
          </p:cNvPr>
          <p:cNvCxnSpPr>
            <a:cxnSpLocks/>
          </p:cNvCxnSpPr>
          <p:nvPr/>
        </p:nvCxnSpPr>
        <p:spPr>
          <a:xfrm>
            <a:off x="550863" y="6093296"/>
            <a:ext cx="795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915716CA-4216-4BD4-BB1E-7590AAFFF9BE}"/>
              </a:ext>
            </a:extLst>
          </p:cNvPr>
          <p:cNvGrpSpPr/>
          <p:nvPr/>
        </p:nvGrpSpPr>
        <p:grpSpPr>
          <a:xfrm>
            <a:off x="344648" y="693623"/>
            <a:ext cx="8542517" cy="575137"/>
            <a:chOff x="344648" y="693623"/>
            <a:chExt cx="8542517" cy="575137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0C08DF13-5178-4A4E-B6D6-98667B2FF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8733"/>
            <a:stretch/>
          </p:blipFill>
          <p:spPr>
            <a:xfrm>
              <a:off x="344648" y="693623"/>
              <a:ext cx="1839227" cy="575137"/>
            </a:xfrm>
            <a:prstGeom prst="rect">
              <a:avLst/>
            </a:prstGeom>
          </p:spPr>
        </p:pic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995FF168-7D97-443B-B7A9-3B950274ABBE}"/>
                </a:ext>
              </a:extLst>
            </p:cNvPr>
            <p:cNvSpPr/>
            <p:nvPr/>
          </p:nvSpPr>
          <p:spPr>
            <a:xfrm>
              <a:off x="2413653" y="1049803"/>
              <a:ext cx="5359944" cy="1739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진단〮계획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       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〮인증</a:t>
              </a:r>
              <a:r>
                <a:rPr lang="ko-KR" altLang="en-US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                  </a:t>
              </a:r>
              <a:r>
                <a:rPr lang="en-US" altLang="ko-KR" sz="900" b="1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900" b="1" spc="-3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자료〮동향</a:t>
              </a:r>
              <a:endPara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6B5FBBD7-AABA-4F64-BA95-8ECE336C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650" t="49932" r="1838"/>
            <a:stretch/>
          </p:blipFill>
          <p:spPr>
            <a:xfrm>
              <a:off x="7978084" y="958332"/>
              <a:ext cx="909081" cy="287959"/>
            </a:xfrm>
            <a:prstGeom prst="rect">
              <a:avLst/>
            </a:prstGeom>
          </p:spPr>
        </p:pic>
      </p:grp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E0C4AF2-C5F6-4229-830D-FFE63C1C5E42}"/>
              </a:ext>
            </a:extLst>
          </p:cNvPr>
          <p:cNvSpPr/>
          <p:nvPr/>
        </p:nvSpPr>
        <p:spPr>
          <a:xfrm>
            <a:off x="5646245" y="724074"/>
            <a:ext cx="3134818" cy="173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아웃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이페이지 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Q&amp;A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  About Us          </a:t>
            </a:r>
            <a:endParaRPr lang="ko-KR" altLang="en-US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85E7427A-684D-4F28-BC5E-84C16E5568B2}"/>
              </a:ext>
            </a:extLst>
          </p:cNvPr>
          <p:cNvSpPr/>
          <p:nvPr/>
        </p:nvSpPr>
        <p:spPr>
          <a:xfrm>
            <a:off x="1832069" y="4330691"/>
            <a:ext cx="6017526" cy="16245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이사회 구성의 독립성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전문성 및 다양성 확보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대표이사와 이사회 의장을 분리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상법 등 관련 법령에서 요구하는 사외이사의 독립성 요건 충족 필요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관련 산업의 전문 지식 및 경력을 보유한 전문가 중심으로 구성하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기업 내 여러 </a:t>
            </a:r>
            <a:r>
              <a:rPr lang="ko-KR" altLang="en-US" sz="900" dirty="0" err="1">
                <a:solidFill>
                  <a:schemeClr val="tx1"/>
                </a:solidFill>
              </a:rPr>
              <a:t>직군을</a:t>
            </a:r>
            <a:r>
              <a:rPr lang="ko-KR" altLang="en-US" sz="900" dirty="0">
                <a:solidFill>
                  <a:schemeClr val="tx1"/>
                </a:solidFill>
              </a:rPr>
              <a:t> 포괄할 수 있도록 다양하게 구성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이사회 구성이 특정 성별에 편중되지 않도록 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국적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인종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종교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경험 및 문화적 배경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경력 등에 있어서 포용적인 관점에서 다양하게 구성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</a:rPr>
              <a:t>이사회의 충실한 활동</a:t>
            </a:r>
            <a:endParaRPr lang="en-US" altLang="ko-KR" sz="900" dirty="0">
              <a:solidFill>
                <a:schemeClr val="tx1"/>
              </a:solidFill>
            </a:endParaRP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ko-KR" altLang="en-US" sz="900" dirty="0">
                <a:solidFill>
                  <a:schemeClr val="tx1"/>
                </a:solidFill>
              </a:rPr>
              <a:t>이사회 또는 이사회 산하 위원회에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련 안건을 검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심의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의결하도록 규정하고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실질적인 보고와 심의가 이뤄지도록 운영 </a:t>
            </a:r>
          </a:p>
          <a:p>
            <a:pPr marL="324000" indent="-180000">
              <a:buFont typeface="Calibri" panose="020F0502020204030204" pitchFamily="34" charset="0"/>
              <a:buChar char="-"/>
            </a:pP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경영목표와 전략방향</a:t>
            </a:r>
            <a:r>
              <a:rPr lang="en-US" altLang="ko-KR" sz="900" dirty="0">
                <a:solidFill>
                  <a:schemeClr val="tx1"/>
                </a:solidFill>
              </a:rPr>
              <a:t>, ESG </a:t>
            </a:r>
            <a:r>
              <a:rPr lang="ko-KR" altLang="en-US" sz="900" dirty="0" err="1">
                <a:solidFill>
                  <a:schemeClr val="tx1"/>
                </a:solidFill>
              </a:rPr>
              <a:t>리스크관리</a:t>
            </a:r>
            <a:r>
              <a:rPr lang="en-US" altLang="ko-KR" sz="900" dirty="0">
                <a:solidFill>
                  <a:schemeClr val="tx1"/>
                </a:solidFill>
              </a:rPr>
              <a:t>, </a:t>
            </a:r>
            <a:r>
              <a:rPr lang="ko-KR" altLang="en-US" sz="900" dirty="0">
                <a:solidFill>
                  <a:schemeClr val="tx1"/>
                </a:solidFill>
              </a:rPr>
              <a:t>각종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정책</a:t>
            </a:r>
            <a:r>
              <a:rPr lang="en-US" altLang="ko-KR" sz="900" dirty="0">
                <a:solidFill>
                  <a:schemeClr val="tx1"/>
                </a:solidFill>
              </a:rPr>
              <a:t>, ESG </a:t>
            </a:r>
            <a:r>
              <a:rPr lang="ko-KR" altLang="en-US" sz="900" dirty="0">
                <a:solidFill>
                  <a:schemeClr val="tx1"/>
                </a:solidFill>
              </a:rPr>
              <a:t>활동 내역과 성과 평가 등 규정에서 정하는 다양한 </a:t>
            </a:r>
            <a:r>
              <a:rPr lang="en-US" altLang="ko-KR" sz="900" dirty="0">
                <a:solidFill>
                  <a:schemeClr val="tx1"/>
                </a:solidFill>
              </a:rPr>
              <a:t>ESG </a:t>
            </a:r>
            <a:r>
              <a:rPr lang="ko-KR" altLang="en-US" sz="900" dirty="0">
                <a:solidFill>
                  <a:schemeClr val="tx1"/>
                </a:solidFill>
              </a:rPr>
              <a:t>관련 안건을 심의∙의결</a:t>
            </a:r>
            <a:endParaRPr lang="en-US" altLang="ko-KR" sz="900" dirty="0">
              <a:solidFill>
                <a:schemeClr val="tx1"/>
              </a:solidFill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322C2E0A-2BE9-4F65-8B81-85226DBB343D}"/>
              </a:ext>
            </a:extLst>
          </p:cNvPr>
          <p:cNvSpPr/>
          <p:nvPr/>
        </p:nvSpPr>
        <p:spPr>
          <a:xfrm>
            <a:off x="9109459" y="5274321"/>
            <a:ext cx="2917255" cy="12510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[P005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ESG 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전략 수립 가이드</a:t>
            </a:r>
            <a:r>
              <a:rPr lang="en-US" altLang="ko-KR" sz="1100" b="1" dirty="0">
                <a:solidFill>
                  <a:schemeClr val="tx1"/>
                </a:solidFill>
                <a:latin typeface="+mn-ea"/>
              </a:rPr>
              <a:t>]</a:t>
            </a:r>
            <a:r>
              <a:rPr lang="ko-KR" altLang="en-US" sz="1100" b="1" dirty="0">
                <a:solidFill>
                  <a:schemeClr val="tx1"/>
                </a:solidFill>
                <a:latin typeface="+mn-ea"/>
              </a:rPr>
              <a:t> 화면과 구성 동일</a:t>
            </a:r>
            <a:endParaRPr lang="en-US" altLang="ko-KR" sz="1100" b="1" dirty="0">
              <a:solidFill>
                <a:schemeClr val="tx1"/>
              </a:solidFill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본문은 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‘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삼일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ESG_ESG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경영 활동 가이드 내용</a:t>
            </a:r>
            <a:r>
              <a:rPr lang="en-US" altLang="ko-KR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_v0.9_230828’ </a:t>
            </a:r>
            <a:r>
              <a:rPr lang="ko-KR" alt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+mn-ea"/>
              </a:rPr>
              <a:t>엑셀 파일 참고</a:t>
            </a:r>
            <a:br>
              <a:rPr lang="en-US" altLang="ko-KR" sz="11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100" b="1" dirty="0">
                <a:solidFill>
                  <a:srgbClr val="FF0000"/>
                </a:solidFill>
                <a:latin typeface="+mn-ea"/>
              </a:rPr>
              <a:t>화면정의서는 첫 스크롤 부분만 예시적으로 작성하였음</a:t>
            </a:r>
            <a:r>
              <a:rPr lang="en-US" altLang="ko-KR" sz="1100" b="1" dirty="0">
                <a:solidFill>
                  <a:srgbClr val="FF0000"/>
                </a:solidFill>
                <a:latin typeface="+mn-ea"/>
              </a:rPr>
              <a:t>)</a:t>
            </a: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8002FA72-D0EC-415A-8FB3-E2D89214D05E}"/>
              </a:ext>
            </a:extLst>
          </p:cNvPr>
          <p:cNvSpPr/>
          <p:nvPr/>
        </p:nvSpPr>
        <p:spPr>
          <a:xfrm>
            <a:off x="427779" y="2391406"/>
            <a:ext cx="8332046" cy="284213"/>
          </a:xfrm>
          <a:prstGeom prst="rect">
            <a:avLst/>
          </a:prstGeom>
          <a:solidFill>
            <a:srgbClr val="BFBFBF">
              <a:alpha val="69804"/>
            </a:srgb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2CBE6F69-3627-47BC-B4B5-F008136254CA}"/>
              </a:ext>
            </a:extLst>
          </p:cNvPr>
          <p:cNvSpPr/>
          <p:nvPr/>
        </p:nvSpPr>
        <p:spPr>
          <a:xfrm>
            <a:off x="3938117" y="2368043"/>
            <a:ext cx="1337242" cy="2991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914400">
              <a:lnSpc>
                <a:spcPct val="12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(23.08.0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BABC70B5-F16A-48AA-A214-64D8DD12AE1D}"/>
              </a:ext>
            </a:extLst>
          </p:cNvPr>
          <p:cNvSpPr/>
          <p:nvPr/>
        </p:nvSpPr>
        <p:spPr>
          <a:xfrm>
            <a:off x="7959914" y="5719293"/>
            <a:ext cx="764943" cy="235980"/>
          </a:xfrm>
          <a:prstGeom prst="roundRect">
            <a:avLst>
              <a:gd name="adj" fmla="val 42076"/>
            </a:avLst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더 알아보기 ▶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6874DBDB-F16B-4AA8-8BF7-F3EC7A8A8958}"/>
              </a:ext>
            </a:extLst>
          </p:cNvPr>
          <p:cNvSpPr/>
          <p:nvPr/>
        </p:nvSpPr>
        <p:spPr>
          <a:xfrm>
            <a:off x="298484" y="1232692"/>
            <a:ext cx="8787343" cy="304434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9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브래드크럼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제거</a:t>
            </a:r>
            <a:r>
              <a:rPr lang="en-US" altLang="ko-KR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 –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디자인 현행화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BA294B12-398A-422E-A40E-1CF0E1E69AB7}"/>
              </a:ext>
            </a:extLst>
          </p:cNvPr>
          <p:cNvSpPr/>
          <p:nvPr/>
        </p:nvSpPr>
        <p:spPr>
          <a:xfrm>
            <a:off x="427900" y="1942197"/>
            <a:ext cx="8316000" cy="204792"/>
          </a:xfrm>
          <a:prstGeom prst="roundRect">
            <a:avLst>
              <a:gd name="adj" fmla="val 9800"/>
            </a:avLst>
          </a:prstGeom>
          <a:noFill/>
          <a:ln w="317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109720" rIns="36000" bIns="109720" numCol="1" spcCol="38100" rtlCol="0" anchor="ctr">
            <a:noAutofit/>
          </a:bodyPr>
          <a:lstStyle/>
          <a:p>
            <a:pPr defTabSz="2437985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에 필요한 활동과 필요 역량을 단계별로 정의하고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 활동에 도움이 될 수 있는 참고 자료를 추천합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9FB71710-CDE3-4533-A599-591D370B6AE3}"/>
              </a:ext>
            </a:extLst>
          </p:cNvPr>
          <p:cNvSpPr/>
          <p:nvPr/>
        </p:nvSpPr>
        <p:spPr>
          <a:xfrm>
            <a:off x="2082963" y="1575964"/>
            <a:ext cx="1315754" cy="30305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B35B4411-F165-4161-96B8-3582A5705918}"/>
              </a:ext>
            </a:extLst>
          </p:cNvPr>
          <p:cNvGrpSpPr/>
          <p:nvPr/>
        </p:nvGrpSpPr>
        <p:grpSpPr>
          <a:xfrm>
            <a:off x="-1793982" y="2021805"/>
            <a:ext cx="1998923" cy="4580017"/>
            <a:chOff x="-1793982" y="2021805"/>
            <a:chExt cx="1998923" cy="4580017"/>
          </a:xfrm>
        </p:grpSpPr>
        <p:pic>
          <p:nvPicPr>
            <p:cNvPr id="63" name="그림 62">
              <a:extLst>
                <a:ext uri="{FF2B5EF4-FFF2-40B4-BE49-F238E27FC236}">
                  <a16:creationId xmlns:a16="http://schemas.microsoft.com/office/drawing/2014/main" id="{359EB345-A80B-41EC-A838-9C01FC43A2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793982" y="2021805"/>
              <a:ext cx="1998923" cy="4580017"/>
            </a:xfrm>
            <a:prstGeom prst="rect">
              <a:avLst/>
            </a:prstGeom>
          </p:spPr>
        </p:pic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F076B80D-77FF-491B-9175-B8E42BB02D83}"/>
                </a:ext>
              </a:extLst>
            </p:cNvPr>
            <p:cNvSpPr/>
            <p:nvPr/>
          </p:nvSpPr>
          <p:spPr>
            <a:xfrm>
              <a:off x="-1528139" y="4077072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 과제</a:t>
              </a:r>
            </a:p>
          </p:txBody>
        </p:sp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AD1FF210-D699-4059-84A5-42916239BC1B}"/>
                </a:ext>
              </a:extLst>
            </p:cNvPr>
            <p:cNvSpPr/>
            <p:nvPr/>
          </p:nvSpPr>
          <p:spPr>
            <a:xfrm>
              <a:off x="-1538930" y="3869254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 과제</a:t>
              </a:r>
            </a:p>
          </p:txBody>
        </p: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5EF498CC-7881-4243-BADC-A84D0B3F0794}"/>
                </a:ext>
              </a:extLst>
            </p:cNvPr>
            <p:cNvSpPr/>
            <p:nvPr/>
          </p:nvSpPr>
          <p:spPr>
            <a:xfrm>
              <a:off x="-1528139" y="4289706"/>
              <a:ext cx="1224136" cy="240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 과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0759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631,69,직원용 챗봇 서비스는 직원과 RPA 봇 간의 상호작용을 간소화하여 ① 영업점 직원 편익 및 고객 서비스의 질을 향상시키고, ② RPA 적용 시 소요되는 시간 및 비용 절감 효과를 기대할 수 있음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ETTINGSHASH" val="xZU/W0IqlvXPkJ37/hSWg5jSIFh0KZmI7sT1syyiYH8=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삼일PwC">
      <a:majorFont>
        <a:latin typeface="Georgia"/>
        <a:ea typeface="바탕"/>
        <a:cs typeface=""/>
      </a:majorFont>
      <a:minorFont>
        <a:latin typeface="Arial"/>
        <a:ea typeface="맑은 고딕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4x3 PowerPoint.potx" id="{F37F5E82-825F-4A98-9648-4F1C99ADBEA2}" vid="{8E43C0BA-8632-46B7-A9CE-36BEEB73D0B3}"/>
    </a:ext>
  </a:ext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3175">
          <a:solidFill>
            <a:schemeClr val="tx1">
              <a:lumMod val="95000"/>
              <a:lumOff val="5000"/>
            </a:schemeClr>
          </a:solidFill>
        </a:ln>
        <a:effectLst/>
      </a:spPr>
      <a:bodyPr tIns="54864" rtlCol="0" anchor="t" anchorCtr="0"/>
      <a:lstStyle>
        <a:defPPr>
          <a:defRPr sz="800" smtClean="0">
            <a:solidFill>
              <a:srgbClr val="000000"/>
            </a:solidFill>
            <a:latin typeface="+mn-ea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defRPr sz="80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5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Override1.xml><?xml version="1.0" encoding="utf-8"?>
<a:themeOverride xmlns:a="http://schemas.openxmlformats.org/drawingml/2006/main">
  <a:clrScheme name="PwC Colors">
    <a:dk1>
      <a:srgbClr val="000000"/>
    </a:dk1>
    <a:lt1>
      <a:srgbClr val="FFFFFF"/>
    </a:lt1>
    <a:dk2>
      <a:srgbClr val="7D7D7D"/>
    </a:dk2>
    <a:lt2>
      <a:srgbClr val="DEDEDE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  <a:fontScheme name="삼일PwC">
    <a:majorFont>
      <a:latin typeface="Georgia"/>
      <a:ea typeface="바탕"/>
      <a:cs typeface=""/>
    </a:majorFont>
    <a:minorFont>
      <a:latin typeface="Arial"/>
      <a:ea typeface="맑은 고딕"/>
      <a:cs typeface=""/>
    </a:minorFont>
  </a:fontScheme>
  <a:fmtScheme name="PwC Effects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127000" dist="63500" dir="2700000" algn="br" rotWithShape="0">
            <a:srgbClr val="000000">
              <a:alpha val="25000"/>
            </a:srgbClr>
          </a:outerShdw>
        </a:effectLst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ppt/theme/themeOverride2.xml><?xml version="1.0" encoding="utf-8"?>
<a:themeOverride xmlns:a="http://schemas.openxmlformats.org/drawingml/2006/main">
  <a:clrScheme name="PwC Colors">
    <a:dk1>
      <a:srgbClr val="000000"/>
    </a:dk1>
    <a:lt1>
      <a:srgbClr val="FFFFFF"/>
    </a:lt1>
    <a:dk2>
      <a:srgbClr val="7D7D7D"/>
    </a:dk2>
    <a:lt2>
      <a:srgbClr val="DEDEDE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  <a:fontScheme name="삼일PwC">
    <a:majorFont>
      <a:latin typeface="Georgia"/>
      <a:ea typeface="바탕"/>
      <a:cs typeface=""/>
    </a:majorFont>
    <a:minorFont>
      <a:latin typeface="Arial"/>
      <a:ea typeface="맑은 고딕"/>
      <a:cs typeface=""/>
    </a:minorFont>
  </a:fontScheme>
  <a:fmtScheme name="PwC Effects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127000" dist="63500" dir="2700000" algn="br" rotWithShape="0">
            <a:srgbClr val="000000">
              <a:alpha val="25000"/>
            </a:srgbClr>
          </a:outerShdw>
        </a:effectLst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ppt/theme/themeOverride3.xml><?xml version="1.0" encoding="utf-8"?>
<a:themeOverride xmlns:a="http://schemas.openxmlformats.org/drawingml/2006/main">
  <a:clrScheme name="PwC Colors">
    <a:dk1>
      <a:srgbClr val="000000"/>
    </a:dk1>
    <a:lt1>
      <a:srgbClr val="FFFFFF"/>
    </a:lt1>
    <a:dk2>
      <a:srgbClr val="7D7D7D"/>
    </a:dk2>
    <a:lt2>
      <a:srgbClr val="DEDEDE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  <a:fontScheme name="삼일PwC">
    <a:majorFont>
      <a:latin typeface="Georgia"/>
      <a:ea typeface="바탕"/>
      <a:cs typeface=""/>
    </a:majorFont>
    <a:minorFont>
      <a:latin typeface="Arial"/>
      <a:ea typeface="맑은 고딕"/>
      <a:cs typeface=""/>
    </a:minorFont>
  </a:fontScheme>
  <a:fmtScheme name="PwC Effects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127000" dist="63500" dir="2700000" algn="br" rotWithShape="0">
            <a:srgbClr val="000000">
              <a:alpha val="25000"/>
            </a:srgbClr>
          </a:outerShdw>
        </a:effectLst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wC 4x3 PowerPoint</Template>
  <TotalTime>38648</TotalTime>
  <Words>76658</Words>
  <Application>Microsoft Office PowerPoint</Application>
  <PresentationFormat>와이드스크린</PresentationFormat>
  <Paragraphs>15977</Paragraphs>
  <Slides>242</Slides>
  <Notes>235</Notes>
  <HiddenSlides>4</HiddenSlides>
  <MMClips>0</MMClips>
  <ScaleCrop>false</ScaleCrop>
  <HeadingPairs>
    <vt:vector size="8" baseType="variant">
      <vt:variant>
        <vt:lpstr>사용한 글꼴</vt:lpstr>
      </vt:variant>
      <vt:variant>
        <vt:i4>18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42</vt:i4>
      </vt:variant>
    </vt:vector>
  </HeadingPairs>
  <TitlesOfParts>
    <vt:vector size="264" baseType="lpstr">
      <vt:lpstr>AppleSDGothicNeoM00</vt:lpstr>
      <vt:lpstr>Arial Unicode MS</vt:lpstr>
      <vt:lpstr>CJ ONLYONE Medium</vt:lpstr>
      <vt:lpstr>PwC Helvetica Neue</vt:lpstr>
      <vt:lpstr>Yu Gothic UI</vt:lpstr>
      <vt:lpstr>경기천년제목 Light</vt:lpstr>
      <vt:lpstr>굴림</vt:lpstr>
      <vt:lpstr>맑은 고딕</vt:lpstr>
      <vt:lpstr>맑은 고딕</vt:lpstr>
      <vt:lpstr>Batang</vt:lpstr>
      <vt:lpstr>Arabic Typesetting</vt:lpstr>
      <vt:lpstr>Arial</vt:lpstr>
      <vt:lpstr>Calibri</vt:lpstr>
      <vt:lpstr>Calibri Light</vt:lpstr>
      <vt:lpstr>Consolas</vt:lpstr>
      <vt:lpstr>Georgia</vt:lpstr>
      <vt:lpstr>Segoe UI</vt:lpstr>
      <vt:lpstr>Wingdings</vt:lpstr>
      <vt:lpstr>PwC</vt:lpstr>
      <vt:lpstr>2_Office 테마</vt:lpstr>
      <vt:lpstr>3_Office 테마</vt:lpstr>
      <vt:lpstr>think-cell Slide</vt:lpstr>
      <vt:lpstr>삼일 ESG 플랫폼  기획 및 구축 컨설팅  화면 및 기능 정의 (Front Office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End of Docu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업무혁신 컨설팅” 제안서</dc:title>
  <dc:subject/>
  <dc:creator>So-Hyun Park</dc:creator>
  <cp:keywords/>
  <dc:description/>
  <cp:lastModifiedBy>Eunhye Jang (KR - ADVS)</cp:lastModifiedBy>
  <cp:revision>1593</cp:revision>
  <dcterms:created xsi:type="dcterms:W3CDTF">2023-02-27T08:11:58Z</dcterms:created>
  <dcterms:modified xsi:type="dcterms:W3CDTF">2023-10-18T05:38:0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4x3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